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83" r:id="rId21"/>
    <p:sldMasterId id="2147483863" r:id="rId22"/>
  </p:sldMasterIdLst>
  <p:notesMasterIdLst>
    <p:notesMasterId r:id="rId37"/>
  </p:notesMasterIdLst>
  <p:handoutMasterIdLst>
    <p:handoutMasterId r:id="rId38"/>
  </p:handoutMasterIdLst>
  <p:sldIdLst>
    <p:sldId id="257" r:id="rId23"/>
    <p:sldId id="4008" r:id="rId24"/>
    <p:sldId id="3691" r:id="rId25"/>
    <p:sldId id="460" r:id="rId26"/>
    <p:sldId id="305" r:id="rId27"/>
    <p:sldId id="5234" r:id="rId28"/>
    <p:sldId id="5229" r:id="rId29"/>
    <p:sldId id="1585" r:id="rId30"/>
    <p:sldId id="5233" r:id="rId31"/>
    <p:sldId id="5220" r:id="rId32"/>
    <p:sldId id="5224" r:id="rId33"/>
    <p:sldId id="5230" r:id="rId34"/>
    <p:sldId id="2303" r:id="rId35"/>
    <p:sldId id="5232" r:id="rId36"/>
  </p:sldIdLst>
  <p:sldSz cx="12198350" cy="6859588"/>
  <p:notesSz cx="6669088" cy="9872663"/>
  <p:custDataLst>
    <p:tags r:id="rId3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544479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1088959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633438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2177918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722397" algn="l" defTabSz="1088959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3266877" algn="l" defTabSz="1088959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811356" algn="l" defTabSz="1088959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4355836" algn="l" defTabSz="1088959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027" userDrawn="1">
          <p15:clr>
            <a:srgbClr val="A4A3A4"/>
          </p15:clr>
        </p15:guide>
        <p15:guide id="9" orient="horz" pos="3907" userDrawn="1">
          <p15:clr>
            <a:srgbClr val="A4A3A4"/>
          </p15:clr>
        </p15:guide>
        <p15:guide id="11" pos="395">
          <p15:clr>
            <a:srgbClr val="A4A3A4"/>
          </p15:clr>
        </p15:guide>
        <p15:guide id="14" pos="7380">
          <p15:clr>
            <a:srgbClr val="A4A3A4"/>
          </p15:clr>
        </p15:guide>
        <p15:guide id="15" orient="horz" pos="4088" userDrawn="1">
          <p15:clr>
            <a:srgbClr val="A4A3A4"/>
          </p15:clr>
        </p15:guide>
        <p15:guide id="17" orient="horz" pos="1117" userDrawn="1">
          <p15:clr>
            <a:srgbClr val="A4A3A4"/>
          </p15:clr>
        </p15:guide>
        <p15:guide id="18" orient="horz" pos="2546" userDrawn="1">
          <p15:clr>
            <a:srgbClr val="A4A3A4"/>
          </p15:clr>
        </p15:guide>
        <p15:guide id="19" orient="horz" pos="2251" userDrawn="1">
          <p15:clr>
            <a:srgbClr val="A4A3A4"/>
          </p15:clr>
        </p15:guide>
        <p15:guide id="20" orient="horz" pos="21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  <p15:guide id="5" orient="horz" pos="3206">
          <p15:clr>
            <a:srgbClr val="A4A3A4"/>
          </p15:clr>
        </p15:guide>
        <p15:guide id="6" orient="horz" pos="3110">
          <p15:clr>
            <a:srgbClr val="A4A3A4"/>
          </p15:clr>
        </p15:guide>
        <p15:guide id="7" pos="2194">
          <p15:clr>
            <a:srgbClr val="A4A3A4"/>
          </p15:clr>
        </p15:guide>
        <p15:guide id="8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uthor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FF"/>
    <a:srgbClr val="F7E773"/>
    <a:srgbClr val="00133A"/>
    <a:srgbClr val="F2F2F2"/>
    <a:srgbClr val="41AAAA"/>
    <a:srgbClr val="00646E"/>
    <a:srgbClr val="000000"/>
    <a:srgbClr val="50BED7"/>
    <a:srgbClr val="BECD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94" autoAdjust="0"/>
    <p:restoredTop sz="82606" autoAdjust="0"/>
  </p:normalViewPr>
  <p:slideViewPr>
    <p:cSldViewPr snapToGrid="0" showGuides="1">
      <p:cViewPr varScale="1">
        <p:scale>
          <a:sx n="101" d="100"/>
          <a:sy n="101" d="100"/>
        </p:scale>
        <p:origin x="1240" y="184"/>
      </p:cViewPr>
      <p:guideLst>
        <p:guide orient="horz" pos="1027"/>
        <p:guide orient="horz" pos="3907"/>
        <p:guide pos="395"/>
        <p:guide pos="7380"/>
        <p:guide orient="horz" pos="4088"/>
        <p:guide orient="horz" pos="1117"/>
        <p:guide orient="horz" pos="2546"/>
        <p:guide orient="horz" pos="2251"/>
        <p:guide orient="horz" pos="21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3366"/>
    </p:cViewPr>
  </p:sorterViewPr>
  <p:notesViewPr>
    <p:cSldViewPr snapToGrid="0" showGuides="1">
      <p:cViewPr varScale="1">
        <p:scale>
          <a:sx n="85" d="100"/>
          <a:sy n="85" d="100"/>
        </p:scale>
        <p:origin x="-852" y="-90"/>
      </p:cViewPr>
      <p:guideLst>
        <p:guide orient="horz" pos="3224"/>
        <p:guide pos="2236"/>
        <p:guide orient="horz" pos="3127"/>
        <p:guide pos="2141"/>
        <p:guide orient="horz" pos="3206"/>
        <p:guide orient="horz" pos="3110"/>
        <p:guide pos="2194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4.xml"/><Relationship Id="rId39" Type="http://schemas.openxmlformats.org/officeDocument/2006/relationships/tags" Target="tags/tag1.xml"/><Relationship Id="rId21" Type="http://schemas.openxmlformats.org/officeDocument/2006/relationships/slideMaster" Target="slideMasters/slideMaster1.xml"/><Relationship Id="rId34" Type="http://schemas.openxmlformats.org/officeDocument/2006/relationships/slide" Target="slides/slide12.xml"/><Relationship Id="rId42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7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9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theme" Target="theme/theme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669088" cy="673797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7251" tIns="43625" rIns="87251" bIns="43625" anchor="ctr"/>
          <a:lstStyle/>
          <a:p>
            <a:endParaRPr lang="en-US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52689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745" tIns="141745" rIns="141745" bIns="141745" numCol="1" anchor="t" anchorCtr="0" compatLnSpc="1">
            <a:prstTxWarp prst="textNoShape">
              <a:avLst/>
            </a:prstTxWarp>
          </a:bodyPr>
          <a:lstStyle>
            <a:lvl1pPr defTabSz="899777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05962" y="0"/>
            <a:ext cx="3063127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745" tIns="141745" rIns="141745" bIns="141745" numCol="1" anchor="t" anchorCtr="0" compatLnSpc="1">
            <a:prstTxWarp prst="textNoShape">
              <a:avLst/>
            </a:prstTxWarp>
          </a:bodyPr>
          <a:lstStyle>
            <a:lvl1pPr algn="r" defTabSz="899777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39750"/>
            <a:ext cx="3052689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745" tIns="141745" rIns="141745" bIns="141745" numCol="1" anchor="b" anchorCtr="0" compatLnSpc="1">
            <a:prstTxWarp prst="textNoShape">
              <a:avLst/>
            </a:prstTxWarp>
          </a:bodyPr>
          <a:lstStyle>
            <a:lvl1pPr defTabSz="899777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05962" y="9339750"/>
            <a:ext cx="3063127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745" tIns="141745" rIns="141745" bIns="141745" numCol="1" anchor="b" anchorCtr="0" compatLnSpc="1">
            <a:prstTxWarp prst="textNoShape">
              <a:avLst/>
            </a:prstTxWarp>
          </a:bodyPr>
          <a:lstStyle>
            <a:lvl1pPr algn="r" defTabSz="899777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Handout </a:t>
            </a:r>
            <a:fld id="{BFC713D8-7968-482B-A79F-9C586FE5053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2448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52689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745" tIns="141745" rIns="141745" bIns="141745" numCol="1" anchor="t" anchorCtr="0" compatLnSpc="1">
            <a:prstTxWarp prst="textNoShape">
              <a:avLst/>
            </a:prstTxWarp>
          </a:bodyPr>
          <a:lstStyle>
            <a:lvl1pPr defTabSz="899777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16400" y="0"/>
            <a:ext cx="3051198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745" tIns="141745" rIns="141745" bIns="141745" numCol="1" anchor="t" anchorCtr="0" compatLnSpc="1">
            <a:prstTxWarp prst="textNoShape">
              <a:avLst/>
            </a:prstTxWarp>
          </a:bodyPr>
          <a:lstStyle>
            <a:lvl1pPr algn="r" defTabSz="899777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038" y="741363"/>
            <a:ext cx="6578600" cy="37004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3695" y="4652265"/>
            <a:ext cx="6221698" cy="4404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39751"/>
            <a:ext cx="3052689" cy="531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745" tIns="141745" rIns="141745" bIns="141745" numCol="1" anchor="b" anchorCtr="0" compatLnSpc="1">
            <a:prstTxWarp prst="textNoShape">
              <a:avLst/>
            </a:prstTxWarp>
          </a:bodyPr>
          <a:lstStyle>
            <a:lvl1pPr defTabSz="899777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16400" y="9339751"/>
            <a:ext cx="3051198" cy="531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745" tIns="141745" rIns="141745" bIns="141745" numCol="1" anchor="b" anchorCtr="0" compatLnSpc="1">
            <a:prstTxWarp prst="textNoShape">
              <a:avLst/>
            </a:prstTxWarp>
          </a:bodyPr>
          <a:lstStyle>
            <a:lvl1pPr algn="r" defTabSz="899777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92929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544479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1088959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63343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217791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722397" algn="l" defTabSz="54447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54447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54447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54447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19875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HOOD0516200315648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tly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-use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OOD05162003142082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effectLst/>
              </a:rPr>
              <a:t>(</a:t>
            </a:r>
            <a:r>
              <a:rPr lang="de-DE" dirty="0" err="1">
                <a:effectLst/>
              </a:rPr>
              <a:t>partly</a:t>
            </a:r>
            <a:r>
              <a:rPr lang="de-DE" dirty="0">
                <a:effectLst/>
              </a:rPr>
              <a:t> </a:t>
            </a:r>
            <a:r>
              <a:rPr lang="de-DE" dirty="0" err="1">
                <a:effectLst/>
              </a:rPr>
              <a:t>re-used</a:t>
            </a:r>
            <a:r>
              <a:rPr lang="de-DE" dirty="0">
                <a:effectLst/>
              </a:rPr>
              <a:t> </a:t>
            </a:r>
            <a:r>
              <a:rPr lang="de-DE" dirty="0" err="1">
                <a:effectLst/>
              </a:rPr>
              <a:t>from</a:t>
            </a:r>
            <a:r>
              <a:rPr lang="de-DE" dirty="0">
                <a:effectLst/>
              </a:rPr>
              <a:t> HOOD05162003070821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effectLst/>
              </a:rPr>
              <a:t>(</a:t>
            </a:r>
            <a:r>
              <a:rPr lang="de-DE" dirty="0" err="1">
                <a:effectLst/>
              </a:rPr>
              <a:t>partly</a:t>
            </a:r>
            <a:r>
              <a:rPr lang="de-DE" dirty="0">
                <a:effectLst/>
              </a:rPr>
              <a:t> </a:t>
            </a:r>
            <a:r>
              <a:rPr lang="de-DE" dirty="0" err="1">
                <a:effectLst/>
              </a:rPr>
              <a:t>re-used</a:t>
            </a:r>
            <a:r>
              <a:rPr lang="de-DE" dirty="0">
                <a:effectLst/>
              </a:rPr>
              <a:t> </a:t>
            </a:r>
            <a:r>
              <a:rPr lang="de-DE" dirty="0" err="1">
                <a:effectLst/>
              </a:rPr>
              <a:t>from</a:t>
            </a:r>
            <a:r>
              <a:rPr lang="de-DE" dirty="0">
                <a:effectLst/>
              </a:rPr>
              <a:t> HOOD05162003049771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effectLst/>
              </a:rPr>
              <a:t>(</a:t>
            </a:r>
            <a:r>
              <a:rPr lang="de-DE" dirty="0" err="1">
                <a:effectLst/>
              </a:rPr>
              <a:t>partly</a:t>
            </a:r>
            <a:r>
              <a:rPr lang="de-DE" dirty="0">
                <a:effectLst/>
              </a:rPr>
              <a:t> </a:t>
            </a:r>
            <a:r>
              <a:rPr lang="de-DE" dirty="0" err="1">
                <a:effectLst/>
              </a:rPr>
              <a:t>re-used</a:t>
            </a:r>
            <a:r>
              <a:rPr lang="de-DE" dirty="0">
                <a:effectLst/>
              </a:rPr>
              <a:t> </a:t>
            </a:r>
            <a:r>
              <a:rPr lang="de-DE" dirty="0" err="1">
                <a:effectLst/>
              </a:rPr>
              <a:t>from</a:t>
            </a:r>
            <a:r>
              <a:rPr lang="de-DE" dirty="0">
                <a:effectLst/>
              </a:rPr>
              <a:t> HOOD05162003038686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effectLst/>
              </a:rPr>
              <a:t>(</a:t>
            </a:r>
            <a:r>
              <a:rPr lang="de-DE" dirty="0" err="1">
                <a:effectLst/>
              </a:rPr>
              <a:t>partly</a:t>
            </a:r>
            <a:r>
              <a:rPr lang="de-DE" dirty="0">
                <a:effectLst/>
              </a:rPr>
              <a:t> </a:t>
            </a:r>
            <a:r>
              <a:rPr lang="de-DE" dirty="0" err="1">
                <a:effectLst/>
              </a:rPr>
              <a:t>re-used</a:t>
            </a:r>
            <a:r>
              <a:rPr lang="de-DE" dirty="0">
                <a:effectLst/>
              </a:rPr>
              <a:t> </a:t>
            </a:r>
            <a:r>
              <a:rPr lang="de-DE" dirty="0" err="1">
                <a:effectLst/>
              </a:rPr>
              <a:t>from</a:t>
            </a:r>
            <a:r>
              <a:rPr lang="de-DE" dirty="0">
                <a:effectLst/>
              </a:rPr>
              <a:t> HOOD05162002994040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effectLst/>
              </a:rPr>
              <a:t>(</a:t>
            </a:r>
            <a:r>
              <a:rPr lang="de-DE" dirty="0" err="1">
                <a:effectLst/>
              </a:rPr>
              <a:t>partly</a:t>
            </a:r>
            <a:r>
              <a:rPr lang="de-DE" dirty="0">
                <a:effectLst/>
              </a:rPr>
              <a:t> </a:t>
            </a:r>
            <a:r>
              <a:rPr lang="de-DE" dirty="0" err="1">
                <a:effectLst/>
              </a:rPr>
              <a:t>re-used</a:t>
            </a:r>
            <a:r>
              <a:rPr lang="de-DE" baseline="0" dirty="0">
                <a:effectLst/>
              </a:rPr>
              <a:t> </a:t>
            </a:r>
            <a:r>
              <a:rPr lang="de-DE" baseline="0" dirty="0" err="1">
                <a:effectLst/>
              </a:rPr>
              <a:t>from</a:t>
            </a:r>
            <a:r>
              <a:rPr lang="de-DE" baseline="0" dirty="0">
                <a:effectLst/>
              </a:rPr>
              <a:t> </a:t>
            </a:r>
            <a:r>
              <a:rPr lang="en-US" dirty="0">
                <a:effectLst/>
              </a:rPr>
              <a:t>HOOD05162002968065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effectLst/>
              </a:rPr>
              <a:t>(</a:t>
            </a:r>
            <a:r>
              <a:rPr lang="de-DE" dirty="0" err="1">
                <a:effectLst/>
              </a:rPr>
              <a:t>re-use</a:t>
            </a:r>
            <a:r>
              <a:rPr lang="de-DE" baseline="0" dirty="0">
                <a:effectLst/>
              </a:rPr>
              <a:t> </a:t>
            </a:r>
            <a:r>
              <a:rPr lang="en-US" dirty="0">
                <a:effectLst/>
              </a:rPr>
              <a:t>HOOD05162002913858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effectLst/>
              </a:rPr>
              <a:t>(re-use HOOD05162002823352)</a:t>
            </a:r>
            <a:endParaRPr lang="en-US" i="0" dirty="0">
              <a:effectLst/>
            </a:endParaRPr>
          </a:p>
          <a:p>
            <a:endParaRPr lang="en-US" sz="1200" b="1" i="0" u="none" strike="noStrike" kern="120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r>
              <a:rPr lang="en-US" sz="1200" b="1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in Mess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 are a significant player in the healthcare indust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 bring the power of a globally operating corpor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aseline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EAKER TEXT LONG</a:t>
            </a:r>
          </a:p>
          <a:p>
            <a:r>
              <a:rPr lang="en-US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But why would you team up with Siemens Healthineers? Let us first share some facts &amp; figures about our company: </a:t>
            </a:r>
          </a:p>
          <a:p>
            <a:endParaRPr lang="en-US" sz="1200" baseline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5368" indent="-165368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ith about 53,000 employees in more than 70 countries worldwide, we are committed to the success of you as our customers as well as to the health of your patients</a:t>
            </a:r>
          </a:p>
          <a:p>
            <a:pPr marL="165368" indent="-165368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e are the world market leader in most of our businesses and the market leader in most countries</a:t>
            </a:r>
          </a:p>
          <a:p>
            <a:pPr marL="165368" indent="-165368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ith 14.5 bn revenue</a:t>
            </a:r>
            <a:r>
              <a:rPr lang="en-US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, w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 are one of the five largest MedTech companies worldwide</a:t>
            </a:r>
          </a:p>
          <a:p>
            <a:pPr marL="165368" indent="-165368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e are steadily</a:t>
            </a:r>
            <a:r>
              <a:rPr lang="en-US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reinvesting in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&amp;D in pursuit of the next generation of technologies across our broad portfolio -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&amp;D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vitie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e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n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8,500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llectual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perty Rights (IPRs),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of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3,500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ante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tents</a:t>
            </a:r>
            <a:endParaRPr lang="en-US" sz="1200" baseline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5368" indent="-165368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ore than 70% of critical clinical decisions are influenced by the type of technology that we have in our portfolio</a:t>
            </a:r>
          </a:p>
          <a:p>
            <a:pPr marL="165368" indent="-165368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&gt; 240,000 patients every hour benefit from care based on our equipment</a:t>
            </a:r>
          </a:p>
          <a:p>
            <a:pPr marL="165368" indent="-165368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&gt; 1.4 bn people in developing countries have access to our imaging technologies</a:t>
            </a:r>
            <a:endParaRPr lang="en-US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3751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“Many roads lead to Rome”</a:t>
            </a:r>
            <a:b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en-US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a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= Infrastructure as Code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uch</a:t>
            </a: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esired State Configuration DS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llgemein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2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52741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 err="1">
                <a:latin typeface="Segoe UI" panose="020B0502040204020203" pitchFamily="34" charset="0"/>
              </a:rPr>
              <a:t>Empbrace</a:t>
            </a:r>
            <a:r>
              <a:rPr lang="en-US" sz="1800">
                <a:latin typeface="Segoe UI" panose="020B0502040204020203" pitchFamily="34" charset="0"/>
              </a:rPr>
              <a:t> scientific method, the journe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b="0" i="0" kern="1200" dirty="0">
              <a:solidFill>
                <a:schemeClr val="tx1"/>
              </a:solidFill>
              <a:effectLst/>
              <a:latin typeface="Arial" pitchFamily="34" charset="0"/>
              <a:ea typeface="ＭＳ Ｐゴシック" charset="-128"/>
              <a:cs typeface="+mn-cs"/>
            </a:endParaRPr>
          </a:p>
          <a:p>
            <a:endParaRPr lang="en-US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6718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es No. </a:t>
            </a:r>
            <a:fld id="{D4C7309E-6B14-43E2-9D02-8D68126D84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739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story</a:t>
            </a:r>
            <a:r>
              <a:rPr lang="de-DE" dirty="0"/>
              <a:t>. </a:t>
            </a:r>
            <a:r>
              <a:rPr lang="de-DE" dirty="0" err="1"/>
              <a:t>DevOp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ighbor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4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0719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Car example?</a:t>
            </a:r>
          </a:p>
          <a:p>
            <a:r>
              <a:rPr lang="en-US" noProof="0" dirty="0"/>
              <a:t>Install the first system, downgrade to old version for „Continuous“ </a:t>
            </a:r>
            <a:r>
              <a:rPr lang="en-US" noProof="0" dirty="0">
                <a:sym typeface="Wingdings" panose="05000000000000000000" pitchFamily="2" charset="2"/>
              </a:rPr>
              <a:t> FPGA, …</a:t>
            </a:r>
          </a:p>
          <a:p>
            <a:r>
              <a:rPr lang="en-US" noProof="0" dirty="0">
                <a:sym typeface="Wingdings" panose="05000000000000000000" pitchFamily="2" charset="2"/>
              </a:rPr>
              <a:t>Defined system state on a scanner, reproducib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es No. </a:t>
            </a:r>
            <a:fld id="{D4C7309E-6B14-43E2-9D02-8D68126D84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9359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enefits of running feature</a:t>
            </a:r>
            <a:br>
              <a:rPr lang="en-US" dirty="0"/>
            </a:br>
            <a:r>
              <a:rPr lang="en-US" dirty="0"/>
              <a:t>… everything before is just a lia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egration effort is integr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roduct Management can verify the actual customer view … and correct things if need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Example: accidentally broken functionality -&gt; </a:t>
            </a:r>
            <a:r>
              <a:rPr lang="en-US" dirty="0" err="1"/>
              <a:t>difficutlt</a:t>
            </a:r>
            <a:r>
              <a:rPr lang="en-US" dirty="0"/>
              <a:t> to nail down the responsible change -&gt; not so if it’s only one day of de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ow much time is actually spent on integration after “everyone </a:t>
            </a:r>
            <a:r>
              <a:rPr lang="en-US" dirty="0" err="1"/>
              <a:t>finshed</a:t>
            </a:r>
            <a:r>
              <a:rPr lang="en-US" dirty="0"/>
              <a:t>”?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ym typeface="Wingdings" panose="05000000000000000000" pitchFamily="2" charset="2"/>
              </a:rPr>
              <a:t> Cone of Effort the later issues need to be analyzed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RUNNING FEATURE…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.. Not the ONLY metric but one , but th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CB2375-3F29-4CE4-9D7F-5CCE88A3D66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72124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latin typeface="Segoe UI" panose="020B0502040204020203" pitchFamily="34" charset="0"/>
              </a:rPr>
              <a:t>shrink long time periods: Make hypothesis, conduct experime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7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47512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800" dirty="0">
                <a:latin typeface="Segoe UI" panose="020B0502040204020203" pitchFamily="34" charset="0"/>
              </a:rPr>
              <a:t>Conduct </a:t>
            </a:r>
            <a:r>
              <a:rPr lang="de-DE" sz="1800" dirty="0" err="1">
                <a:latin typeface="Segoe UI" panose="020B0502040204020203" pitchFamily="34" charset="0"/>
              </a:rPr>
              <a:t>experiements</a:t>
            </a:r>
            <a:r>
              <a:rPr lang="de-DE" sz="1800" dirty="0">
                <a:latin typeface="Segoe UI" panose="020B0502040204020203" pitchFamily="34" charset="0"/>
              </a:rPr>
              <a:t>, </a:t>
            </a:r>
            <a:r>
              <a:rPr lang="de-DE" sz="1800" dirty="0" err="1">
                <a:latin typeface="Segoe UI" panose="020B0502040204020203" pitchFamily="34" charset="0"/>
              </a:rPr>
              <a:t>measure</a:t>
            </a:r>
            <a:r>
              <a:rPr lang="de-DE" sz="1800" dirty="0">
                <a:latin typeface="Segoe UI" panose="020B0502040204020203" pitchFamily="34" charset="0"/>
              </a:rPr>
              <a:t> </a:t>
            </a:r>
            <a:r>
              <a:rPr lang="de-DE" sz="1800" dirty="0" err="1">
                <a:latin typeface="Segoe UI" panose="020B0502040204020203" pitchFamily="34" charset="0"/>
              </a:rPr>
              <a:t>results</a:t>
            </a:r>
            <a:r>
              <a:rPr lang="de-DE" sz="1800" dirty="0">
                <a:latin typeface="Segoe UI" panose="020B0502040204020203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latin typeface="Segoe UI" panose="020B0502040204020203" pitchFamily="34" charset="0"/>
              </a:rPr>
              <a:t>Focus on human angle: Wins are visible, Recognize successes</a:t>
            </a:r>
          </a:p>
          <a:p>
            <a:r>
              <a:rPr lang="en-US" sz="1800" dirty="0">
                <a:latin typeface="Segoe UI" panose="020B0502040204020203" pitchFamily="34" charset="0"/>
              </a:rPr>
              <a:t>smaller chunks = more </a:t>
            </a:r>
            <a:r>
              <a:rPr lang="en-US" sz="1800" dirty="0" err="1">
                <a:latin typeface="Segoe UI" panose="020B0502040204020203" pitchFamily="34" charset="0"/>
              </a:rPr>
              <a:t>opportunitites</a:t>
            </a:r>
            <a:r>
              <a:rPr lang="en-US" sz="1800" dirty="0">
                <a:latin typeface="Segoe UI" panose="020B0502040204020203" pitchFamily="34" charset="0"/>
              </a:rPr>
              <a:t> for </a:t>
            </a:r>
            <a:r>
              <a:rPr lang="en-US" sz="1800" dirty="0" err="1">
                <a:latin typeface="Segoe UI" panose="020B0502040204020203" pitchFamily="34" charset="0"/>
              </a:rPr>
              <a:t>motiviatio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9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0140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commons.wikimedia.org/wiki/File:Deming_PDCA_cycle.PNG</a:t>
            </a:r>
          </a:p>
          <a:p>
            <a:endParaRPr lang="de-DE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Expect</a:t>
            </a:r>
            <a:r>
              <a:rPr lang="de-DE" dirty="0"/>
              <a:t> and deal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evolution</a:t>
            </a:r>
            <a:r>
              <a:rPr lang="de-DE" dirty="0"/>
              <a:t>. </a:t>
            </a:r>
            <a:r>
              <a:rPr lang="de-DE" dirty="0" err="1"/>
              <a:t>Uncovering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value</a:t>
            </a:r>
            <a:r>
              <a:rPr lang="de-DE" dirty="0"/>
              <a:t>. </a:t>
            </a:r>
            <a:r>
              <a:rPr lang="de-DE" dirty="0" err="1"/>
              <a:t>Celebra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kunk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0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0418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086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Title Pictur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3" y="0"/>
            <a:ext cx="12198348" cy="1619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1268" y="4361713"/>
            <a:ext cx="3583194" cy="36008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1268" y="1915516"/>
            <a:ext cx="6409214" cy="2401008"/>
          </a:xfrm>
        </p:spPr>
        <p:txBody>
          <a:bodyPr lIns="0" tIns="0" rIns="0" bIns="0" anchor="b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1268" y="5090530"/>
            <a:ext cx="3583194" cy="541140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9015894" y="6520980"/>
            <a:ext cx="263984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bg1"/>
                </a:solidFill>
              </a:rPr>
              <a:t>Unrestricted © Siemens Healthcare GmbH, 2021</a:t>
            </a:r>
            <a:endParaRPr lang="de-DE" sz="1000" dirty="0">
              <a:solidFill>
                <a:schemeClr val="bg1"/>
              </a:solidFill>
            </a:endParaRP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5185" y="497230"/>
            <a:ext cx="2489833" cy="592346"/>
          </a:xfrm>
          <a:prstGeom prst="rect">
            <a:avLst/>
          </a:prstGeom>
        </p:spPr>
      </p:pic>
      <p:pic>
        <p:nvPicPr>
          <p:cNvPr id="10" name="Dot pulse">
            <a:extLst>
              <a:ext uri="{FF2B5EF4-FFF2-40B4-BE49-F238E27FC236}">
                <a16:creationId xmlns:a16="http://schemas.microsoft.com/office/drawing/2014/main" id="{83AA73CA-92FE-4AF2-955D-86323FFD941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185" y="5473000"/>
            <a:ext cx="2832636" cy="14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29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1268" y="1623976"/>
            <a:ext cx="3583194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306908" y="1623976"/>
            <a:ext cx="3583194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72548" y="1623976"/>
            <a:ext cx="3583194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Dr. </a:t>
            </a:r>
            <a:r>
              <a:rPr lang="en-US" dirty="0" err="1"/>
              <a:t>Vladyslav</a:t>
            </a:r>
            <a:r>
              <a:rPr lang="en-US" dirty="0"/>
              <a:t> </a:t>
            </a:r>
            <a:r>
              <a:rPr lang="en-US" dirty="0" err="1"/>
              <a:t>Ukis</a:t>
            </a:r>
            <a:r>
              <a:rPr lang="en-US" dirty="0"/>
              <a:t> | Digital Services, Digital Products, R&amp;D</a:t>
            </a:r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0467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Dr. </a:t>
            </a:r>
            <a:r>
              <a:rPr lang="en-US" dirty="0" err="1"/>
              <a:t>Vladyslav</a:t>
            </a:r>
            <a:r>
              <a:rPr lang="en-US" dirty="0"/>
              <a:t> </a:t>
            </a:r>
            <a:r>
              <a:rPr lang="en-US" dirty="0" err="1"/>
              <a:t>Ukis</a:t>
            </a:r>
            <a:r>
              <a:rPr lang="en-US" dirty="0"/>
              <a:t> | Digital Services, Digital Products, R&amp;D</a:t>
            </a:r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6010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1268" y="219650"/>
            <a:ext cx="6590614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1018" y="1620375"/>
            <a:ext cx="4528608" cy="25205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249460" y="1620375"/>
            <a:ext cx="4528608" cy="25205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3120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83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26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3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14302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194D1-8A30-41BB-AAD8-51A6DB285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F9EF1-C84A-400A-8F1F-5F0A5ED961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1797BF-D4DF-4548-A4FD-EE7A54C951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AE625-25C6-407A-8B30-6551E9652912}" type="datetimeFigureOut">
              <a:rPr lang="en-US" smtClean="0"/>
              <a:t>5/14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B71B39-D269-4216-982F-5F216BF4A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C91B43-4EF4-4217-8A12-6C8C850C9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48AE4-1DCC-4343-8D7A-378458A8FC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204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1268" y="1623976"/>
            <a:ext cx="4521391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89875" y="1623976"/>
            <a:ext cx="5465867" cy="4573059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58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5249460" y="0"/>
            <a:ext cx="6948890" cy="6859588"/>
          </a:xfrm>
          <a:noFill/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en-US"/>
              <a:t>Add a picture</a:t>
            </a:r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1268" y="5033966"/>
            <a:ext cx="3583194" cy="360083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Basic version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1268" y="1623976"/>
            <a:ext cx="4526792" cy="3366779"/>
          </a:xfrm>
        </p:spPr>
        <p:txBody>
          <a:bodyPr lIns="0" tIns="0" rIns="0" bIns="0" anchor="b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</a:t>
            </a:r>
            <a:br>
              <a:rPr lang="en-US"/>
            </a:br>
            <a:r>
              <a:rPr lang="en-US"/>
              <a:t>Bold 5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1268" y="5716378"/>
            <a:ext cx="3583194" cy="541140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er Calibri 16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5185" y="497230"/>
            <a:ext cx="2489833" cy="592346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9099" y="-360084"/>
            <a:ext cx="13030123" cy="7579755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259755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1268" y="4360610"/>
            <a:ext cx="3588219" cy="36008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Basic version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1269" y="1915642"/>
            <a:ext cx="6409214" cy="2401756"/>
          </a:xfrm>
        </p:spPr>
        <p:txBody>
          <a:bodyPr lIns="0" tIns="0" rIns="0" bIns="0" anchor="b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268" y="5091579"/>
            <a:ext cx="3588219" cy="540125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Presenter Calibri 16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5185" y="497230"/>
            <a:ext cx="2489833" cy="592346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1881" y="4030867"/>
            <a:ext cx="2832636" cy="144300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89892" y="5409096"/>
            <a:ext cx="1804226" cy="1450493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7" tIns="36008" rIns="72017" bIns="36008" rtlCol="0" anchor="ctr"/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>
                <a:solidFill>
                  <a:schemeClr val="tx1"/>
                </a:solidFill>
              </a:rPr>
              <a:t>optionally 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>
              <a:solidFill>
                <a:schemeClr val="bg1"/>
              </a:solidFill>
              <a:latin typeface="+mn-lt"/>
            </a:endParaRP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grpSp>
        <p:nvGrpSpPr>
          <p:cNvPr id="9" name="Marker">
            <a:extLst>
              <a:ext uri="{FF2B5EF4-FFF2-40B4-BE49-F238E27FC236}">
                <a16:creationId xmlns:a16="http://schemas.microsoft.com/office/drawing/2014/main" id="{D39A42E3-E034-456A-A3F4-983938E62B60}"/>
              </a:ext>
            </a:extLst>
          </p:cNvPr>
          <p:cNvGrpSpPr/>
          <p:nvPr userDrawn="1"/>
        </p:nvGrpSpPr>
        <p:grpSpPr>
          <a:xfrm>
            <a:off x="-469099" y="-360084"/>
            <a:ext cx="13030123" cy="7579755"/>
            <a:chOff x="-468000" y="-360000"/>
            <a:chExt cx="12999600" cy="7578000"/>
          </a:xfrm>
        </p:grpSpPr>
        <p:cxnSp>
          <p:nvCxnSpPr>
            <p:cNvPr id="10" name="Gerade Verbindung 40">
              <a:extLst>
                <a:ext uri="{FF2B5EF4-FFF2-40B4-BE49-F238E27FC236}">
                  <a16:creationId xmlns:a16="http://schemas.microsoft.com/office/drawing/2014/main" id="{7EA5DFEE-96B5-471D-81C0-5EF9A808435E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2">
              <a:extLst>
                <a:ext uri="{FF2B5EF4-FFF2-40B4-BE49-F238E27FC236}">
                  <a16:creationId xmlns:a16="http://schemas.microsoft.com/office/drawing/2014/main" id="{F6FE5688-06C6-4AC4-A569-2B413F35EC6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46EE828-435A-466B-B291-531ACD081B61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6">
              <a:extLst>
                <a:ext uri="{FF2B5EF4-FFF2-40B4-BE49-F238E27FC236}">
                  <a16:creationId xmlns:a16="http://schemas.microsoft.com/office/drawing/2014/main" id="{4E888A75-66AE-4FE7-88A7-FC420843805E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8">
              <a:extLst>
                <a:ext uri="{FF2B5EF4-FFF2-40B4-BE49-F238E27FC236}">
                  <a16:creationId xmlns:a16="http://schemas.microsoft.com/office/drawing/2014/main" id="{05D52D9C-9BDD-45C5-BB42-908F85769875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9">
              <a:extLst>
                <a:ext uri="{FF2B5EF4-FFF2-40B4-BE49-F238E27FC236}">
                  <a16:creationId xmlns:a16="http://schemas.microsoft.com/office/drawing/2014/main" id="{F90169CA-7B48-43EA-99B5-5BB8F5C7FAF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>
              <a:extLst>
                <a:ext uri="{FF2B5EF4-FFF2-40B4-BE49-F238E27FC236}">
                  <a16:creationId xmlns:a16="http://schemas.microsoft.com/office/drawing/2014/main" id="{F8A274D0-79BC-4A7C-BC35-24A63FEE3370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>
              <a:extLst>
                <a:ext uri="{FF2B5EF4-FFF2-40B4-BE49-F238E27FC236}">
                  <a16:creationId xmlns:a16="http://schemas.microsoft.com/office/drawing/2014/main" id="{F1C376A8-6474-403C-819A-A69E80654EB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4">
              <a:extLst>
                <a:ext uri="{FF2B5EF4-FFF2-40B4-BE49-F238E27FC236}">
                  <a16:creationId xmlns:a16="http://schemas.microsoft.com/office/drawing/2014/main" id="{43143CCC-DC7F-4662-8A8A-46996B39E7E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5">
              <a:extLst>
                <a:ext uri="{FF2B5EF4-FFF2-40B4-BE49-F238E27FC236}">
                  <a16:creationId xmlns:a16="http://schemas.microsoft.com/office/drawing/2014/main" id="{F6236ACA-7244-4667-9238-02757C2EAFB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7">
              <a:extLst>
                <a:ext uri="{FF2B5EF4-FFF2-40B4-BE49-F238E27FC236}">
                  <a16:creationId xmlns:a16="http://schemas.microsoft.com/office/drawing/2014/main" id="{8E4010D3-1AE7-4FCA-8300-850BB954A50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8">
              <a:extLst>
                <a:ext uri="{FF2B5EF4-FFF2-40B4-BE49-F238E27FC236}">
                  <a16:creationId xmlns:a16="http://schemas.microsoft.com/office/drawing/2014/main" id="{EC46CD02-8AD2-4474-B747-A5AC59B657DB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0">
              <a:extLst>
                <a:ext uri="{FF2B5EF4-FFF2-40B4-BE49-F238E27FC236}">
                  <a16:creationId xmlns:a16="http://schemas.microsoft.com/office/drawing/2014/main" id="{3C008754-4721-4013-9DD9-4276CE32690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3056DE7E-58F1-4D73-8C19-6E7881C70C5B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3B3E1CD6-4B1F-4020-B468-B06ABDA78018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13357323-3808-4962-B967-75E17B45A4B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1653938B-8CB8-4E29-8275-7492D19BD87A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716967B0-3183-4F1C-9947-9C3231AED35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24A98F4C-9B95-4D59-A35E-BC4FD22C7CED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E2AC2629-2D6F-4E0B-906C-B29FC2C0416E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BE9A42B9-530E-4242-8847-CDED545A750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1D7743B7-4A22-4499-816E-620480EF940B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A97A8787-113E-44B0-85C1-552A745B4379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83987063-6FE9-40BB-AEEC-B9B963D66AF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67746B3D-00B2-405D-BFA0-FCEDC2545C54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DB3F7B3-59C2-4B42-84F0-B222C48E437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366E91-0C12-412A-BA36-B761FED4662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E9F891A0-5172-4546-8B1F-2579FA2FEBD1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88A59020-D08E-4532-9B90-DE28E5DB31B3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AC5A657B-443F-418C-8790-F24C3AF724A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A1481941-E67A-4D8E-8177-0C855C7921C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B5C21370-5DFC-4BC7-9353-C5BD1FE074B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7B1A8D85-878C-4EC3-9178-F67AD1152B0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0A39318-BD31-471B-9806-F60534F8F0E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66A99A16-D0C7-4F1C-AEEA-78BB918AD85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C5471DB2-7EF6-49D9-B6EB-08154804E35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0C03E5D8-6F9E-4FBE-A702-3236683D6C1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1350AFA6-8E40-427D-B6A5-4639818970AE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4EA8B6C3-8CB9-4354-9182-2F485841245F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8CA7F308-45E5-4D6F-8E96-526C3A05416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6E94B82F-99AB-41B6-80E6-D0835067958D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F1473618-312D-4115-AFBB-2A8F5C50880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19D5E2ED-F51A-401F-BD42-1335500C191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28A2F7D4-0473-4A68-935F-B452E1C78B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9A104325-5070-4CA8-A88D-7BF93FED52A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497B098B-696E-4EA7-ABCF-A245A65E913D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0C3F8CAE-34D6-4FA4-8746-9336AC48A58F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E38B1F47-5868-4E05-9265-15445F9319E3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B2354D57-D020-4A7A-A1F5-C9BD43B68326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E347C51B-06E4-4BD6-A625-C5DA2E13F66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3D6E3457-7600-4502-A63F-F9541EA564E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5EFDB259-6FB2-4510-9177-612DC5D43785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stricted">
            <a:extLst>
              <a:ext uri="{FF2B5EF4-FFF2-40B4-BE49-F238E27FC236}">
                <a16:creationId xmlns:a16="http://schemas.microsoft.com/office/drawing/2014/main" id="{9D18BEB4-BC2D-46B0-A703-1BB50CE54E27}"/>
              </a:ext>
            </a:extLst>
          </p:cNvPr>
          <p:cNvSpPr txBox="1"/>
          <p:nvPr userDrawn="1"/>
        </p:nvSpPr>
        <p:spPr bwMode="black">
          <a:xfrm>
            <a:off x="8075718" y="6520980"/>
            <a:ext cx="3579585" cy="1548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>
                <a:solidFill>
                  <a:schemeClr val="tx1"/>
                </a:solidFill>
              </a:rPr>
              <a:t>Unrestricted © Siemens Healthineers, 2020</a:t>
            </a:r>
          </a:p>
        </p:txBody>
      </p:sp>
    </p:spTree>
    <p:extLst>
      <p:ext uri="{BB962C8B-B14F-4D97-AF65-F5344CB8AC3E}">
        <p14:creationId xmlns:p14="http://schemas.microsoft.com/office/powerpoint/2010/main" val="2006227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5249460" y="0"/>
            <a:ext cx="6948890" cy="6859588"/>
          </a:xfrm>
          <a:noFill/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en-US" dirty="0"/>
              <a:t>Add a picture</a:t>
            </a:r>
            <a:endParaRPr lang="de-DE" dirty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1268" y="5033966"/>
            <a:ext cx="3583194" cy="360083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1268" y="1623976"/>
            <a:ext cx="4526792" cy="3366779"/>
          </a:xfrm>
        </p:spPr>
        <p:txBody>
          <a:bodyPr lIns="0" tIns="0" rIns="0" bIns="0" anchor="b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</a:t>
            </a:r>
            <a:br>
              <a:rPr lang="en-US" dirty="0"/>
            </a:br>
            <a:r>
              <a:rPr lang="en-US" dirty="0"/>
              <a:t>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1268" y="5716378"/>
            <a:ext cx="3583194" cy="541140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5185" y="497230"/>
            <a:ext cx="2489833" cy="592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4143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9841" y="1623976"/>
            <a:ext cx="7353573" cy="1224283"/>
          </a:xfrm>
        </p:spPr>
        <p:txBody>
          <a:bodyPr lIns="0" tIns="0" rIns="0" bIns="0" anchor="b" anchorCtr="0">
            <a:noAutofit/>
          </a:bodyPr>
          <a:lstStyle>
            <a:lvl1pPr algn="l">
              <a:defRPr sz="2601" b="1">
                <a:solidFill>
                  <a:schemeClr val="tx1"/>
                </a:solidFill>
              </a:defRPr>
            </a:lvl1pPr>
          </a:lstStyle>
          <a:p>
            <a:r>
              <a:rPr lang="en-US"/>
              <a:t>ETIAM sit </a:t>
            </a:r>
            <a:r>
              <a:rPr lang="en-US" err="1"/>
              <a:t>atmet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9841" y="3010026"/>
            <a:ext cx="7354653" cy="1661700"/>
          </a:xfrm>
        </p:spPr>
        <p:txBody>
          <a:bodyPr lIns="0" tIns="0" rIns="0" bIns="0" anchor="t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8995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9841" y="1623976"/>
            <a:ext cx="7353573" cy="1224283"/>
          </a:xfrm>
        </p:spPr>
        <p:txBody>
          <a:bodyPr lIns="0" tIns="0" rIns="0" bIns="0" anchor="b" anchorCtr="0">
            <a:noAutofit/>
          </a:bodyPr>
          <a:lstStyle>
            <a:lvl1pPr algn="l">
              <a:defRPr sz="2601" b="1">
                <a:solidFill>
                  <a:schemeClr val="bg1"/>
                </a:solidFill>
              </a:defRPr>
            </a:lvl1pPr>
          </a:lstStyle>
          <a:p>
            <a:r>
              <a:rPr lang="en-US"/>
              <a:t>ETIAM sit </a:t>
            </a:r>
            <a:r>
              <a:rPr lang="en-US" err="1"/>
              <a:t>atmet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9841" y="3010026"/>
            <a:ext cx="7354653" cy="1661700"/>
          </a:xfrm>
        </p:spPr>
        <p:txBody>
          <a:bodyPr lIns="0" tIns="0" rIns="0" bIns="0" anchor="t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David Malgiaritta| SHS DI CT R&amp;D ISA DOE</a:t>
            </a:r>
          </a:p>
        </p:txBody>
      </p:sp>
      <p:grpSp>
        <p:nvGrpSpPr>
          <p:cNvPr id="6" name="Marker">
            <a:extLst>
              <a:ext uri="{FF2B5EF4-FFF2-40B4-BE49-F238E27FC236}">
                <a16:creationId xmlns:a16="http://schemas.microsoft.com/office/drawing/2014/main" id="{FA350118-2CDB-4D1D-9A15-37265E9A2EBF}"/>
              </a:ext>
            </a:extLst>
          </p:cNvPr>
          <p:cNvGrpSpPr/>
          <p:nvPr userDrawn="1"/>
        </p:nvGrpSpPr>
        <p:grpSpPr>
          <a:xfrm>
            <a:off x="-469099" y="-360084"/>
            <a:ext cx="13030123" cy="7579755"/>
            <a:chOff x="-468000" y="-360000"/>
            <a:chExt cx="12999600" cy="7578000"/>
          </a:xfrm>
        </p:grpSpPr>
        <p:cxnSp>
          <p:nvCxnSpPr>
            <p:cNvPr id="7" name="Gerade Verbindung 40">
              <a:extLst>
                <a:ext uri="{FF2B5EF4-FFF2-40B4-BE49-F238E27FC236}">
                  <a16:creationId xmlns:a16="http://schemas.microsoft.com/office/drawing/2014/main" id="{2DE56DF7-4A34-49CA-8A5F-7D4C0B16337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2">
              <a:extLst>
                <a:ext uri="{FF2B5EF4-FFF2-40B4-BE49-F238E27FC236}">
                  <a16:creationId xmlns:a16="http://schemas.microsoft.com/office/drawing/2014/main" id="{937BBF9E-AA5D-403C-9FB2-AAEFB06FFEE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5">
              <a:extLst>
                <a:ext uri="{FF2B5EF4-FFF2-40B4-BE49-F238E27FC236}">
                  <a16:creationId xmlns:a16="http://schemas.microsoft.com/office/drawing/2014/main" id="{D439082A-D679-4369-A278-8783FE36FC88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46">
              <a:extLst>
                <a:ext uri="{FF2B5EF4-FFF2-40B4-BE49-F238E27FC236}">
                  <a16:creationId xmlns:a16="http://schemas.microsoft.com/office/drawing/2014/main" id="{C4350D87-ED91-4479-856D-5B8CF153BF5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8">
              <a:extLst>
                <a:ext uri="{FF2B5EF4-FFF2-40B4-BE49-F238E27FC236}">
                  <a16:creationId xmlns:a16="http://schemas.microsoft.com/office/drawing/2014/main" id="{3372D79B-9023-42EF-90F8-2FE932BFEAC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ADF756B4-BC60-464D-B910-59F1A21C487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400F1294-A6B4-481B-BC4B-5340D1E95067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23E74B0A-CD00-4236-A2F7-5DC1207B25F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EF938F0C-85E0-4F8C-96E5-C76D4ADA6F87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5021DF1C-123F-449C-9299-CC4869A95FB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FF2E8183-C487-4406-8220-0713AA070C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9BA794A9-5335-44A2-9352-A46BC315459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3B7538EE-EDC1-4C4B-8293-82D92696FFA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1">
              <a:extLst>
                <a:ext uri="{FF2B5EF4-FFF2-40B4-BE49-F238E27FC236}">
                  <a16:creationId xmlns:a16="http://schemas.microsoft.com/office/drawing/2014/main" id="{09D0298B-BF52-4871-B16B-C7E44CF9377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3">
              <a:extLst>
                <a:ext uri="{FF2B5EF4-FFF2-40B4-BE49-F238E27FC236}">
                  <a16:creationId xmlns:a16="http://schemas.microsoft.com/office/drawing/2014/main" id="{CC69E2A9-D6DD-44AC-9C39-8A5CB1637324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4">
              <a:extLst>
                <a:ext uri="{FF2B5EF4-FFF2-40B4-BE49-F238E27FC236}">
                  <a16:creationId xmlns:a16="http://schemas.microsoft.com/office/drawing/2014/main" id="{9A50B785-85B0-49D7-A557-C1CCEE41465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6">
              <a:extLst>
                <a:ext uri="{FF2B5EF4-FFF2-40B4-BE49-F238E27FC236}">
                  <a16:creationId xmlns:a16="http://schemas.microsoft.com/office/drawing/2014/main" id="{5ED8BECE-8D2B-47F0-8F73-D5685D59E2C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7">
              <a:extLst>
                <a:ext uri="{FF2B5EF4-FFF2-40B4-BE49-F238E27FC236}">
                  <a16:creationId xmlns:a16="http://schemas.microsoft.com/office/drawing/2014/main" id="{16717229-1AC8-40EF-B617-C15F28F5707A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9">
              <a:extLst>
                <a:ext uri="{FF2B5EF4-FFF2-40B4-BE49-F238E27FC236}">
                  <a16:creationId xmlns:a16="http://schemas.microsoft.com/office/drawing/2014/main" id="{649C8FF4-BB77-433B-B62A-BC2883677B8A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id="{FFB8DF0A-45CE-4A09-8EE8-08E1D2B637A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2">
              <a:extLst>
                <a:ext uri="{FF2B5EF4-FFF2-40B4-BE49-F238E27FC236}">
                  <a16:creationId xmlns:a16="http://schemas.microsoft.com/office/drawing/2014/main" id="{47C152F1-3453-4AF5-B4A9-6B3A2FBF38D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3">
              <a:extLst>
                <a:ext uri="{FF2B5EF4-FFF2-40B4-BE49-F238E27FC236}">
                  <a16:creationId xmlns:a16="http://schemas.microsoft.com/office/drawing/2014/main" id="{F44E728D-41AC-46BF-AA01-9A3E7D3634E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5">
              <a:extLst>
                <a:ext uri="{FF2B5EF4-FFF2-40B4-BE49-F238E27FC236}">
                  <a16:creationId xmlns:a16="http://schemas.microsoft.com/office/drawing/2014/main" id="{42EA3322-49A4-41D9-A9F4-2D1CDA2B989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6">
              <a:extLst>
                <a:ext uri="{FF2B5EF4-FFF2-40B4-BE49-F238E27FC236}">
                  <a16:creationId xmlns:a16="http://schemas.microsoft.com/office/drawing/2014/main" id="{5583F9E5-85F6-46E0-9AC9-E2E6F9DBBB8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8">
              <a:extLst>
                <a:ext uri="{FF2B5EF4-FFF2-40B4-BE49-F238E27FC236}">
                  <a16:creationId xmlns:a16="http://schemas.microsoft.com/office/drawing/2014/main" id="{D3278E3D-27B0-4D12-8CA4-5447938671B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>
              <a:extLst>
                <a:ext uri="{FF2B5EF4-FFF2-40B4-BE49-F238E27FC236}">
                  <a16:creationId xmlns:a16="http://schemas.microsoft.com/office/drawing/2014/main" id="{FC5A0A42-E0CF-4330-B8DC-AB1DD0EE9B10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1">
              <a:extLst>
                <a:ext uri="{FF2B5EF4-FFF2-40B4-BE49-F238E27FC236}">
                  <a16:creationId xmlns:a16="http://schemas.microsoft.com/office/drawing/2014/main" id="{40CF86C5-4808-4064-B84F-CBEF9CB27EB1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2">
              <a:extLst>
                <a:ext uri="{FF2B5EF4-FFF2-40B4-BE49-F238E27FC236}">
                  <a16:creationId xmlns:a16="http://schemas.microsoft.com/office/drawing/2014/main" id="{A7AEA581-FF31-4D5E-939C-C708600BE27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4">
              <a:extLst>
                <a:ext uri="{FF2B5EF4-FFF2-40B4-BE49-F238E27FC236}">
                  <a16:creationId xmlns:a16="http://schemas.microsoft.com/office/drawing/2014/main" id="{AA38A6FD-81CD-4A99-9F0B-49E7FA09F07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5">
              <a:extLst>
                <a:ext uri="{FF2B5EF4-FFF2-40B4-BE49-F238E27FC236}">
                  <a16:creationId xmlns:a16="http://schemas.microsoft.com/office/drawing/2014/main" id="{BE46A269-5108-4684-9EE5-305BE587287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7">
              <a:extLst>
                <a:ext uri="{FF2B5EF4-FFF2-40B4-BE49-F238E27FC236}">
                  <a16:creationId xmlns:a16="http://schemas.microsoft.com/office/drawing/2014/main" id="{3FE94714-A679-4EEE-9AE4-B4BAAE085CF6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8">
              <a:extLst>
                <a:ext uri="{FF2B5EF4-FFF2-40B4-BE49-F238E27FC236}">
                  <a16:creationId xmlns:a16="http://schemas.microsoft.com/office/drawing/2014/main" id="{A3C764CA-0081-4E3E-B612-81AE48E3845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90">
              <a:extLst>
                <a:ext uri="{FF2B5EF4-FFF2-40B4-BE49-F238E27FC236}">
                  <a16:creationId xmlns:a16="http://schemas.microsoft.com/office/drawing/2014/main" id="{1BF3C449-FD97-41A5-9689-A6BC7F1B197F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1">
              <a:extLst>
                <a:ext uri="{FF2B5EF4-FFF2-40B4-BE49-F238E27FC236}">
                  <a16:creationId xmlns:a16="http://schemas.microsoft.com/office/drawing/2014/main" id="{91FD4557-8E9E-4FB5-A42C-158CE6E2EB2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3">
              <a:extLst>
                <a:ext uri="{FF2B5EF4-FFF2-40B4-BE49-F238E27FC236}">
                  <a16:creationId xmlns:a16="http://schemas.microsoft.com/office/drawing/2014/main" id="{582A2C32-4D58-45BA-8473-121B3E9F668E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4">
              <a:extLst>
                <a:ext uri="{FF2B5EF4-FFF2-40B4-BE49-F238E27FC236}">
                  <a16:creationId xmlns:a16="http://schemas.microsoft.com/office/drawing/2014/main" id="{74EB25C2-3062-4F6D-80BC-EE6156457E7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6">
              <a:extLst>
                <a:ext uri="{FF2B5EF4-FFF2-40B4-BE49-F238E27FC236}">
                  <a16:creationId xmlns:a16="http://schemas.microsoft.com/office/drawing/2014/main" id="{4B9F92EE-4390-433E-AB4C-596238B07320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7">
              <a:extLst>
                <a:ext uri="{FF2B5EF4-FFF2-40B4-BE49-F238E27FC236}">
                  <a16:creationId xmlns:a16="http://schemas.microsoft.com/office/drawing/2014/main" id="{EAFB0A32-7453-4CEF-ACAB-F374091019F0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9">
              <a:extLst>
                <a:ext uri="{FF2B5EF4-FFF2-40B4-BE49-F238E27FC236}">
                  <a16:creationId xmlns:a16="http://schemas.microsoft.com/office/drawing/2014/main" id="{3BC74E13-125F-425A-A5B4-74E010AB86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0">
              <a:extLst>
                <a:ext uri="{FF2B5EF4-FFF2-40B4-BE49-F238E27FC236}">
                  <a16:creationId xmlns:a16="http://schemas.microsoft.com/office/drawing/2014/main" id="{6C3C906C-664B-4C7C-AEC6-7F9305CF369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2">
              <a:extLst>
                <a:ext uri="{FF2B5EF4-FFF2-40B4-BE49-F238E27FC236}">
                  <a16:creationId xmlns:a16="http://schemas.microsoft.com/office/drawing/2014/main" id="{25813290-AD47-426C-89B8-CF97FC13122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3">
              <a:extLst>
                <a:ext uri="{FF2B5EF4-FFF2-40B4-BE49-F238E27FC236}">
                  <a16:creationId xmlns:a16="http://schemas.microsoft.com/office/drawing/2014/main" id="{CB1A949D-3EFE-4F15-9889-0D96B00D65B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5">
              <a:extLst>
                <a:ext uri="{FF2B5EF4-FFF2-40B4-BE49-F238E27FC236}">
                  <a16:creationId xmlns:a16="http://schemas.microsoft.com/office/drawing/2014/main" id="{9717171A-62BA-4752-8D28-62460138865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6">
              <a:extLst>
                <a:ext uri="{FF2B5EF4-FFF2-40B4-BE49-F238E27FC236}">
                  <a16:creationId xmlns:a16="http://schemas.microsoft.com/office/drawing/2014/main" id="{6459ADD6-42B0-4C43-9015-08A99018237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8">
              <a:extLst>
                <a:ext uri="{FF2B5EF4-FFF2-40B4-BE49-F238E27FC236}">
                  <a16:creationId xmlns:a16="http://schemas.microsoft.com/office/drawing/2014/main" id="{0B6ABFAF-52C9-41B6-967D-352EAE314590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9">
              <a:extLst>
                <a:ext uri="{FF2B5EF4-FFF2-40B4-BE49-F238E27FC236}">
                  <a16:creationId xmlns:a16="http://schemas.microsoft.com/office/drawing/2014/main" id="{9FEC4BAC-3680-461C-8B3C-24B845D8C3C4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>
              <a:extLst>
                <a:ext uri="{FF2B5EF4-FFF2-40B4-BE49-F238E27FC236}">
                  <a16:creationId xmlns:a16="http://schemas.microsoft.com/office/drawing/2014/main" id="{FA168A75-8036-4535-8F66-4A3350477E8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>
              <a:extLst>
                <a:ext uri="{FF2B5EF4-FFF2-40B4-BE49-F238E27FC236}">
                  <a16:creationId xmlns:a16="http://schemas.microsoft.com/office/drawing/2014/main" id="{A18C4E76-6CA5-43C5-8FA5-221B2463762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4">
              <a:extLst>
                <a:ext uri="{FF2B5EF4-FFF2-40B4-BE49-F238E27FC236}">
                  <a16:creationId xmlns:a16="http://schemas.microsoft.com/office/drawing/2014/main" id="{9CCF6106-20E5-4896-99A3-B7C1E3AFF42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6">
              <a:extLst>
                <a:ext uri="{FF2B5EF4-FFF2-40B4-BE49-F238E27FC236}">
                  <a16:creationId xmlns:a16="http://schemas.microsoft.com/office/drawing/2014/main" id="{6F614B0B-535C-4FC2-9A91-3FA11CBF19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7">
              <a:extLst>
                <a:ext uri="{FF2B5EF4-FFF2-40B4-BE49-F238E27FC236}">
                  <a16:creationId xmlns:a16="http://schemas.microsoft.com/office/drawing/2014/main" id="{DF4C6D78-47DF-495C-8E3A-EB631F5F2D0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8">
              <a:extLst>
                <a:ext uri="{FF2B5EF4-FFF2-40B4-BE49-F238E27FC236}">
                  <a16:creationId xmlns:a16="http://schemas.microsoft.com/office/drawing/2014/main" id="{4E9D06F9-8CA0-406C-9338-B32AF4F38C5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6F91D59C-B598-43C1-9A82-7C0B3D35A2A5}"/>
              </a:ext>
            </a:extLst>
          </p:cNvPr>
          <p:cNvSpPr txBox="1"/>
          <p:nvPr userDrawn="1"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Restricted">
            <a:extLst>
              <a:ext uri="{FF2B5EF4-FFF2-40B4-BE49-F238E27FC236}">
                <a16:creationId xmlns:a16="http://schemas.microsoft.com/office/drawing/2014/main" id="{BB270B93-CCA2-4390-ADC0-BF16EC6A1194}"/>
              </a:ext>
            </a:extLst>
          </p:cNvPr>
          <p:cNvSpPr txBox="1"/>
          <p:nvPr userDrawn="1"/>
        </p:nvSpPr>
        <p:spPr>
          <a:xfrm>
            <a:off x="8075481" y="6520979"/>
            <a:ext cx="3580261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>
                <a:solidFill>
                  <a:schemeClr val="bg1"/>
                </a:solidFill>
              </a:rPr>
              <a:t>Unrestricted © Siemens Healthineers, 2019</a:t>
            </a:r>
          </a:p>
        </p:txBody>
      </p:sp>
      <p:pic>
        <p:nvPicPr>
          <p:cNvPr id="63" name="Siemens Healthineers logo">
            <a:extLst>
              <a:ext uri="{FF2B5EF4-FFF2-40B4-BE49-F238E27FC236}">
                <a16:creationId xmlns:a16="http://schemas.microsoft.com/office/drawing/2014/main" id="{2E7414E2-6AC0-4D81-972E-9CF172806A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9028" y="281332"/>
            <a:ext cx="1454204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3535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50482" cy="6859588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42231" y="1623976"/>
            <a:ext cx="4513511" cy="1224283"/>
          </a:xfrm>
        </p:spPr>
        <p:txBody>
          <a:bodyPr lIns="0" tIns="0" rIns="0" bIns="0" anchor="b" anchorCtr="0">
            <a:noAutofit/>
          </a:bodyPr>
          <a:lstStyle>
            <a:lvl1pPr algn="l">
              <a:defRPr sz="2601" b="1">
                <a:solidFill>
                  <a:schemeClr val="tx1"/>
                </a:solidFill>
              </a:defRPr>
            </a:lvl1pPr>
          </a:lstStyle>
          <a:p>
            <a:r>
              <a:rPr lang="en-US"/>
              <a:t>ETIAM sit </a:t>
            </a:r>
            <a:r>
              <a:rPr lang="en-US" err="1"/>
              <a:t>atmet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42231" y="3010026"/>
            <a:ext cx="4514175" cy="1661700"/>
          </a:xfrm>
        </p:spPr>
        <p:txBody>
          <a:bodyPr lIns="0" tIns="0" rIns="0" bIns="0" anchor="t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1269" y="6374035"/>
            <a:ext cx="2642527" cy="324075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Click to add footnote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6168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able of Contents</a:t>
            </a:r>
            <a:br>
              <a:rPr lang="en-US"/>
            </a:br>
            <a:r>
              <a:rPr lang="en-US"/>
              <a:t>Title Calibri Bold 28 </a:t>
            </a:r>
            <a:r>
              <a:rPr lang="en-US" err="1"/>
              <a:t>pt</a:t>
            </a:r>
            <a:endParaRPr lang="en-US" noProof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1268" y="1623977"/>
            <a:ext cx="4522654" cy="4571883"/>
          </a:xfrm>
        </p:spPr>
        <p:txBody>
          <a:bodyPr/>
          <a:lstStyle>
            <a:lvl1pPr marL="219644" indent="-219644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990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9644" indent="0">
              <a:buFont typeface="Arial" panose="020B0604020202020204" pitchFamily="34" charset="0"/>
              <a:buNone/>
              <a:tabLst>
                <a:tab pos="4510990" algn="r"/>
              </a:tabLst>
              <a:defRPr b="0">
                <a:solidFill>
                  <a:schemeClr val="tx1"/>
                </a:solidFill>
              </a:defRPr>
            </a:lvl2pPr>
            <a:lvl3pPr marL="457291" indent="-228646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990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Text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0"/>
            <a:r>
              <a:rPr lang="en-US" noProof="0"/>
              <a:t>Text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89876" y="1623976"/>
            <a:ext cx="5465866" cy="2977664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illustrative imag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3451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7" y="1623976"/>
            <a:ext cx="9234031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4370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8" y="1623976"/>
            <a:ext cx="5466806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88936" y="1623976"/>
            <a:ext cx="5466806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8389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73885" cy="68595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6409214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 Calibri Bold 28 </a:t>
            </a:r>
            <a:r>
              <a:rPr lang="en-US" err="1"/>
              <a:t>pt</a:t>
            </a:r>
            <a:endParaRPr lang="de-DE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1268" y="1623976"/>
            <a:ext cx="6409214" cy="4573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4305" y="1623976"/>
            <a:ext cx="1879239" cy="1275993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9644" marR="0" indent="-219644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219644" marR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130">
              <a:defRPr/>
            </a:lvl5pPr>
          </a:lstStyle>
          <a:p>
            <a:pPr lvl="0"/>
            <a:r>
              <a:rPr lang="en-GB"/>
              <a:t>Calibri Bold 16 </a:t>
            </a:r>
            <a:r>
              <a:rPr lang="en-GB" err="1"/>
              <a:t>pt</a:t>
            </a:r>
            <a:endParaRPr lang="en-GB"/>
          </a:p>
          <a:p>
            <a:pPr lvl="1"/>
            <a:r>
              <a:rPr lang="en-GB"/>
              <a:t>Text Calibri 16 </a:t>
            </a:r>
            <a:r>
              <a:rPr lang="en-GB" err="1"/>
              <a:t>pt</a:t>
            </a:r>
            <a:endParaRPr lang="en-GB"/>
          </a:p>
          <a:p>
            <a:pPr lvl="2"/>
            <a:r>
              <a:rPr lang="en-GB"/>
              <a:t>Text Calibri 16 </a:t>
            </a:r>
            <a:r>
              <a:rPr lang="en-GB" err="1"/>
              <a:t>pt</a:t>
            </a:r>
            <a:endParaRPr lang="en-GB"/>
          </a:p>
          <a:p>
            <a:pPr marL="439288" marR="0" lvl="3" indent="-219644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Text Calibri 1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vid Malgiaritta| SHS DI CT R&amp;D ISA DOE</a:t>
            </a:r>
          </a:p>
        </p:txBody>
      </p:sp>
      <p:sp>
        <p:nvSpPr>
          <p:cNvPr id="89" name="Information"/>
          <p:cNvSpPr/>
          <p:nvPr userDrawn="1"/>
        </p:nvSpPr>
        <p:spPr>
          <a:xfrm>
            <a:off x="-2165072" y="1"/>
            <a:ext cx="1804226" cy="128767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7" tIns="36008" rIns="72017" bIns="36008" rtlCol="0" anchor="ctr"/>
          <a:lstStyle/>
          <a:p>
            <a:r>
              <a:rPr lang="en-US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endParaRPr lang="en-US" sz="1100">
              <a:solidFill>
                <a:schemeClr val="bg1"/>
              </a:solidFill>
              <a:latin typeface="+mn-lt"/>
            </a:endParaRP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302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8" y="1623976"/>
            <a:ext cx="3583194" cy="13503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1268" y="3847839"/>
            <a:ext cx="3583194" cy="235494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307579" y="1623976"/>
            <a:ext cx="3583194" cy="13503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305861" y="3847839"/>
            <a:ext cx="3583194" cy="235494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73888" y="1623976"/>
            <a:ext cx="3583194" cy="13503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73888" y="3847839"/>
            <a:ext cx="3583194" cy="235494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2943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1268" y="1623976"/>
            <a:ext cx="3583194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306908" y="1623976"/>
            <a:ext cx="3583194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72548" y="1623976"/>
            <a:ext cx="3583194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0986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83073" y="1623975"/>
            <a:ext cx="8290825" cy="4573059"/>
          </a:xfrm>
        </p:spPr>
        <p:txBody>
          <a:bodyPr/>
          <a:lstStyle>
            <a:lvl1pPr>
              <a:lnSpc>
                <a:spcPct val="85000"/>
              </a:lnSpc>
              <a:defRPr sz="4801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/>
              <a:t>Quote Calibri Italic 48 pt</a:t>
            </a:r>
            <a:endParaRPr lang="en-US" noProof="0"/>
          </a:p>
          <a:p>
            <a:pPr lvl="1"/>
            <a:r>
              <a:rPr lang="de-DE" noProof="0"/>
              <a:t>Subline Calibri 14 </a:t>
            </a:r>
            <a:r>
              <a:rPr lang="de-DE" noProof="0" err="1"/>
              <a:t>pt</a:t>
            </a:r>
            <a:endParaRPr lang="en-US" noProof="0"/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607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1268" y="4360610"/>
            <a:ext cx="3588219" cy="36008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1269" y="1915642"/>
            <a:ext cx="6409214" cy="2401756"/>
          </a:xfrm>
        </p:spPr>
        <p:txBody>
          <a:bodyPr lIns="0" tIns="0" rIns="0" bIns="0" anchor="b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268" y="5091579"/>
            <a:ext cx="3588219" cy="540125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5185" y="497230"/>
            <a:ext cx="2489833" cy="592346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1881" y="4030867"/>
            <a:ext cx="2832636" cy="144300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89892" y="5409096"/>
            <a:ext cx="1804226" cy="1450493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7" tIns="36008" rIns="72017" bIns="36008" rtlCol="0" anchor="ctr"/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Unrestricted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4192919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1268" y="1623975"/>
            <a:ext cx="2457354" cy="2577523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/>
              <a:t>Add a picture</a:t>
            </a:r>
            <a:endParaRPr lang="en-GB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67038" y="1623975"/>
            <a:ext cx="6406860" cy="4573059"/>
          </a:xfrm>
        </p:spPr>
        <p:txBody>
          <a:bodyPr/>
          <a:lstStyle>
            <a:lvl1pPr>
              <a:lnSpc>
                <a:spcPct val="85000"/>
              </a:lnSpc>
              <a:defRPr sz="4001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/>
              <a:t>Quote Calibri Italic 40 pt</a:t>
            </a:r>
            <a:endParaRPr lang="en-US" noProof="0"/>
          </a:p>
          <a:p>
            <a:pPr lvl="1"/>
            <a:r>
              <a:rPr lang="de-DE" noProof="0"/>
              <a:t>Subline Calibri 14 </a:t>
            </a:r>
            <a:r>
              <a:rPr lang="de-DE" noProof="0" err="1"/>
              <a:t>pt</a:t>
            </a:r>
            <a:endParaRPr lang="en-US" noProof="0"/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80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0204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70432" y="1623976"/>
            <a:ext cx="6237612" cy="5239213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roduct picture</a:t>
            </a:r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2113" y="2212606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30" marR="0" indent="-14763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66" indent="26993">
              <a:defRPr sz="1400"/>
            </a:lvl4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2113" y="3393680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30" indent="-147630">
              <a:defRPr sz="1400"/>
            </a:lvl3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2113" y="4574753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30" indent="-147630">
              <a:defRPr sz="1400"/>
            </a:lvl3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309808" y="2803143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30" indent="-147630">
              <a:defRPr sz="1400"/>
            </a:lvl3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309808" y="3984216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30" indent="-147630">
              <a:defRPr sz="1400"/>
            </a:lvl3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766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ey cover"/>
          <p:cNvSpPr/>
          <p:nvPr userDrawn="1"/>
        </p:nvSpPr>
        <p:spPr bwMode="auto">
          <a:xfrm>
            <a:off x="0" y="0"/>
            <a:ext cx="6014840" cy="685958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1268" y="219650"/>
            <a:ext cx="4708192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de-DE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976"/>
            <a:ext cx="6014840" cy="4573059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diagram</a:t>
            </a:r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87681" y="2263663"/>
            <a:ext cx="5069876" cy="393211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9415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1267" y="219650"/>
            <a:ext cx="9234031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de-DE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1268" y="1619625"/>
            <a:ext cx="5648607" cy="45749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31882" y="1619625"/>
            <a:ext cx="4523859" cy="4574647"/>
          </a:xfrm>
        </p:spPr>
        <p:txBody>
          <a:bodyPr lIns="180000" tIns="180000" rIns="180000" bIns="18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d a picture</a:t>
            </a:r>
            <a:endParaRPr lang="en-GB"/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vid Malgiaritta| SHS DI CT R&amp;D ISA DOE</a:t>
            </a:r>
          </a:p>
        </p:txBody>
      </p:sp>
      <p:sp>
        <p:nvSpPr>
          <p:cNvPr id="101" name="Restricted"/>
          <p:cNvSpPr txBox="1"/>
          <p:nvPr userDrawn="1"/>
        </p:nvSpPr>
        <p:spPr>
          <a:xfrm>
            <a:off x="8073889" y="6520979"/>
            <a:ext cx="3579585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>
                <a:solidFill>
                  <a:schemeClr val="bg1"/>
                </a:solidFill>
              </a:rPr>
              <a:t>Unrestricted © Siemens Healthineers, 2019</a:t>
            </a:r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9028" y="281332"/>
            <a:ext cx="1454204" cy="34596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4CCA68-ECFB-4738-8888-BCE166E98278}"/>
              </a:ext>
            </a:extLst>
          </p:cNvPr>
          <p:cNvSpPr txBox="1"/>
          <p:nvPr userDrawn="1"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5408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8" y="1623976"/>
            <a:ext cx="4525000" cy="457305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88497" y="1623976"/>
            <a:ext cx="2644996" cy="1879635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89875" y="3503611"/>
            <a:ext cx="2648604" cy="331277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010307" y="1623976"/>
            <a:ext cx="2644996" cy="1879635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06699" y="3503611"/>
            <a:ext cx="2648604" cy="331277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8497" y="3982522"/>
            <a:ext cx="2644996" cy="1879635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9875" y="5862157"/>
            <a:ext cx="2648604" cy="331277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10307" y="3982522"/>
            <a:ext cx="2644996" cy="1879635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6699" y="5862157"/>
            <a:ext cx="2648604" cy="331277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vid Malgiaritta| SHS DI CT R&amp;D ISA DOE</a:t>
            </a:r>
          </a:p>
        </p:txBody>
      </p:sp>
      <p:sp>
        <p:nvSpPr>
          <p:cNvPr id="22" name="Restricted">
            <a:extLst>
              <a:ext uri="{FF2B5EF4-FFF2-40B4-BE49-F238E27FC236}">
                <a16:creationId xmlns:a16="http://schemas.microsoft.com/office/drawing/2014/main" id="{42452E35-28FF-43F0-BAA1-0E6FD1DE3EED}"/>
              </a:ext>
            </a:extLst>
          </p:cNvPr>
          <p:cNvSpPr txBox="1"/>
          <p:nvPr userDrawn="1"/>
        </p:nvSpPr>
        <p:spPr>
          <a:xfrm>
            <a:off x="8073889" y="6520979"/>
            <a:ext cx="3579585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>
                <a:solidFill>
                  <a:schemeClr val="bg1"/>
                </a:solidFill>
              </a:rPr>
              <a:t>Unrestricted © Siemens Healthineers, 2019</a:t>
            </a:r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9028" y="281332"/>
            <a:ext cx="1454204" cy="34596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0FE2AC-E3F6-4795-9F40-E557323AE6B9}"/>
              </a:ext>
            </a:extLst>
          </p:cNvPr>
          <p:cNvSpPr txBox="1"/>
          <p:nvPr userDrawn="1"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7642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1268" y="219650"/>
            <a:ext cx="6590614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de-DE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1018" y="1620375"/>
            <a:ext cx="4528608" cy="25205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6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249460" y="1620375"/>
            <a:ext cx="4528608" cy="25205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6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vid Malgiaritta| SHS DI CT R&amp;D ISA DOE</a:t>
            </a:r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2273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292EAC-3B4A-614C-8815-427E2A6E0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5/14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06A190-4391-DD45-ACC3-6576838A7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D40D8A-854D-A948-B160-AF16B5E15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7490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3" y="0"/>
            <a:ext cx="12198348" cy="1619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1268" y="4361713"/>
            <a:ext cx="3583194" cy="36008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1269" y="1915516"/>
            <a:ext cx="5475593" cy="2401008"/>
          </a:xfrm>
        </p:spPr>
        <p:txBody>
          <a:bodyPr lIns="0" tIns="0" rIns="0" bIns="0" anchor="b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1268" y="5090530"/>
            <a:ext cx="3583194" cy="541140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75717" y="6520979"/>
            <a:ext cx="3579585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© Siemens Healthineers, 2019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5185" y="497230"/>
            <a:ext cx="2489833" cy="592346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89892" y="5409096"/>
            <a:ext cx="1804226" cy="1450493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7" tIns="36008" rIns="72017" bIns="36008" rtlCol="0" anchor="ctr"/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8169" y="6000404"/>
            <a:ext cx="2832636" cy="144300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89892" y="4656868"/>
            <a:ext cx="1804226" cy="624146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7" tIns="36008" rIns="72017" bIns="36008" rtlCol="0" anchor="ctr">
            <a:noAutofit/>
          </a:bodyPr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0" dirty="0">
                <a:solidFill>
                  <a:schemeClr val="tx1"/>
                </a:solidFill>
                <a:latin typeface="+mn-lt"/>
              </a:rPr>
              <a:t>Select </a:t>
            </a:r>
            <a:r>
              <a:rPr lang="en-GB" sz="1100" b="1" dirty="0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en-GB" sz="1100" b="0" dirty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en-GB" sz="1100" b="0" dirty="0">
                <a:solidFill>
                  <a:schemeClr val="tx1"/>
                </a:solidFill>
                <a:latin typeface="+mn-lt"/>
              </a:rPr>
            </a:br>
            <a:r>
              <a:rPr lang="en-GB" sz="1100" b="0" dirty="0">
                <a:solidFill>
                  <a:schemeClr val="tx1"/>
                </a:solidFill>
                <a:latin typeface="+mn-lt"/>
              </a:rPr>
              <a:t>“Title variations”.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9099" y="-360084"/>
            <a:ext cx="13030123" cy="7579755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1048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BF22B7-3B2F-403C-85C0-7EE50268BA0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46691" y="-1"/>
            <a:ext cx="6949880" cy="6859588"/>
          </a:xfrm>
          <a:solidFill>
            <a:schemeClr val="accent6"/>
          </a:solidFill>
        </p:spPr>
        <p:txBody>
          <a:bodyPr lIns="144000" tIns="108000" rIns="144000" bIns="108000"/>
          <a:lstStyle>
            <a:lvl1pPr>
              <a:defRPr/>
            </a:lvl1pPr>
            <a:lvl2pPr>
              <a:defRPr/>
            </a:lvl2pPr>
          </a:lstStyle>
          <a:p>
            <a:r>
              <a:rPr lang="en-US" dirty="0"/>
              <a:t>Insert key visual or another title motive (please refer to the front level communication matrix). </a:t>
            </a:r>
            <a:r>
              <a:rPr lang="en-GB" dirty="0"/>
              <a:t>When using a key visual, please pay attention to the correct placement.</a:t>
            </a:r>
            <a:endParaRPr lang="en-US" dirty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1268" y="4360041"/>
            <a:ext cx="3583194" cy="360083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1268" y="1623976"/>
            <a:ext cx="4526792" cy="2692854"/>
          </a:xfrm>
        </p:spPr>
        <p:txBody>
          <a:bodyPr lIns="0" tIns="0" rIns="0" bIns="0" anchor="b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</a:t>
            </a:r>
            <a:br>
              <a:rPr lang="en-US" dirty="0"/>
            </a:br>
            <a:r>
              <a:rPr lang="en-US" dirty="0"/>
              <a:t>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1268" y="5716378"/>
            <a:ext cx="3583194" cy="541140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5185" y="497230"/>
            <a:ext cx="2489833" cy="592346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9099" y="-360084"/>
            <a:ext cx="13030123" cy="7579755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Abgerundetes Rechteck 8">
            <a:extLst>
              <a:ext uri="{FF2B5EF4-FFF2-40B4-BE49-F238E27FC236}">
                <a16:creationId xmlns:a16="http://schemas.microsoft.com/office/drawing/2014/main" id="{AE53DB3D-081F-4729-84B0-B999F48632CA}"/>
              </a:ext>
            </a:extLst>
          </p:cNvPr>
          <p:cNvSpPr/>
          <p:nvPr userDrawn="1"/>
        </p:nvSpPr>
        <p:spPr>
          <a:xfrm>
            <a:off x="12589892" y="5409096"/>
            <a:ext cx="1804226" cy="1450493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7" tIns="36008" rIns="72017" bIns="36008" rtlCol="0" anchor="ctr"/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sp>
        <p:nvSpPr>
          <p:cNvPr id="64" name="Restricted">
            <a:extLst>
              <a:ext uri="{FF2B5EF4-FFF2-40B4-BE49-F238E27FC236}">
                <a16:creationId xmlns:a16="http://schemas.microsoft.com/office/drawing/2014/main" id="{4B08FC56-442A-4FA5-9EBA-337B00A54829}"/>
              </a:ext>
            </a:extLst>
          </p:cNvPr>
          <p:cNvSpPr txBox="1"/>
          <p:nvPr userDrawn="1"/>
        </p:nvSpPr>
        <p:spPr>
          <a:xfrm>
            <a:off x="8071879" y="6515346"/>
            <a:ext cx="3573735" cy="1536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98" dirty="0">
                <a:solidFill>
                  <a:srgbClr val="FFFFFF"/>
                </a:solidFill>
                <a:latin typeface="Calibri"/>
              </a:rPr>
              <a:t> © Siemens Healthineers, 2019</a:t>
            </a:r>
          </a:p>
        </p:txBody>
      </p:sp>
    </p:spTree>
    <p:extLst>
      <p:ext uri="{BB962C8B-B14F-4D97-AF65-F5344CB8AC3E}">
        <p14:creationId xmlns:p14="http://schemas.microsoft.com/office/powerpoint/2010/main" val="639709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9841" y="1623976"/>
            <a:ext cx="7353573" cy="1224283"/>
          </a:xfrm>
        </p:spPr>
        <p:txBody>
          <a:bodyPr lIns="0" tIns="0" rIns="0" bIns="0" anchor="b" anchorCtr="0">
            <a:noAutofit/>
          </a:bodyPr>
          <a:lstStyle>
            <a:lvl1pPr algn="l">
              <a:defRPr sz="2601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9841" y="3010026"/>
            <a:ext cx="7354653" cy="1661700"/>
          </a:xfrm>
        </p:spPr>
        <p:txBody>
          <a:bodyPr lIns="0" tIns="0" rIns="0" bIns="0" anchor="t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. </a:t>
            </a:r>
            <a:r>
              <a:rPr lang="en-US" dirty="0" err="1"/>
              <a:t>Vladyslav</a:t>
            </a:r>
            <a:r>
              <a:rPr lang="en-US" dirty="0"/>
              <a:t> </a:t>
            </a:r>
            <a:r>
              <a:rPr lang="en-US" dirty="0" err="1"/>
              <a:t>Ukis</a:t>
            </a:r>
            <a:r>
              <a:rPr lang="en-US" dirty="0"/>
              <a:t> | Digital Services, Digital Products, R&amp;D</a:t>
            </a:r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6533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1268" y="4360610"/>
            <a:ext cx="3588219" cy="36008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1269" y="1915642"/>
            <a:ext cx="6409214" cy="2401756"/>
          </a:xfrm>
        </p:spPr>
        <p:txBody>
          <a:bodyPr lIns="0" tIns="0" rIns="0" bIns="0" anchor="b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268" y="5091579"/>
            <a:ext cx="3588219" cy="540125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5185" y="497230"/>
            <a:ext cx="2489833" cy="592346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1881" y="4030867"/>
            <a:ext cx="2832636" cy="144300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89892" y="5409096"/>
            <a:ext cx="1804226" cy="1450493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7" tIns="36008" rIns="72017" bIns="36008" rtlCol="0" anchor="ctr"/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grpSp>
        <p:nvGrpSpPr>
          <p:cNvPr id="9" name="Marker">
            <a:extLst>
              <a:ext uri="{FF2B5EF4-FFF2-40B4-BE49-F238E27FC236}">
                <a16:creationId xmlns:a16="http://schemas.microsoft.com/office/drawing/2014/main" id="{D39A42E3-E034-456A-A3F4-983938E62B60}"/>
              </a:ext>
            </a:extLst>
          </p:cNvPr>
          <p:cNvGrpSpPr/>
          <p:nvPr userDrawn="1"/>
        </p:nvGrpSpPr>
        <p:grpSpPr>
          <a:xfrm>
            <a:off x="-469099" y="-360084"/>
            <a:ext cx="13030123" cy="7579755"/>
            <a:chOff x="-468000" y="-360000"/>
            <a:chExt cx="12999600" cy="7578000"/>
          </a:xfrm>
        </p:grpSpPr>
        <p:cxnSp>
          <p:nvCxnSpPr>
            <p:cNvPr id="10" name="Gerade Verbindung 40">
              <a:extLst>
                <a:ext uri="{FF2B5EF4-FFF2-40B4-BE49-F238E27FC236}">
                  <a16:creationId xmlns:a16="http://schemas.microsoft.com/office/drawing/2014/main" id="{7EA5DFEE-96B5-471D-81C0-5EF9A808435E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2">
              <a:extLst>
                <a:ext uri="{FF2B5EF4-FFF2-40B4-BE49-F238E27FC236}">
                  <a16:creationId xmlns:a16="http://schemas.microsoft.com/office/drawing/2014/main" id="{F6FE5688-06C6-4AC4-A569-2B413F35EC6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46EE828-435A-466B-B291-531ACD081B61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6">
              <a:extLst>
                <a:ext uri="{FF2B5EF4-FFF2-40B4-BE49-F238E27FC236}">
                  <a16:creationId xmlns:a16="http://schemas.microsoft.com/office/drawing/2014/main" id="{4E888A75-66AE-4FE7-88A7-FC420843805E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8">
              <a:extLst>
                <a:ext uri="{FF2B5EF4-FFF2-40B4-BE49-F238E27FC236}">
                  <a16:creationId xmlns:a16="http://schemas.microsoft.com/office/drawing/2014/main" id="{05D52D9C-9BDD-45C5-BB42-908F85769875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9">
              <a:extLst>
                <a:ext uri="{FF2B5EF4-FFF2-40B4-BE49-F238E27FC236}">
                  <a16:creationId xmlns:a16="http://schemas.microsoft.com/office/drawing/2014/main" id="{F90169CA-7B48-43EA-99B5-5BB8F5C7FAF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>
              <a:extLst>
                <a:ext uri="{FF2B5EF4-FFF2-40B4-BE49-F238E27FC236}">
                  <a16:creationId xmlns:a16="http://schemas.microsoft.com/office/drawing/2014/main" id="{F8A274D0-79BC-4A7C-BC35-24A63FEE3370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>
              <a:extLst>
                <a:ext uri="{FF2B5EF4-FFF2-40B4-BE49-F238E27FC236}">
                  <a16:creationId xmlns:a16="http://schemas.microsoft.com/office/drawing/2014/main" id="{F1C376A8-6474-403C-819A-A69E80654EB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4">
              <a:extLst>
                <a:ext uri="{FF2B5EF4-FFF2-40B4-BE49-F238E27FC236}">
                  <a16:creationId xmlns:a16="http://schemas.microsoft.com/office/drawing/2014/main" id="{43143CCC-DC7F-4662-8A8A-46996B39E7E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5">
              <a:extLst>
                <a:ext uri="{FF2B5EF4-FFF2-40B4-BE49-F238E27FC236}">
                  <a16:creationId xmlns:a16="http://schemas.microsoft.com/office/drawing/2014/main" id="{F6236ACA-7244-4667-9238-02757C2EAFB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7">
              <a:extLst>
                <a:ext uri="{FF2B5EF4-FFF2-40B4-BE49-F238E27FC236}">
                  <a16:creationId xmlns:a16="http://schemas.microsoft.com/office/drawing/2014/main" id="{8E4010D3-1AE7-4FCA-8300-850BB954A50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8">
              <a:extLst>
                <a:ext uri="{FF2B5EF4-FFF2-40B4-BE49-F238E27FC236}">
                  <a16:creationId xmlns:a16="http://schemas.microsoft.com/office/drawing/2014/main" id="{EC46CD02-8AD2-4474-B747-A5AC59B657DB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0">
              <a:extLst>
                <a:ext uri="{FF2B5EF4-FFF2-40B4-BE49-F238E27FC236}">
                  <a16:creationId xmlns:a16="http://schemas.microsoft.com/office/drawing/2014/main" id="{3C008754-4721-4013-9DD9-4276CE32690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3056DE7E-58F1-4D73-8C19-6E7881C70C5B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3B3E1CD6-4B1F-4020-B468-B06ABDA78018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13357323-3808-4962-B967-75E17B45A4B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1653938B-8CB8-4E29-8275-7492D19BD87A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716967B0-3183-4F1C-9947-9C3231AED35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24A98F4C-9B95-4D59-A35E-BC4FD22C7CED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E2AC2629-2D6F-4E0B-906C-B29FC2C0416E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BE9A42B9-530E-4242-8847-CDED545A750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1D7743B7-4A22-4499-816E-620480EF940B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A97A8787-113E-44B0-85C1-552A745B4379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83987063-6FE9-40BB-AEEC-B9B963D66AF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67746B3D-00B2-405D-BFA0-FCEDC2545C54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DB3F7B3-59C2-4B42-84F0-B222C48E437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366E91-0C12-412A-BA36-B761FED4662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E9F891A0-5172-4546-8B1F-2579FA2FEBD1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88A59020-D08E-4532-9B90-DE28E5DB31B3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AC5A657B-443F-418C-8790-F24C3AF724A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A1481941-E67A-4D8E-8177-0C855C7921C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B5C21370-5DFC-4BC7-9353-C5BD1FE074B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7B1A8D85-878C-4EC3-9178-F67AD1152B0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0A39318-BD31-471B-9806-F60534F8F0E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66A99A16-D0C7-4F1C-AEEA-78BB918AD85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C5471DB2-7EF6-49D9-B6EB-08154804E35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0C03E5D8-6F9E-4FBE-A702-3236683D6C1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1350AFA6-8E40-427D-B6A5-4639818970AE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4EA8B6C3-8CB9-4354-9182-2F485841245F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8CA7F308-45E5-4D6F-8E96-526C3A05416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6E94B82F-99AB-41B6-80E6-D0835067958D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F1473618-312D-4115-AFBB-2A8F5C50880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19D5E2ED-F51A-401F-BD42-1335500C191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28A2F7D4-0473-4A68-935F-B452E1C78B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9A104325-5070-4CA8-A88D-7BF93FED52A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497B098B-696E-4EA7-ABCF-A245A65E913D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0C3F8CAE-34D6-4FA4-8746-9336AC48A58F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E38B1F47-5868-4E05-9265-15445F9319E3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B2354D57-D020-4A7A-A1F5-C9BD43B68326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E347C51B-06E4-4BD6-A625-C5DA2E13F66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3D6E3457-7600-4502-A63F-F9541EA564E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5EFDB259-6FB2-4510-9177-612DC5D43785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stricted">
            <a:extLst>
              <a:ext uri="{FF2B5EF4-FFF2-40B4-BE49-F238E27FC236}">
                <a16:creationId xmlns:a16="http://schemas.microsoft.com/office/drawing/2014/main" id="{9D18BEB4-BC2D-46B0-A703-1BB50CE54E27}"/>
              </a:ext>
            </a:extLst>
          </p:cNvPr>
          <p:cNvSpPr txBox="1"/>
          <p:nvPr userDrawn="1"/>
        </p:nvSpPr>
        <p:spPr bwMode="black">
          <a:xfrm>
            <a:off x="8075718" y="6520980"/>
            <a:ext cx="3579585" cy="1548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© Siemens Healthineers, 2019</a:t>
            </a:r>
          </a:p>
        </p:txBody>
      </p:sp>
    </p:spTree>
    <p:extLst>
      <p:ext uri="{BB962C8B-B14F-4D97-AF65-F5344CB8AC3E}">
        <p14:creationId xmlns:p14="http://schemas.microsoft.com/office/powerpoint/2010/main" val="1811801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9841" y="1623976"/>
            <a:ext cx="7353573" cy="1224283"/>
          </a:xfrm>
        </p:spPr>
        <p:txBody>
          <a:bodyPr lIns="0" tIns="0" rIns="0" bIns="0" anchor="b" anchorCtr="0">
            <a:noAutofit/>
          </a:bodyPr>
          <a:lstStyle>
            <a:lvl1pPr algn="l">
              <a:defRPr sz="2601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9841" y="3010026"/>
            <a:ext cx="7354653" cy="1661700"/>
          </a:xfrm>
        </p:spPr>
        <p:txBody>
          <a:bodyPr lIns="0" tIns="0" rIns="0" bIns="0" anchor="t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9190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9841" y="1623976"/>
            <a:ext cx="7353573" cy="1224283"/>
          </a:xfrm>
        </p:spPr>
        <p:txBody>
          <a:bodyPr lIns="0" tIns="0" rIns="0" bIns="0" anchor="b" anchorCtr="0">
            <a:noAutofit/>
          </a:bodyPr>
          <a:lstStyle>
            <a:lvl1pPr algn="l">
              <a:defRPr sz="2601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9841" y="3010026"/>
            <a:ext cx="7354653" cy="1661700"/>
          </a:xfrm>
        </p:spPr>
        <p:txBody>
          <a:bodyPr lIns="0" tIns="0" rIns="0" bIns="0" anchor="t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grpSp>
        <p:nvGrpSpPr>
          <p:cNvPr id="6" name="Marker">
            <a:extLst>
              <a:ext uri="{FF2B5EF4-FFF2-40B4-BE49-F238E27FC236}">
                <a16:creationId xmlns:a16="http://schemas.microsoft.com/office/drawing/2014/main" id="{FA350118-2CDB-4D1D-9A15-37265E9A2EBF}"/>
              </a:ext>
            </a:extLst>
          </p:cNvPr>
          <p:cNvGrpSpPr/>
          <p:nvPr userDrawn="1"/>
        </p:nvGrpSpPr>
        <p:grpSpPr>
          <a:xfrm>
            <a:off x="-469099" y="-360084"/>
            <a:ext cx="13030123" cy="7579755"/>
            <a:chOff x="-468000" y="-360000"/>
            <a:chExt cx="12999600" cy="7578000"/>
          </a:xfrm>
        </p:grpSpPr>
        <p:cxnSp>
          <p:nvCxnSpPr>
            <p:cNvPr id="7" name="Gerade Verbindung 40">
              <a:extLst>
                <a:ext uri="{FF2B5EF4-FFF2-40B4-BE49-F238E27FC236}">
                  <a16:creationId xmlns:a16="http://schemas.microsoft.com/office/drawing/2014/main" id="{2DE56DF7-4A34-49CA-8A5F-7D4C0B16337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2">
              <a:extLst>
                <a:ext uri="{FF2B5EF4-FFF2-40B4-BE49-F238E27FC236}">
                  <a16:creationId xmlns:a16="http://schemas.microsoft.com/office/drawing/2014/main" id="{937BBF9E-AA5D-403C-9FB2-AAEFB06FFEE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5">
              <a:extLst>
                <a:ext uri="{FF2B5EF4-FFF2-40B4-BE49-F238E27FC236}">
                  <a16:creationId xmlns:a16="http://schemas.microsoft.com/office/drawing/2014/main" id="{D439082A-D679-4369-A278-8783FE36FC88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46">
              <a:extLst>
                <a:ext uri="{FF2B5EF4-FFF2-40B4-BE49-F238E27FC236}">
                  <a16:creationId xmlns:a16="http://schemas.microsoft.com/office/drawing/2014/main" id="{C4350D87-ED91-4479-856D-5B8CF153BF5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8">
              <a:extLst>
                <a:ext uri="{FF2B5EF4-FFF2-40B4-BE49-F238E27FC236}">
                  <a16:creationId xmlns:a16="http://schemas.microsoft.com/office/drawing/2014/main" id="{3372D79B-9023-42EF-90F8-2FE932BFEAC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ADF756B4-BC60-464D-B910-59F1A21C487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400F1294-A6B4-481B-BC4B-5340D1E95067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23E74B0A-CD00-4236-A2F7-5DC1207B25F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EF938F0C-85E0-4F8C-96E5-C76D4ADA6F87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5021DF1C-123F-449C-9299-CC4869A95FB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FF2E8183-C487-4406-8220-0713AA070C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9BA794A9-5335-44A2-9352-A46BC315459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3B7538EE-EDC1-4C4B-8293-82D92696FFA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1">
              <a:extLst>
                <a:ext uri="{FF2B5EF4-FFF2-40B4-BE49-F238E27FC236}">
                  <a16:creationId xmlns:a16="http://schemas.microsoft.com/office/drawing/2014/main" id="{09D0298B-BF52-4871-B16B-C7E44CF9377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3">
              <a:extLst>
                <a:ext uri="{FF2B5EF4-FFF2-40B4-BE49-F238E27FC236}">
                  <a16:creationId xmlns:a16="http://schemas.microsoft.com/office/drawing/2014/main" id="{CC69E2A9-D6DD-44AC-9C39-8A5CB1637324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4">
              <a:extLst>
                <a:ext uri="{FF2B5EF4-FFF2-40B4-BE49-F238E27FC236}">
                  <a16:creationId xmlns:a16="http://schemas.microsoft.com/office/drawing/2014/main" id="{9A50B785-85B0-49D7-A557-C1CCEE41465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6">
              <a:extLst>
                <a:ext uri="{FF2B5EF4-FFF2-40B4-BE49-F238E27FC236}">
                  <a16:creationId xmlns:a16="http://schemas.microsoft.com/office/drawing/2014/main" id="{5ED8BECE-8D2B-47F0-8F73-D5685D59E2C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7">
              <a:extLst>
                <a:ext uri="{FF2B5EF4-FFF2-40B4-BE49-F238E27FC236}">
                  <a16:creationId xmlns:a16="http://schemas.microsoft.com/office/drawing/2014/main" id="{16717229-1AC8-40EF-B617-C15F28F5707A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9">
              <a:extLst>
                <a:ext uri="{FF2B5EF4-FFF2-40B4-BE49-F238E27FC236}">
                  <a16:creationId xmlns:a16="http://schemas.microsoft.com/office/drawing/2014/main" id="{649C8FF4-BB77-433B-B62A-BC2883677B8A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id="{FFB8DF0A-45CE-4A09-8EE8-08E1D2B637A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2">
              <a:extLst>
                <a:ext uri="{FF2B5EF4-FFF2-40B4-BE49-F238E27FC236}">
                  <a16:creationId xmlns:a16="http://schemas.microsoft.com/office/drawing/2014/main" id="{47C152F1-3453-4AF5-B4A9-6B3A2FBF38D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3">
              <a:extLst>
                <a:ext uri="{FF2B5EF4-FFF2-40B4-BE49-F238E27FC236}">
                  <a16:creationId xmlns:a16="http://schemas.microsoft.com/office/drawing/2014/main" id="{F44E728D-41AC-46BF-AA01-9A3E7D3634E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5">
              <a:extLst>
                <a:ext uri="{FF2B5EF4-FFF2-40B4-BE49-F238E27FC236}">
                  <a16:creationId xmlns:a16="http://schemas.microsoft.com/office/drawing/2014/main" id="{42EA3322-49A4-41D9-A9F4-2D1CDA2B989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6">
              <a:extLst>
                <a:ext uri="{FF2B5EF4-FFF2-40B4-BE49-F238E27FC236}">
                  <a16:creationId xmlns:a16="http://schemas.microsoft.com/office/drawing/2014/main" id="{5583F9E5-85F6-46E0-9AC9-E2E6F9DBBB8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8">
              <a:extLst>
                <a:ext uri="{FF2B5EF4-FFF2-40B4-BE49-F238E27FC236}">
                  <a16:creationId xmlns:a16="http://schemas.microsoft.com/office/drawing/2014/main" id="{D3278E3D-27B0-4D12-8CA4-5447938671B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>
              <a:extLst>
                <a:ext uri="{FF2B5EF4-FFF2-40B4-BE49-F238E27FC236}">
                  <a16:creationId xmlns:a16="http://schemas.microsoft.com/office/drawing/2014/main" id="{FC5A0A42-E0CF-4330-B8DC-AB1DD0EE9B10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1">
              <a:extLst>
                <a:ext uri="{FF2B5EF4-FFF2-40B4-BE49-F238E27FC236}">
                  <a16:creationId xmlns:a16="http://schemas.microsoft.com/office/drawing/2014/main" id="{40CF86C5-4808-4064-B84F-CBEF9CB27EB1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2">
              <a:extLst>
                <a:ext uri="{FF2B5EF4-FFF2-40B4-BE49-F238E27FC236}">
                  <a16:creationId xmlns:a16="http://schemas.microsoft.com/office/drawing/2014/main" id="{A7AEA581-FF31-4D5E-939C-C708600BE27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4">
              <a:extLst>
                <a:ext uri="{FF2B5EF4-FFF2-40B4-BE49-F238E27FC236}">
                  <a16:creationId xmlns:a16="http://schemas.microsoft.com/office/drawing/2014/main" id="{AA38A6FD-81CD-4A99-9F0B-49E7FA09F07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5">
              <a:extLst>
                <a:ext uri="{FF2B5EF4-FFF2-40B4-BE49-F238E27FC236}">
                  <a16:creationId xmlns:a16="http://schemas.microsoft.com/office/drawing/2014/main" id="{BE46A269-5108-4684-9EE5-305BE587287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7">
              <a:extLst>
                <a:ext uri="{FF2B5EF4-FFF2-40B4-BE49-F238E27FC236}">
                  <a16:creationId xmlns:a16="http://schemas.microsoft.com/office/drawing/2014/main" id="{3FE94714-A679-4EEE-9AE4-B4BAAE085CF6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8">
              <a:extLst>
                <a:ext uri="{FF2B5EF4-FFF2-40B4-BE49-F238E27FC236}">
                  <a16:creationId xmlns:a16="http://schemas.microsoft.com/office/drawing/2014/main" id="{A3C764CA-0081-4E3E-B612-81AE48E3845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90">
              <a:extLst>
                <a:ext uri="{FF2B5EF4-FFF2-40B4-BE49-F238E27FC236}">
                  <a16:creationId xmlns:a16="http://schemas.microsoft.com/office/drawing/2014/main" id="{1BF3C449-FD97-41A5-9689-A6BC7F1B197F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1">
              <a:extLst>
                <a:ext uri="{FF2B5EF4-FFF2-40B4-BE49-F238E27FC236}">
                  <a16:creationId xmlns:a16="http://schemas.microsoft.com/office/drawing/2014/main" id="{91FD4557-8E9E-4FB5-A42C-158CE6E2EB2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3">
              <a:extLst>
                <a:ext uri="{FF2B5EF4-FFF2-40B4-BE49-F238E27FC236}">
                  <a16:creationId xmlns:a16="http://schemas.microsoft.com/office/drawing/2014/main" id="{582A2C32-4D58-45BA-8473-121B3E9F668E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4">
              <a:extLst>
                <a:ext uri="{FF2B5EF4-FFF2-40B4-BE49-F238E27FC236}">
                  <a16:creationId xmlns:a16="http://schemas.microsoft.com/office/drawing/2014/main" id="{74EB25C2-3062-4F6D-80BC-EE6156457E7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6">
              <a:extLst>
                <a:ext uri="{FF2B5EF4-FFF2-40B4-BE49-F238E27FC236}">
                  <a16:creationId xmlns:a16="http://schemas.microsoft.com/office/drawing/2014/main" id="{4B9F92EE-4390-433E-AB4C-596238B07320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7">
              <a:extLst>
                <a:ext uri="{FF2B5EF4-FFF2-40B4-BE49-F238E27FC236}">
                  <a16:creationId xmlns:a16="http://schemas.microsoft.com/office/drawing/2014/main" id="{EAFB0A32-7453-4CEF-ACAB-F374091019F0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9">
              <a:extLst>
                <a:ext uri="{FF2B5EF4-FFF2-40B4-BE49-F238E27FC236}">
                  <a16:creationId xmlns:a16="http://schemas.microsoft.com/office/drawing/2014/main" id="{3BC74E13-125F-425A-A5B4-74E010AB86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0">
              <a:extLst>
                <a:ext uri="{FF2B5EF4-FFF2-40B4-BE49-F238E27FC236}">
                  <a16:creationId xmlns:a16="http://schemas.microsoft.com/office/drawing/2014/main" id="{6C3C906C-664B-4C7C-AEC6-7F9305CF369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2">
              <a:extLst>
                <a:ext uri="{FF2B5EF4-FFF2-40B4-BE49-F238E27FC236}">
                  <a16:creationId xmlns:a16="http://schemas.microsoft.com/office/drawing/2014/main" id="{25813290-AD47-426C-89B8-CF97FC13122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3">
              <a:extLst>
                <a:ext uri="{FF2B5EF4-FFF2-40B4-BE49-F238E27FC236}">
                  <a16:creationId xmlns:a16="http://schemas.microsoft.com/office/drawing/2014/main" id="{CB1A949D-3EFE-4F15-9889-0D96B00D65B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5">
              <a:extLst>
                <a:ext uri="{FF2B5EF4-FFF2-40B4-BE49-F238E27FC236}">
                  <a16:creationId xmlns:a16="http://schemas.microsoft.com/office/drawing/2014/main" id="{9717171A-62BA-4752-8D28-62460138865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6">
              <a:extLst>
                <a:ext uri="{FF2B5EF4-FFF2-40B4-BE49-F238E27FC236}">
                  <a16:creationId xmlns:a16="http://schemas.microsoft.com/office/drawing/2014/main" id="{6459ADD6-42B0-4C43-9015-08A99018237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8">
              <a:extLst>
                <a:ext uri="{FF2B5EF4-FFF2-40B4-BE49-F238E27FC236}">
                  <a16:creationId xmlns:a16="http://schemas.microsoft.com/office/drawing/2014/main" id="{0B6ABFAF-52C9-41B6-967D-352EAE314590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9">
              <a:extLst>
                <a:ext uri="{FF2B5EF4-FFF2-40B4-BE49-F238E27FC236}">
                  <a16:creationId xmlns:a16="http://schemas.microsoft.com/office/drawing/2014/main" id="{9FEC4BAC-3680-461C-8B3C-24B845D8C3C4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>
              <a:extLst>
                <a:ext uri="{FF2B5EF4-FFF2-40B4-BE49-F238E27FC236}">
                  <a16:creationId xmlns:a16="http://schemas.microsoft.com/office/drawing/2014/main" id="{FA168A75-8036-4535-8F66-4A3350477E8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>
              <a:extLst>
                <a:ext uri="{FF2B5EF4-FFF2-40B4-BE49-F238E27FC236}">
                  <a16:creationId xmlns:a16="http://schemas.microsoft.com/office/drawing/2014/main" id="{A18C4E76-6CA5-43C5-8FA5-221B2463762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4">
              <a:extLst>
                <a:ext uri="{FF2B5EF4-FFF2-40B4-BE49-F238E27FC236}">
                  <a16:creationId xmlns:a16="http://schemas.microsoft.com/office/drawing/2014/main" id="{9CCF6106-20E5-4896-99A3-B7C1E3AFF42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6">
              <a:extLst>
                <a:ext uri="{FF2B5EF4-FFF2-40B4-BE49-F238E27FC236}">
                  <a16:creationId xmlns:a16="http://schemas.microsoft.com/office/drawing/2014/main" id="{6F614B0B-535C-4FC2-9A91-3FA11CBF19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7">
              <a:extLst>
                <a:ext uri="{FF2B5EF4-FFF2-40B4-BE49-F238E27FC236}">
                  <a16:creationId xmlns:a16="http://schemas.microsoft.com/office/drawing/2014/main" id="{DF4C6D78-47DF-495C-8E3A-EB631F5F2D0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8">
              <a:extLst>
                <a:ext uri="{FF2B5EF4-FFF2-40B4-BE49-F238E27FC236}">
                  <a16:creationId xmlns:a16="http://schemas.microsoft.com/office/drawing/2014/main" id="{4E9D06F9-8CA0-406C-9338-B32AF4F38C5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6F91D59C-B598-43C1-9A82-7C0B3D35A2A5}"/>
              </a:ext>
            </a:extLst>
          </p:cNvPr>
          <p:cNvSpPr txBox="1"/>
          <p:nvPr userDrawn="1"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Restricted">
            <a:extLst>
              <a:ext uri="{FF2B5EF4-FFF2-40B4-BE49-F238E27FC236}">
                <a16:creationId xmlns:a16="http://schemas.microsoft.com/office/drawing/2014/main" id="{BB270B93-CCA2-4390-ADC0-BF16EC6A1194}"/>
              </a:ext>
            </a:extLst>
          </p:cNvPr>
          <p:cNvSpPr txBox="1"/>
          <p:nvPr userDrawn="1"/>
        </p:nvSpPr>
        <p:spPr>
          <a:xfrm>
            <a:off x="8075481" y="6520979"/>
            <a:ext cx="3580261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© Siemens Healthineers, 2019</a:t>
            </a:r>
          </a:p>
        </p:txBody>
      </p:sp>
      <p:pic>
        <p:nvPicPr>
          <p:cNvPr id="63" name="Siemens Healthineers logo">
            <a:extLst>
              <a:ext uri="{FF2B5EF4-FFF2-40B4-BE49-F238E27FC236}">
                <a16:creationId xmlns:a16="http://schemas.microsoft.com/office/drawing/2014/main" id="{2E7414E2-6AC0-4D81-972E-9CF172806A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9028" y="281332"/>
            <a:ext cx="1454204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1117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6950482" y="0"/>
            <a:ext cx="5247868" cy="6859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530416" y="2334951"/>
            <a:ext cx="4125327" cy="2601936"/>
          </a:xfrm>
        </p:spPr>
        <p:txBody>
          <a:bodyPr lIns="0" tIns="0" rIns="0" bIns="0" anchor="t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sp>
        <p:nvSpPr>
          <p:cNvPr id="16" name="Restricted"/>
          <p:cNvSpPr txBox="1"/>
          <p:nvPr userDrawn="1"/>
        </p:nvSpPr>
        <p:spPr>
          <a:xfrm>
            <a:off x="8075717" y="6520979"/>
            <a:ext cx="3579585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© Siemens Healthineers, 2019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6666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50482" cy="6859588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42231" y="1623976"/>
            <a:ext cx="4513511" cy="1224283"/>
          </a:xfrm>
        </p:spPr>
        <p:txBody>
          <a:bodyPr lIns="0" tIns="0" rIns="0" bIns="0" anchor="b" anchorCtr="0">
            <a:noAutofit/>
          </a:bodyPr>
          <a:lstStyle>
            <a:lvl1pPr algn="l">
              <a:defRPr sz="2601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42231" y="3010026"/>
            <a:ext cx="4514175" cy="1661700"/>
          </a:xfrm>
        </p:spPr>
        <p:txBody>
          <a:bodyPr lIns="0" tIns="0" rIns="0" bIns="0" anchor="t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1269" y="6374035"/>
            <a:ext cx="2642527" cy="324075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0405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en-US" noProof="0" dirty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1268" y="1623977"/>
            <a:ext cx="4522654" cy="4571883"/>
          </a:xfrm>
        </p:spPr>
        <p:txBody>
          <a:bodyPr/>
          <a:lstStyle>
            <a:lvl1pPr marL="216043" indent="-216043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990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6043" indent="0">
              <a:buFont typeface="Arial" panose="020B0604020202020204" pitchFamily="34" charset="0"/>
              <a:buNone/>
              <a:tabLst>
                <a:tab pos="4510990" algn="r"/>
              </a:tabLst>
              <a:defRPr b="0">
                <a:solidFill>
                  <a:schemeClr val="tx1"/>
                </a:solidFill>
              </a:defRPr>
            </a:lvl2pPr>
            <a:lvl3pPr marL="432086" indent="-216043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990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89876" y="1623976"/>
            <a:ext cx="4525451" cy="2538588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illustrative imag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9469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7" y="1623976"/>
            <a:ext cx="9234031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1472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1268" y="1623976"/>
            <a:ext cx="4521391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89875" y="1623976"/>
            <a:ext cx="5465867" cy="4573059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3388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8" y="1623976"/>
            <a:ext cx="5466806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88936" y="1623976"/>
            <a:ext cx="5466806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0244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73885" cy="68595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6409214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de-DE" dirty="0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1268" y="1623976"/>
            <a:ext cx="6409214" cy="4573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4305" y="1623976"/>
            <a:ext cx="1879239" cy="1275993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6043" marR="0" indent="-216043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432086" marR="0" indent="-216043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130">
              <a:defRPr/>
            </a:lvl5pPr>
          </a:lstStyle>
          <a:p>
            <a:pPr lvl="0"/>
            <a:r>
              <a:rPr lang="en-GB" dirty="0"/>
              <a:t>Calibri Bold 16 </a:t>
            </a:r>
            <a:r>
              <a:rPr lang="en-GB" dirty="0" err="1"/>
              <a:t>pt</a:t>
            </a:r>
            <a:endParaRPr lang="en-GB" dirty="0"/>
          </a:p>
          <a:p>
            <a:pPr lvl="1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lvl="2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marL="439288" marR="0" lvl="3" indent="-219644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73888" y="6341939"/>
            <a:ext cx="3267105" cy="14403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sp>
        <p:nvSpPr>
          <p:cNvPr id="89" name="Information"/>
          <p:cNvSpPr/>
          <p:nvPr userDrawn="1"/>
        </p:nvSpPr>
        <p:spPr>
          <a:xfrm>
            <a:off x="-2165072" y="1"/>
            <a:ext cx="1804226" cy="128767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7" tIns="36008" rIns="72017" bIns="36008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52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50482" cy="6859588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42231" y="1623976"/>
            <a:ext cx="4513511" cy="1224283"/>
          </a:xfrm>
        </p:spPr>
        <p:txBody>
          <a:bodyPr lIns="0" tIns="0" rIns="0" bIns="0" anchor="b" anchorCtr="0">
            <a:noAutofit/>
          </a:bodyPr>
          <a:lstStyle>
            <a:lvl1pPr algn="l">
              <a:defRPr sz="2601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42231" y="3010026"/>
            <a:ext cx="4514175" cy="1661700"/>
          </a:xfrm>
        </p:spPr>
        <p:txBody>
          <a:bodyPr lIns="0" tIns="0" rIns="0" bIns="0" anchor="t">
            <a:noAutofit/>
          </a:bodyPr>
          <a:lstStyle>
            <a:lvl1pPr marL="0" marR="0" indent="0" algn="l" defTabSz="91458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1" b="1" baseline="0">
                <a:solidFill>
                  <a:schemeClr val="bg2"/>
                </a:solidFill>
              </a:defRPr>
            </a:lvl1pPr>
            <a:lvl2pPr marL="457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1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1269" y="6374035"/>
            <a:ext cx="2642527" cy="324075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4874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8" y="1623976"/>
            <a:ext cx="3583194" cy="13503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1268" y="3204742"/>
            <a:ext cx="3583194" cy="235494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307579" y="1623976"/>
            <a:ext cx="3583194" cy="13503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305861" y="3204742"/>
            <a:ext cx="3583194" cy="235494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73888" y="1623976"/>
            <a:ext cx="3583194" cy="13503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73888" y="3204742"/>
            <a:ext cx="3583194" cy="235494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1271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1268" y="1623976"/>
            <a:ext cx="3583194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306908" y="1623976"/>
            <a:ext cx="3583194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72548" y="1623976"/>
            <a:ext cx="3583194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3667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1468" y="1623976"/>
            <a:ext cx="4525000" cy="2520584"/>
          </a:xfrm>
        </p:spPr>
        <p:txBody>
          <a:bodyPr/>
          <a:lstStyle>
            <a:lvl1pPr>
              <a:lnSpc>
                <a:spcPct val="100000"/>
              </a:lnSpc>
              <a:defRPr sz="2801" b="0" i="1" baseline="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</a:lstStyle>
          <a:p>
            <a:pPr lvl="0"/>
            <a:r>
              <a:rPr lang="de-DE" noProof="0" dirty="0"/>
              <a:t>Quote Calibri Italic 2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73888" y="6341939"/>
            <a:ext cx="3267105" cy="14403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02" name="Siemens Healthineers logo">
            <a:extLst>
              <a:ext uri="{FF2B5EF4-FFF2-40B4-BE49-F238E27FC236}">
                <a16:creationId xmlns:a16="http://schemas.microsoft.com/office/drawing/2014/main" id="{F754266B-32E9-4BFB-AAFC-1B55BA50D3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8960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83073" y="1623975"/>
            <a:ext cx="8290825" cy="4573059"/>
          </a:xfrm>
        </p:spPr>
        <p:txBody>
          <a:bodyPr/>
          <a:lstStyle>
            <a:lvl1pPr>
              <a:lnSpc>
                <a:spcPct val="85000"/>
              </a:lnSpc>
              <a:defRPr sz="4801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73888" y="6341939"/>
            <a:ext cx="3267105" cy="144033"/>
          </a:xfrm>
        </p:spPr>
        <p:txBody>
          <a:bodyPr/>
          <a:lstStyle/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6196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83072" y="1623975"/>
            <a:ext cx="1515550" cy="194445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67038" y="1623975"/>
            <a:ext cx="6406860" cy="4573059"/>
          </a:xfrm>
        </p:spPr>
        <p:txBody>
          <a:bodyPr/>
          <a:lstStyle>
            <a:lvl1pPr>
              <a:lnSpc>
                <a:spcPct val="85000"/>
              </a:lnSpc>
              <a:defRPr sz="4001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0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73888" y="6341939"/>
            <a:ext cx="3267105" cy="144033"/>
          </a:xfrm>
        </p:spPr>
        <p:txBody>
          <a:bodyPr/>
          <a:lstStyle/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6125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6029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70432" y="1623976"/>
            <a:ext cx="6237612" cy="5239213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roduct picture</a:t>
            </a:r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2113" y="2212606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29" marR="0" indent="-144029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66" indent="26993">
              <a:defRPr sz="1400"/>
            </a:lvl4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2113" y="3393680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29" indent="-144029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2113" y="4574753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29" indent="-144029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309808" y="2803143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29" indent="-144029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309808" y="3984216"/>
            <a:ext cx="2165072" cy="828192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29" indent="-144029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3644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ey cover"/>
          <p:cNvSpPr/>
          <p:nvPr userDrawn="1"/>
        </p:nvSpPr>
        <p:spPr bwMode="auto">
          <a:xfrm>
            <a:off x="0" y="0"/>
            <a:ext cx="6014840" cy="685958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1268" y="219650"/>
            <a:ext cx="4708192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976"/>
            <a:ext cx="6014840" cy="4573059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diagram</a:t>
            </a:r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87681" y="2263663"/>
            <a:ext cx="5069876" cy="393211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1000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1267" y="219650"/>
            <a:ext cx="9234031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1268" y="1619625"/>
            <a:ext cx="5648607" cy="45749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31882" y="1619625"/>
            <a:ext cx="4523859" cy="4574647"/>
          </a:xfrm>
        </p:spPr>
        <p:txBody>
          <a:bodyPr lIns="180000" tIns="180000" rIns="180000" bIns="18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sp>
        <p:nvSpPr>
          <p:cNvPr id="101" name="Restricted"/>
          <p:cNvSpPr txBox="1"/>
          <p:nvPr userDrawn="1"/>
        </p:nvSpPr>
        <p:spPr>
          <a:xfrm>
            <a:off x="8073889" y="6520979"/>
            <a:ext cx="3579585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© Siemens Healthineers, 2019</a:t>
            </a:r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9028" y="281332"/>
            <a:ext cx="1454204" cy="34596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4CCA68-ECFB-4738-8888-BCE166E98278}"/>
              </a:ext>
            </a:extLst>
          </p:cNvPr>
          <p:cNvSpPr txBox="1"/>
          <p:nvPr userDrawn="1"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1207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8" y="1623976"/>
            <a:ext cx="4525000" cy="457305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88497" y="1623976"/>
            <a:ext cx="2644996" cy="1879635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89875" y="3503611"/>
            <a:ext cx="2648604" cy="331277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010307" y="1623976"/>
            <a:ext cx="2644996" cy="1879635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06699" y="3503611"/>
            <a:ext cx="2648604" cy="331277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8497" y="3982522"/>
            <a:ext cx="2644996" cy="1879635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9875" y="5862157"/>
            <a:ext cx="2648604" cy="331277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10307" y="3982522"/>
            <a:ext cx="2644996" cy="1879635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6699" y="5862157"/>
            <a:ext cx="2648604" cy="331277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sp>
        <p:nvSpPr>
          <p:cNvPr id="22" name="Restricted">
            <a:extLst>
              <a:ext uri="{FF2B5EF4-FFF2-40B4-BE49-F238E27FC236}">
                <a16:creationId xmlns:a16="http://schemas.microsoft.com/office/drawing/2014/main" id="{42452E35-28FF-43F0-BAA1-0E6FD1DE3EED}"/>
              </a:ext>
            </a:extLst>
          </p:cNvPr>
          <p:cNvSpPr txBox="1"/>
          <p:nvPr userDrawn="1"/>
        </p:nvSpPr>
        <p:spPr>
          <a:xfrm>
            <a:off x="8073889" y="6520979"/>
            <a:ext cx="3579585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© Siemens Healthineers, 2019</a:t>
            </a:r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9028" y="281332"/>
            <a:ext cx="1454204" cy="34596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0FE2AC-E3F6-4795-9F40-E557323AE6B9}"/>
              </a:ext>
            </a:extLst>
          </p:cNvPr>
          <p:cNvSpPr txBox="1"/>
          <p:nvPr userDrawn="1"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182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en-US" noProof="0" dirty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1268" y="1623977"/>
            <a:ext cx="4522654" cy="4571883"/>
          </a:xfrm>
        </p:spPr>
        <p:txBody>
          <a:bodyPr/>
          <a:lstStyle>
            <a:lvl1pPr marL="219644" indent="-219644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990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9644" indent="0">
              <a:buFont typeface="Arial" panose="020B0604020202020204" pitchFamily="34" charset="0"/>
              <a:buNone/>
              <a:tabLst>
                <a:tab pos="4510990" algn="r"/>
              </a:tabLst>
              <a:defRPr b="0">
                <a:solidFill>
                  <a:schemeClr val="tx1"/>
                </a:solidFill>
              </a:defRPr>
            </a:lvl2pPr>
            <a:lvl3pPr marL="457291" indent="-228646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990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89876" y="1623976"/>
            <a:ext cx="4525451" cy="2538588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illustrative imag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Thomas Jachmann| Computed Tomography</a:t>
            </a:r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2370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1268" y="219650"/>
            <a:ext cx="6590614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249460" y="1620375"/>
            <a:ext cx="4528608" cy="2520584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41268" y="1620375"/>
            <a:ext cx="4528608" cy="2520584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uted Tomography</a:t>
            </a:r>
            <a:endParaRPr lang="en-US" dirty="0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63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7" y="1623976"/>
            <a:ext cx="9234031" cy="457305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Dr. </a:t>
            </a:r>
            <a:r>
              <a:rPr lang="en-US" dirty="0" err="1"/>
              <a:t>Vladyslav</a:t>
            </a:r>
            <a:r>
              <a:rPr lang="en-US" dirty="0"/>
              <a:t> </a:t>
            </a:r>
            <a:r>
              <a:rPr lang="en-US" dirty="0" err="1"/>
              <a:t>Ukis</a:t>
            </a:r>
            <a:r>
              <a:rPr lang="en-US" dirty="0"/>
              <a:t> | Digital Services, Digital Products, R&amp;D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745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73885" cy="68595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6409214" cy="83310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de-DE" dirty="0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1268" y="1623976"/>
            <a:ext cx="6409214" cy="4573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4305" y="1623976"/>
            <a:ext cx="1879239" cy="1275993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9644" marR="0" indent="-219644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219644" marR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130">
              <a:defRPr/>
            </a:lvl5pPr>
          </a:lstStyle>
          <a:p>
            <a:pPr lvl="0"/>
            <a:r>
              <a:rPr lang="en-GB" dirty="0"/>
              <a:t>Calibri Bold 16 </a:t>
            </a:r>
            <a:r>
              <a:rPr lang="en-GB" dirty="0" err="1"/>
              <a:t>pt</a:t>
            </a:r>
            <a:endParaRPr lang="en-GB" dirty="0"/>
          </a:p>
          <a:p>
            <a:pPr lvl="1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lvl="2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marL="439288" marR="0" lvl="3" indent="-219644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89" name="Information"/>
          <p:cNvSpPr/>
          <p:nvPr userDrawn="1"/>
        </p:nvSpPr>
        <p:spPr>
          <a:xfrm>
            <a:off x="-2165072" y="1"/>
            <a:ext cx="1804226" cy="128767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7" tIns="36008" rIns="72017" bIns="36008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Unrestricted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66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1269" y="219650"/>
            <a:ext cx="9232051" cy="833106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1268" y="1623976"/>
            <a:ext cx="3583194" cy="13503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1268" y="3204742"/>
            <a:ext cx="3583194" cy="235494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307579" y="1623976"/>
            <a:ext cx="3583194" cy="13503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305861" y="3204742"/>
            <a:ext cx="3583194" cy="235494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73888" y="1623976"/>
            <a:ext cx="3583194" cy="13503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73888" y="3204742"/>
            <a:ext cx="3583194" cy="235494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1268" y="6298806"/>
            <a:ext cx="4521391" cy="36008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Dr. </a:t>
            </a:r>
            <a:r>
              <a:rPr lang="en-US" dirty="0" err="1"/>
              <a:t>Vladyslav</a:t>
            </a:r>
            <a:r>
              <a:rPr lang="en-US" dirty="0"/>
              <a:t> </a:t>
            </a:r>
            <a:r>
              <a:rPr lang="en-US" dirty="0" err="1"/>
              <a:t>Ukis</a:t>
            </a:r>
            <a:r>
              <a:rPr lang="en-US" dirty="0"/>
              <a:t> | Digital Services, Digital Products, R&amp;D</a:t>
            </a:r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9296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1269" y="219650"/>
            <a:ext cx="9232051" cy="8331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1269" y="1623976"/>
            <a:ext cx="9232051" cy="4573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/>
        </p:nvGrpSpPr>
        <p:grpSpPr>
          <a:xfrm>
            <a:off x="-469099" y="-360084"/>
            <a:ext cx="13030123" cy="7579755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/>
        </p:nvSpPr>
        <p:spPr>
          <a:xfrm>
            <a:off x="8075481" y="6520979"/>
            <a:ext cx="3580261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tx1"/>
                </a:solidFill>
                <a:latin typeface="+mn-lt"/>
              </a:rPr>
              <a:t>© Siemens Healthineers, 2021</a:t>
            </a:r>
            <a:endParaRPr lang="de-DE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0" name="Author">
            <a:extLst>
              <a:ext uri="{FF2B5EF4-FFF2-40B4-BE49-F238E27FC236}">
                <a16:creationId xmlns:a16="http://schemas.microsoft.com/office/drawing/2014/main" id="{5A5A716D-E799-4EFE-AA05-7CDC98A153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Thomas Jachmann | Computed Tomography</a:t>
            </a:r>
          </a:p>
        </p:txBody>
      </p:sp>
    </p:spTree>
    <p:extLst>
      <p:ext uri="{BB962C8B-B14F-4D97-AF65-F5344CB8AC3E}">
        <p14:creationId xmlns:p14="http://schemas.microsoft.com/office/powerpoint/2010/main" val="3683501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8" r:id="rId13"/>
    <p:sldLayoutId id="2147483821" r:id="rId14"/>
    <p:sldLayoutId id="2147483847" r:id="rId15"/>
    <p:sldLayoutId id="2147483860" r:id="rId16"/>
    <p:sldLayoutId id="2147483861" r:id="rId17"/>
    <p:sldLayoutId id="2147483801" r:id="rId18"/>
    <p:sldLayoutId id="2147483802" r:id="rId19"/>
    <p:sldLayoutId id="2147483803" r:id="rId20"/>
    <p:sldLayoutId id="2147483804" r:id="rId21"/>
    <p:sldLayoutId id="2147483805" r:id="rId22"/>
    <p:sldLayoutId id="2147483806" r:id="rId23"/>
    <p:sldLayoutId id="2147483807" r:id="rId24"/>
    <p:sldLayoutId id="2147483809" r:id="rId25"/>
    <p:sldLayoutId id="2147483810" r:id="rId26"/>
    <p:sldLayoutId id="2147483811" r:id="rId27"/>
    <p:sldLayoutId id="2147483812" r:id="rId28"/>
    <p:sldLayoutId id="2147483813" r:id="rId29"/>
    <p:sldLayoutId id="2147483814" r:id="rId30"/>
    <p:sldLayoutId id="2147483815" r:id="rId31"/>
    <p:sldLayoutId id="2147483816" r:id="rId32"/>
    <p:sldLayoutId id="2147483817" r:id="rId33"/>
    <p:sldLayoutId id="2147483818" r:id="rId34"/>
    <p:sldLayoutId id="2147483819" r:id="rId35"/>
    <p:sldLayoutId id="2147483820" r:id="rId36"/>
    <p:sldLayoutId id="2147483862" r:id="rId37"/>
  </p:sldLayoutIdLst>
  <p:hf hdr="0" dt="0"/>
  <p:txStyles>
    <p:titleStyle>
      <a:lvl1pPr algn="l" defTabSz="914583" rtl="0" eaLnBrk="1" latinLnBrk="0" hangingPunct="1">
        <a:spcBef>
          <a:spcPct val="0"/>
        </a:spcBef>
        <a:buNone/>
        <a:defRPr sz="2801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5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583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46" indent="-228646" algn="l" defTabSz="914583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91" indent="-228646" algn="l" defTabSz="9145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5937" indent="-228646" algn="l" defTabSz="9145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583" marR="0" indent="-228646" algn="l" defTabSz="91458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229" indent="-228646" algn="l" defTabSz="914583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874" marR="0" indent="-228646" algn="l" defTabSz="91458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583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819">
          <p15:clr>
            <a:srgbClr val="F26B43"/>
          </p15:clr>
        </p15:guide>
        <p15:guide id="3" pos="930">
          <p15:clr>
            <a:srgbClr val="F26B43"/>
          </p15:clr>
        </p15:guide>
        <p15:guide id="4" pos="1410">
          <p15:clr>
            <a:srgbClr val="F26B43"/>
          </p15:clr>
        </p15:guide>
        <p15:guide id="5" pos="1524">
          <p15:clr>
            <a:srgbClr val="F26B43"/>
          </p15:clr>
        </p15:guide>
        <p15:guide id="6" pos="2003">
          <p15:clr>
            <a:srgbClr val="F26B43"/>
          </p15:clr>
        </p15:guide>
        <p15:guide id="7" pos="2117">
          <p15:clr>
            <a:srgbClr val="F26B43"/>
          </p15:clr>
        </p15:guide>
        <p15:guide id="8" pos="2592">
          <p15:clr>
            <a:srgbClr val="F26B43"/>
          </p15:clr>
        </p15:guide>
        <p15:guide id="9" pos="2705">
          <p15:clr>
            <a:srgbClr val="F26B43"/>
          </p15:clr>
        </p15:guide>
        <p15:guide id="10" pos="3185">
          <p15:clr>
            <a:srgbClr val="F26B43"/>
          </p15:clr>
        </p15:guide>
        <p15:guide id="11" pos="3299">
          <p15:clr>
            <a:srgbClr val="F26B43"/>
          </p15:clr>
        </p15:guide>
        <p15:guide id="12" pos="3776">
          <p15:clr>
            <a:srgbClr val="F26B43"/>
          </p15:clr>
        </p15:guide>
        <p15:guide id="13" pos="3890">
          <p15:clr>
            <a:srgbClr val="F26B43"/>
          </p15:clr>
        </p15:guide>
        <p15:guide id="14" pos="4368">
          <p15:clr>
            <a:srgbClr val="F26B43"/>
          </p15:clr>
        </p15:guide>
        <p15:guide id="15" pos="4482">
          <p15:clr>
            <a:srgbClr val="F26B43"/>
          </p15:clr>
        </p15:guide>
        <p15:guide id="16" pos="4959">
          <p15:clr>
            <a:srgbClr val="F26B43"/>
          </p15:clr>
        </p15:guide>
        <p15:guide id="17" pos="5075">
          <p15:clr>
            <a:srgbClr val="F26B43"/>
          </p15:clr>
        </p15:guide>
        <p15:guide id="18" pos="5552">
          <p15:clr>
            <a:srgbClr val="F26B43"/>
          </p15:clr>
        </p15:guide>
        <p15:guide id="19" pos="5666">
          <p15:clr>
            <a:srgbClr val="F26B43"/>
          </p15:clr>
        </p15:guide>
        <p15:guide id="20" pos="6143">
          <p15:clr>
            <a:srgbClr val="F26B43"/>
          </p15:clr>
        </p15:guide>
        <p15:guide id="21" pos="6254">
          <p15:clr>
            <a:srgbClr val="F26B43"/>
          </p15:clr>
        </p15:guide>
        <p15:guide id="22" pos="6734">
          <p15:clr>
            <a:srgbClr val="F26B43"/>
          </p15:clr>
        </p15:guide>
        <p15:guide id="23" pos="6846">
          <p15:clr>
            <a:srgbClr val="F26B43"/>
          </p15:clr>
        </p15:guide>
        <p15:guide id="24" pos="7325">
          <p15:clr>
            <a:srgbClr val="F26B43"/>
          </p15:clr>
        </p15:guide>
        <p15:guide id="26" orient="horz" pos="3902">
          <p15:clr>
            <a:srgbClr val="F26B43"/>
          </p15:clr>
        </p15:guide>
        <p15:guide id="27" orient="horz" pos="663">
          <p15:clr>
            <a:srgbClr val="F26B43"/>
          </p15:clr>
        </p15:guide>
        <p15:guide id="28" orient="horz" pos="10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1269" y="219650"/>
            <a:ext cx="9232051" cy="8331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1269" y="1623976"/>
            <a:ext cx="9232051" cy="4573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73888" y="6341939"/>
            <a:ext cx="3267105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mputed Tomography</a:t>
            </a:r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9099" y="-360084"/>
            <a:ext cx="13030123" cy="7579755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 userDrawn="1"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 userDrawn="1"/>
        </p:nvSpPr>
        <p:spPr>
          <a:xfrm>
            <a:off x="8075481" y="6520979"/>
            <a:ext cx="3580261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© </a:t>
            </a:r>
            <a:r>
              <a:rPr lang="de-DE" sz="1000" dirty="0">
                <a:solidFill>
                  <a:schemeClr val="tx1"/>
                </a:solidFill>
                <a:latin typeface="+mn-lt"/>
              </a:rPr>
              <a:t>Siemens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latin typeface="+mn-lt"/>
              </a:rPr>
              <a:t>Healthineers</a:t>
            </a:r>
            <a:r>
              <a:rPr lang="de-DE" sz="1000" dirty="0">
                <a:solidFill>
                  <a:schemeClr val="tx1"/>
                </a:solidFill>
              </a:rPr>
              <a:t>, </a:t>
            </a:r>
            <a:r>
              <a:rPr lang="de-DE" sz="1000" dirty="0">
                <a:solidFill>
                  <a:schemeClr val="tx1"/>
                </a:solidFill>
                <a:latin typeface="+mn-lt"/>
              </a:rPr>
              <a:t>2021</a:t>
            </a:r>
            <a:endParaRPr lang="de-D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599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  <p:sldLayoutId id="2147483884" r:id="rId21"/>
    <p:sldLayoutId id="2147483885" r:id="rId22"/>
    <p:sldLayoutId id="2147483886" r:id="rId23"/>
  </p:sldLayoutIdLst>
  <p:hf sldNum="0" hdr="0" dt="0"/>
  <p:txStyles>
    <p:titleStyle>
      <a:lvl1pPr algn="l" defTabSz="914583" rtl="0" eaLnBrk="1" latinLnBrk="0" hangingPunct="1">
        <a:spcBef>
          <a:spcPct val="0"/>
        </a:spcBef>
        <a:buNone/>
        <a:defRPr sz="2801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5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583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43" indent="-216043" algn="l" defTabSz="914583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86" indent="-216043" algn="l" defTabSz="9145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130" indent="-216043" algn="l" defTabSz="9145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173" marR="0" indent="-216043" algn="l" defTabSz="91458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216" indent="-216043" algn="l" defTabSz="914583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259" marR="0" indent="-216043" algn="l" defTabSz="91458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583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819">
          <p15:clr>
            <a:srgbClr val="F26B43"/>
          </p15:clr>
        </p15:guide>
        <p15:guide id="3" pos="930">
          <p15:clr>
            <a:srgbClr val="F26B43"/>
          </p15:clr>
        </p15:guide>
        <p15:guide id="4" pos="1410">
          <p15:clr>
            <a:srgbClr val="F26B43"/>
          </p15:clr>
        </p15:guide>
        <p15:guide id="5" pos="1524">
          <p15:clr>
            <a:srgbClr val="F26B43"/>
          </p15:clr>
        </p15:guide>
        <p15:guide id="6" pos="2003">
          <p15:clr>
            <a:srgbClr val="F26B43"/>
          </p15:clr>
        </p15:guide>
        <p15:guide id="7" pos="2117">
          <p15:clr>
            <a:srgbClr val="F26B43"/>
          </p15:clr>
        </p15:guide>
        <p15:guide id="8" pos="2592">
          <p15:clr>
            <a:srgbClr val="F26B43"/>
          </p15:clr>
        </p15:guide>
        <p15:guide id="9" pos="2705">
          <p15:clr>
            <a:srgbClr val="F26B43"/>
          </p15:clr>
        </p15:guide>
        <p15:guide id="10" pos="3185">
          <p15:clr>
            <a:srgbClr val="F26B43"/>
          </p15:clr>
        </p15:guide>
        <p15:guide id="11" pos="3299">
          <p15:clr>
            <a:srgbClr val="F26B43"/>
          </p15:clr>
        </p15:guide>
        <p15:guide id="12" pos="3776">
          <p15:clr>
            <a:srgbClr val="F26B43"/>
          </p15:clr>
        </p15:guide>
        <p15:guide id="13" pos="3890">
          <p15:clr>
            <a:srgbClr val="F26B43"/>
          </p15:clr>
        </p15:guide>
        <p15:guide id="14" pos="4368">
          <p15:clr>
            <a:srgbClr val="F26B43"/>
          </p15:clr>
        </p15:guide>
        <p15:guide id="15" pos="4482">
          <p15:clr>
            <a:srgbClr val="F26B43"/>
          </p15:clr>
        </p15:guide>
        <p15:guide id="16" pos="4959">
          <p15:clr>
            <a:srgbClr val="F26B43"/>
          </p15:clr>
        </p15:guide>
        <p15:guide id="17" pos="5075">
          <p15:clr>
            <a:srgbClr val="F26B43"/>
          </p15:clr>
        </p15:guide>
        <p15:guide id="18" pos="5552">
          <p15:clr>
            <a:srgbClr val="F26B43"/>
          </p15:clr>
        </p15:guide>
        <p15:guide id="19" pos="5666">
          <p15:clr>
            <a:srgbClr val="F26B43"/>
          </p15:clr>
        </p15:guide>
        <p15:guide id="20" pos="6143">
          <p15:clr>
            <a:srgbClr val="F26B43"/>
          </p15:clr>
        </p15:guide>
        <p15:guide id="21" pos="6254">
          <p15:clr>
            <a:srgbClr val="F26B43"/>
          </p15:clr>
        </p15:guide>
        <p15:guide id="22" pos="6734">
          <p15:clr>
            <a:srgbClr val="F26B43"/>
          </p15:clr>
        </p15:guide>
        <p15:guide id="23" pos="6846">
          <p15:clr>
            <a:srgbClr val="F26B43"/>
          </p15:clr>
        </p15:guide>
        <p15:guide id="24" pos="7325">
          <p15:clr>
            <a:srgbClr val="F26B43"/>
          </p15:clr>
        </p15:guide>
        <p15:guide id="26" orient="horz" pos="3902">
          <p15:clr>
            <a:srgbClr val="F26B43"/>
          </p15:clr>
        </p15:guide>
        <p15:guide id="27" orient="horz" pos="663">
          <p15:clr>
            <a:srgbClr val="F26B43"/>
          </p15:clr>
        </p15:guide>
        <p15:guide id="28" orient="horz" pos="1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10" Type="http://schemas.microsoft.com/office/2007/relationships/hdphoto" Target="../media/hdphoto13.wdp"/><Relationship Id="rId4" Type="http://schemas.openxmlformats.org/officeDocument/2006/relationships/image" Target="../media/image60.png"/><Relationship Id="rId9" Type="http://schemas.microsoft.com/office/2007/relationships/hdphoto" Target="../media/hdphoto12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microsoft.com/office/2007/relationships/hdphoto" Target="../media/hdphoto14.wdp"/><Relationship Id="rId18" Type="http://schemas.microsoft.com/office/2007/relationships/hdphoto" Target="../media/hdphoto16.wdp"/><Relationship Id="rId3" Type="http://schemas.openxmlformats.org/officeDocument/2006/relationships/image" Target="../media/image65.jpeg"/><Relationship Id="rId7" Type="http://schemas.openxmlformats.org/officeDocument/2006/relationships/image" Target="../media/image69.svg"/><Relationship Id="rId12" Type="http://schemas.openxmlformats.org/officeDocument/2006/relationships/image" Target="../media/image74.png"/><Relationship Id="rId17" Type="http://schemas.openxmlformats.org/officeDocument/2006/relationships/image" Target="../media/image77.png"/><Relationship Id="rId2" Type="http://schemas.openxmlformats.org/officeDocument/2006/relationships/notesSlide" Target="../notesSlides/notesSlide9.xml"/><Relationship Id="rId16" Type="http://schemas.microsoft.com/office/2007/relationships/hdphoto" Target="../media/hdphoto15.wdp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8.png"/><Relationship Id="rId11" Type="http://schemas.openxmlformats.org/officeDocument/2006/relationships/image" Target="../media/image73.svg"/><Relationship Id="rId5" Type="http://schemas.openxmlformats.org/officeDocument/2006/relationships/image" Target="../media/image67.svg"/><Relationship Id="rId15" Type="http://schemas.openxmlformats.org/officeDocument/2006/relationships/image" Target="../media/image76.png"/><Relationship Id="rId10" Type="http://schemas.openxmlformats.org/officeDocument/2006/relationships/image" Target="../media/image72.png"/><Relationship Id="rId19" Type="http://schemas.openxmlformats.org/officeDocument/2006/relationships/image" Target="../media/image2.emf"/><Relationship Id="rId4" Type="http://schemas.openxmlformats.org/officeDocument/2006/relationships/image" Target="../media/image66.png"/><Relationship Id="rId9" Type="http://schemas.openxmlformats.org/officeDocument/2006/relationships/image" Target="../media/image71.svg"/><Relationship Id="rId14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89.png"/><Relationship Id="rId117" Type="http://schemas.openxmlformats.org/officeDocument/2006/relationships/image" Target="../media/image125.png"/><Relationship Id="rId21" Type="http://schemas.microsoft.com/office/2007/relationships/hdphoto" Target="../media/hdphoto26.wdp"/><Relationship Id="rId42" Type="http://schemas.microsoft.com/office/2007/relationships/hdphoto" Target="../media/hdphoto38.wdp"/><Relationship Id="rId47" Type="http://schemas.microsoft.com/office/2007/relationships/hdphoto" Target="../media/hdphoto41.wdp"/><Relationship Id="rId63" Type="http://schemas.openxmlformats.org/officeDocument/2006/relationships/image" Target="../media/image104.png"/><Relationship Id="rId68" Type="http://schemas.microsoft.com/office/2007/relationships/hdphoto" Target="../media/hdphoto54.wdp"/><Relationship Id="rId84" Type="http://schemas.microsoft.com/office/2007/relationships/hdphoto" Target="../media/hdphoto63.wdp"/><Relationship Id="rId89" Type="http://schemas.microsoft.com/office/2007/relationships/hdphoto" Target="../media/hdphoto66.wdp"/><Relationship Id="rId112" Type="http://schemas.microsoft.com/office/2007/relationships/hdphoto" Target="../media/hdphoto81.wdp"/><Relationship Id="rId16" Type="http://schemas.microsoft.com/office/2007/relationships/hdphoto" Target="../media/hdphoto23.wdp"/><Relationship Id="rId107" Type="http://schemas.openxmlformats.org/officeDocument/2006/relationships/image" Target="../media/image120.png"/><Relationship Id="rId11" Type="http://schemas.openxmlformats.org/officeDocument/2006/relationships/image" Target="../media/image82.png"/><Relationship Id="rId32" Type="http://schemas.microsoft.com/office/2007/relationships/hdphoto" Target="../media/hdphoto32.wdp"/><Relationship Id="rId37" Type="http://schemas.microsoft.com/office/2007/relationships/hdphoto" Target="../media/hdphoto35.wdp"/><Relationship Id="rId53" Type="http://schemas.microsoft.com/office/2007/relationships/hdphoto" Target="../media/hdphoto45.wdp"/><Relationship Id="rId58" Type="http://schemas.microsoft.com/office/2007/relationships/hdphoto" Target="../media/hdphoto48.wdp"/><Relationship Id="rId74" Type="http://schemas.microsoft.com/office/2007/relationships/hdphoto" Target="../media/hdphoto58.wdp"/><Relationship Id="rId79" Type="http://schemas.openxmlformats.org/officeDocument/2006/relationships/image" Target="../media/image110.png"/><Relationship Id="rId102" Type="http://schemas.microsoft.com/office/2007/relationships/hdphoto" Target="../media/hdphoto76.wdp"/><Relationship Id="rId123" Type="http://schemas.openxmlformats.org/officeDocument/2006/relationships/image" Target="../media/image2.emf"/><Relationship Id="rId5" Type="http://schemas.openxmlformats.org/officeDocument/2006/relationships/image" Target="../media/image79.png"/><Relationship Id="rId90" Type="http://schemas.microsoft.com/office/2007/relationships/hdphoto" Target="../media/hdphoto67.wdp"/><Relationship Id="rId95" Type="http://schemas.microsoft.com/office/2007/relationships/hdphoto" Target="../media/hdphoto70.wdp"/><Relationship Id="rId22" Type="http://schemas.openxmlformats.org/officeDocument/2006/relationships/image" Target="../media/image87.png"/><Relationship Id="rId27" Type="http://schemas.microsoft.com/office/2007/relationships/hdphoto" Target="../media/hdphoto29.wdp"/><Relationship Id="rId43" Type="http://schemas.openxmlformats.org/officeDocument/2006/relationships/image" Target="../media/image96.png"/><Relationship Id="rId48" Type="http://schemas.microsoft.com/office/2007/relationships/hdphoto" Target="../media/hdphoto42.wdp"/><Relationship Id="rId64" Type="http://schemas.microsoft.com/office/2007/relationships/hdphoto" Target="../media/hdphoto51.wdp"/><Relationship Id="rId69" Type="http://schemas.openxmlformats.org/officeDocument/2006/relationships/image" Target="../media/image106.png"/><Relationship Id="rId113" Type="http://schemas.openxmlformats.org/officeDocument/2006/relationships/image" Target="../media/image123.png"/><Relationship Id="rId118" Type="http://schemas.microsoft.com/office/2007/relationships/hdphoto" Target="../media/hdphoto84.wdp"/><Relationship Id="rId80" Type="http://schemas.microsoft.com/office/2007/relationships/hdphoto" Target="../media/hdphoto61.wdp"/><Relationship Id="rId85" Type="http://schemas.microsoft.com/office/2007/relationships/hdphoto" Target="../media/hdphoto64.wdp"/><Relationship Id="rId12" Type="http://schemas.microsoft.com/office/2007/relationships/hdphoto" Target="../media/hdphoto21.wdp"/><Relationship Id="rId17" Type="http://schemas.microsoft.com/office/2007/relationships/hdphoto" Target="../media/hdphoto24.wdp"/><Relationship Id="rId33" Type="http://schemas.microsoft.com/office/2007/relationships/hdphoto" Target="../media/hdphoto33.wdp"/><Relationship Id="rId38" Type="http://schemas.microsoft.com/office/2007/relationships/hdphoto" Target="../media/hdphoto36.wdp"/><Relationship Id="rId59" Type="http://schemas.openxmlformats.org/officeDocument/2006/relationships/image" Target="../media/image102.png"/><Relationship Id="rId103" Type="http://schemas.openxmlformats.org/officeDocument/2006/relationships/image" Target="../media/image118.png"/><Relationship Id="rId108" Type="http://schemas.microsoft.com/office/2007/relationships/hdphoto" Target="../media/hdphoto79.wdp"/><Relationship Id="rId54" Type="http://schemas.microsoft.com/office/2007/relationships/hdphoto" Target="../media/hdphoto46.wdp"/><Relationship Id="rId70" Type="http://schemas.microsoft.com/office/2007/relationships/hdphoto" Target="../media/hdphoto55.wdp"/><Relationship Id="rId75" Type="http://schemas.openxmlformats.org/officeDocument/2006/relationships/image" Target="../media/image108.png"/><Relationship Id="rId91" Type="http://schemas.microsoft.com/office/2007/relationships/hdphoto" Target="../media/hdphoto68.wdp"/><Relationship Id="rId96" Type="http://schemas.openxmlformats.org/officeDocument/2006/relationships/image" Target="../media/image117.png"/><Relationship Id="rId1" Type="http://schemas.openxmlformats.org/officeDocument/2006/relationships/slideLayout" Target="../slideLayouts/slideLayout16.xml"/><Relationship Id="rId6" Type="http://schemas.microsoft.com/office/2007/relationships/hdphoto" Target="../media/hdphoto18.wdp"/><Relationship Id="rId23" Type="http://schemas.microsoft.com/office/2007/relationships/hdphoto" Target="../media/hdphoto27.wdp"/><Relationship Id="rId28" Type="http://schemas.openxmlformats.org/officeDocument/2006/relationships/image" Target="../media/image90.png"/><Relationship Id="rId49" Type="http://schemas.microsoft.com/office/2007/relationships/hdphoto" Target="../media/hdphoto43.wdp"/><Relationship Id="rId114" Type="http://schemas.microsoft.com/office/2007/relationships/hdphoto" Target="../media/hdphoto82.wdp"/><Relationship Id="rId119" Type="http://schemas.openxmlformats.org/officeDocument/2006/relationships/image" Target="../media/image126.png"/><Relationship Id="rId44" Type="http://schemas.microsoft.com/office/2007/relationships/hdphoto" Target="../media/hdphoto39.wdp"/><Relationship Id="rId60" Type="http://schemas.microsoft.com/office/2007/relationships/hdphoto" Target="../media/hdphoto49.wdp"/><Relationship Id="rId65" Type="http://schemas.openxmlformats.org/officeDocument/2006/relationships/image" Target="../media/image105.png"/><Relationship Id="rId81" Type="http://schemas.openxmlformats.org/officeDocument/2006/relationships/image" Target="../media/image111.png"/><Relationship Id="rId86" Type="http://schemas.openxmlformats.org/officeDocument/2006/relationships/image" Target="../media/image113.png"/><Relationship Id="rId4" Type="http://schemas.microsoft.com/office/2007/relationships/hdphoto" Target="../media/hdphoto17.wdp"/><Relationship Id="rId9" Type="http://schemas.openxmlformats.org/officeDocument/2006/relationships/image" Target="../media/image81.png"/><Relationship Id="rId13" Type="http://schemas.openxmlformats.org/officeDocument/2006/relationships/image" Target="../media/image83.png"/><Relationship Id="rId18" Type="http://schemas.openxmlformats.org/officeDocument/2006/relationships/image" Target="../media/image85.png"/><Relationship Id="rId39" Type="http://schemas.openxmlformats.org/officeDocument/2006/relationships/image" Target="../media/image94.png"/><Relationship Id="rId109" Type="http://schemas.openxmlformats.org/officeDocument/2006/relationships/image" Target="../media/image121.png"/><Relationship Id="rId34" Type="http://schemas.openxmlformats.org/officeDocument/2006/relationships/image" Target="../media/image92.png"/><Relationship Id="rId50" Type="http://schemas.openxmlformats.org/officeDocument/2006/relationships/image" Target="../media/image98.png"/><Relationship Id="rId55" Type="http://schemas.openxmlformats.org/officeDocument/2006/relationships/image" Target="../media/image100.png"/><Relationship Id="rId76" Type="http://schemas.microsoft.com/office/2007/relationships/hdphoto" Target="../media/hdphoto59.wdp"/><Relationship Id="rId97" Type="http://schemas.microsoft.com/office/2007/relationships/hdphoto" Target="../media/hdphoto71.wdp"/><Relationship Id="rId104" Type="http://schemas.microsoft.com/office/2007/relationships/hdphoto" Target="../media/hdphoto77.wdp"/><Relationship Id="rId120" Type="http://schemas.microsoft.com/office/2007/relationships/hdphoto" Target="../media/hdphoto85.wdp"/><Relationship Id="rId7" Type="http://schemas.openxmlformats.org/officeDocument/2006/relationships/image" Target="../media/image80.png"/><Relationship Id="rId71" Type="http://schemas.microsoft.com/office/2007/relationships/hdphoto" Target="../media/hdphoto56.wdp"/><Relationship Id="rId92" Type="http://schemas.openxmlformats.org/officeDocument/2006/relationships/image" Target="../media/image115.png"/><Relationship Id="rId2" Type="http://schemas.openxmlformats.org/officeDocument/2006/relationships/notesSlide" Target="../notesSlides/notesSlide10.xml"/><Relationship Id="rId29" Type="http://schemas.microsoft.com/office/2007/relationships/hdphoto" Target="../media/hdphoto30.wdp"/><Relationship Id="rId24" Type="http://schemas.openxmlformats.org/officeDocument/2006/relationships/image" Target="../media/image88.png"/><Relationship Id="rId40" Type="http://schemas.microsoft.com/office/2007/relationships/hdphoto" Target="../media/hdphoto37.wdp"/><Relationship Id="rId45" Type="http://schemas.microsoft.com/office/2007/relationships/hdphoto" Target="../media/hdphoto40.wdp"/><Relationship Id="rId66" Type="http://schemas.microsoft.com/office/2007/relationships/hdphoto" Target="../media/hdphoto52.wdp"/><Relationship Id="rId87" Type="http://schemas.microsoft.com/office/2007/relationships/hdphoto" Target="../media/hdphoto65.wdp"/><Relationship Id="rId110" Type="http://schemas.microsoft.com/office/2007/relationships/hdphoto" Target="../media/hdphoto80.wdp"/><Relationship Id="rId115" Type="http://schemas.openxmlformats.org/officeDocument/2006/relationships/image" Target="../media/image124.png"/><Relationship Id="rId61" Type="http://schemas.openxmlformats.org/officeDocument/2006/relationships/image" Target="../media/image103.png"/><Relationship Id="rId82" Type="http://schemas.microsoft.com/office/2007/relationships/hdphoto" Target="../media/hdphoto62.wdp"/><Relationship Id="rId19" Type="http://schemas.microsoft.com/office/2007/relationships/hdphoto" Target="../media/hdphoto25.wdp"/><Relationship Id="rId14" Type="http://schemas.microsoft.com/office/2007/relationships/hdphoto" Target="../media/hdphoto22.wdp"/><Relationship Id="rId30" Type="http://schemas.openxmlformats.org/officeDocument/2006/relationships/image" Target="../media/image91.png"/><Relationship Id="rId35" Type="http://schemas.microsoft.com/office/2007/relationships/hdphoto" Target="../media/hdphoto34.wdp"/><Relationship Id="rId56" Type="http://schemas.microsoft.com/office/2007/relationships/hdphoto" Target="../media/hdphoto47.wdp"/><Relationship Id="rId77" Type="http://schemas.openxmlformats.org/officeDocument/2006/relationships/image" Target="../media/image109.png"/><Relationship Id="rId100" Type="http://schemas.microsoft.com/office/2007/relationships/hdphoto" Target="../media/hdphoto74.wdp"/><Relationship Id="rId105" Type="http://schemas.openxmlformats.org/officeDocument/2006/relationships/image" Target="../media/image119.png"/><Relationship Id="rId8" Type="http://schemas.microsoft.com/office/2007/relationships/hdphoto" Target="../media/hdphoto19.wdp"/><Relationship Id="rId51" Type="http://schemas.microsoft.com/office/2007/relationships/hdphoto" Target="../media/hdphoto44.wdp"/><Relationship Id="rId72" Type="http://schemas.microsoft.com/office/2007/relationships/hdphoto" Target="../media/hdphoto57.wdp"/><Relationship Id="rId93" Type="http://schemas.microsoft.com/office/2007/relationships/hdphoto" Target="../media/hdphoto69.wdp"/><Relationship Id="rId98" Type="http://schemas.microsoft.com/office/2007/relationships/hdphoto" Target="../media/hdphoto72.wdp"/><Relationship Id="rId121" Type="http://schemas.microsoft.com/office/2007/relationships/hdphoto" Target="../media/hdphoto86.wdp"/><Relationship Id="rId3" Type="http://schemas.openxmlformats.org/officeDocument/2006/relationships/image" Target="../media/image78.png"/><Relationship Id="rId25" Type="http://schemas.microsoft.com/office/2007/relationships/hdphoto" Target="../media/hdphoto28.wdp"/><Relationship Id="rId46" Type="http://schemas.openxmlformats.org/officeDocument/2006/relationships/image" Target="../media/image97.png"/><Relationship Id="rId67" Type="http://schemas.microsoft.com/office/2007/relationships/hdphoto" Target="../media/hdphoto53.wdp"/><Relationship Id="rId116" Type="http://schemas.microsoft.com/office/2007/relationships/hdphoto" Target="../media/hdphoto83.wdp"/><Relationship Id="rId20" Type="http://schemas.openxmlformats.org/officeDocument/2006/relationships/image" Target="../media/image86.png"/><Relationship Id="rId41" Type="http://schemas.openxmlformats.org/officeDocument/2006/relationships/image" Target="../media/image95.png"/><Relationship Id="rId62" Type="http://schemas.microsoft.com/office/2007/relationships/hdphoto" Target="../media/hdphoto50.wdp"/><Relationship Id="rId83" Type="http://schemas.openxmlformats.org/officeDocument/2006/relationships/image" Target="../media/image112.png"/><Relationship Id="rId88" Type="http://schemas.openxmlformats.org/officeDocument/2006/relationships/image" Target="../media/image114.png"/><Relationship Id="rId111" Type="http://schemas.openxmlformats.org/officeDocument/2006/relationships/image" Target="../media/image122.png"/><Relationship Id="rId15" Type="http://schemas.openxmlformats.org/officeDocument/2006/relationships/image" Target="../media/image84.png"/><Relationship Id="rId36" Type="http://schemas.openxmlformats.org/officeDocument/2006/relationships/image" Target="../media/image93.png"/><Relationship Id="rId57" Type="http://schemas.openxmlformats.org/officeDocument/2006/relationships/image" Target="../media/image101.png"/><Relationship Id="rId106" Type="http://schemas.microsoft.com/office/2007/relationships/hdphoto" Target="../media/hdphoto78.wdp"/><Relationship Id="rId10" Type="http://schemas.microsoft.com/office/2007/relationships/hdphoto" Target="../media/hdphoto20.wdp"/><Relationship Id="rId31" Type="http://schemas.microsoft.com/office/2007/relationships/hdphoto" Target="../media/hdphoto31.wdp"/><Relationship Id="rId52" Type="http://schemas.openxmlformats.org/officeDocument/2006/relationships/image" Target="../media/image99.png"/><Relationship Id="rId73" Type="http://schemas.openxmlformats.org/officeDocument/2006/relationships/image" Target="../media/image107.png"/><Relationship Id="rId78" Type="http://schemas.microsoft.com/office/2007/relationships/hdphoto" Target="../media/hdphoto60.wdp"/><Relationship Id="rId94" Type="http://schemas.openxmlformats.org/officeDocument/2006/relationships/image" Target="../media/image116.png"/><Relationship Id="rId99" Type="http://schemas.microsoft.com/office/2007/relationships/hdphoto" Target="../media/hdphoto73.wdp"/><Relationship Id="rId101" Type="http://schemas.microsoft.com/office/2007/relationships/hdphoto" Target="../media/hdphoto75.wdp"/><Relationship Id="rId122" Type="http://schemas.microsoft.com/office/2007/relationships/hdphoto" Target="../media/hdphoto87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4.xml"/><Relationship Id="rId7" Type="http://schemas.openxmlformats.org/officeDocument/2006/relationships/image" Target="../media/image10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png"/><Relationship Id="rId18" Type="http://schemas.openxmlformats.org/officeDocument/2006/relationships/image" Target="../media/image25.jpeg"/><Relationship Id="rId26" Type="http://schemas.openxmlformats.org/officeDocument/2006/relationships/image" Target="../media/image33.jpeg"/><Relationship Id="rId3" Type="http://schemas.openxmlformats.org/officeDocument/2006/relationships/image" Target="../media/image12.jpeg"/><Relationship Id="rId21" Type="http://schemas.openxmlformats.org/officeDocument/2006/relationships/image" Target="../media/image28.jpe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microsoft.com/office/2007/relationships/hdphoto" Target="../media/hdphoto2.wdp"/><Relationship Id="rId25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4.pn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24" Type="http://schemas.openxmlformats.org/officeDocument/2006/relationships/image" Target="../media/image31.jpeg"/><Relationship Id="rId5" Type="http://schemas.openxmlformats.org/officeDocument/2006/relationships/image" Target="../media/image14.png"/><Relationship Id="rId15" Type="http://schemas.openxmlformats.org/officeDocument/2006/relationships/image" Target="../media/image23.png"/><Relationship Id="rId23" Type="http://schemas.openxmlformats.org/officeDocument/2006/relationships/image" Target="../media/image30.jpeg"/><Relationship Id="rId10" Type="http://schemas.openxmlformats.org/officeDocument/2006/relationships/image" Target="../media/image19.jpeg"/><Relationship Id="rId19" Type="http://schemas.openxmlformats.org/officeDocument/2006/relationships/image" Target="../media/image26.emf"/><Relationship Id="rId4" Type="http://schemas.openxmlformats.org/officeDocument/2006/relationships/image" Target="../media/image13.jpeg"/><Relationship Id="rId9" Type="http://schemas.openxmlformats.org/officeDocument/2006/relationships/image" Target="../media/image18.jpeg"/><Relationship Id="rId14" Type="http://schemas.microsoft.com/office/2007/relationships/hdphoto" Target="../media/hdphoto1.wdp"/><Relationship Id="rId22" Type="http://schemas.openxmlformats.org/officeDocument/2006/relationships/image" Target="../media/image29.jpeg"/><Relationship Id="rId27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40.png"/><Relationship Id="rId3" Type="http://schemas.openxmlformats.org/officeDocument/2006/relationships/tags" Target="../tags/tag6.xml"/><Relationship Id="rId7" Type="http://schemas.microsoft.com/office/2007/relationships/hdphoto" Target="../media/hdphoto3.wdp"/><Relationship Id="rId12" Type="http://schemas.openxmlformats.org/officeDocument/2006/relationships/image" Target="../media/image39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png"/><Relationship Id="rId11" Type="http://schemas.openxmlformats.org/officeDocument/2006/relationships/image" Target="../media/image38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6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2.bin"/><Relationship Id="rId14" Type="http://schemas.microsoft.com/office/2007/relationships/hdphoto" Target="../media/hdphoto5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6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48.png"/><Relationship Id="rId3" Type="http://schemas.openxmlformats.org/officeDocument/2006/relationships/image" Target="../media/image41.png"/><Relationship Id="rId7" Type="http://schemas.openxmlformats.org/officeDocument/2006/relationships/image" Target="../media/image45.svg"/><Relationship Id="rId12" Type="http://schemas.microsoft.com/office/2007/relationships/hdphoto" Target="../media/hdphoto8.wdp"/><Relationship Id="rId2" Type="http://schemas.openxmlformats.org/officeDocument/2006/relationships/notesSlide" Target="../notesSlides/notesSlide6.xml"/><Relationship Id="rId16" Type="http://schemas.microsoft.com/office/2007/relationships/hdphoto" Target="../media/hdphoto11.wdp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4.png"/><Relationship Id="rId11" Type="http://schemas.microsoft.com/office/2007/relationships/hdphoto" Target="../media/hdphoto7.wdp"/><Relationship Id="rId5" Type="http://schemas.openxmlformats.org/officeDocument/2006/relationships/image" Target="../media/image43.svg"/><Relationship Id="rId15" Type="http://schemas.microsoft.com/office/2007/relationships/hdphoto" Target="../media/hdphoto10.wdp"/><Relationship Id="rId10" Type="http://schemas.openxmlformats.org/officeDocument/2006/relationships/image" Target="../media/image47.png"/><Relationship Id="rId4" Type="http://schemas.openxmlformats.org/officeDocument/2006/relationships/image" Target="../media/image42.png"/><Relationship Id="rId9" Type="http://schemas.microsoft.com/office/2007/relationships/hdphoto" Target="../media/hdphoto6.wdp"/><Relationship Id="rId14" Type="http://schemas.microsoft.com/office/2007/relationships/hdphoto" Target="../media/hdphoto9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7" Type="http://schemas.openxmlformats.org/officeDocument/2006/relationships/image" Target="../media/image43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2.png"/><Relationship Id="rId5" Type="http://schemas.openxmlformats.org/officeDocument/2006/relationships/image" Target="../media/image45.svg"/><Relationship Id="rId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52.svg"/><Relationship Id="rId9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9B0D6D-AB5F-4ABB-B424-E00B3D07AB63}"/>
              </a:ext>
            </a:extLst>
          </p:cNvPr>
          <p:cNvSpPr/>
          <p:nvPr/>
        </p:nvSpPr>
        <p:spPr>
          <a:xfrm>
            <a:off x="8295588" y="6435382"/>
            <a:ext cx="3723587" cy="447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2" name="Picture 3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B5056BC8-9C0B-C744-8D8C-179EF559573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827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6BAABEF6-F047-DB4A-A79A-CFBD2631FB7A}"/>
              </a:ext>
            </a:extLst>
          </p:cNvPr>
          <p:cNvSpPr/>
          <p:nvPr/>
        </p:nvSpPr>
        <p:spPr>
          <a:xfrm>
            <a:off x="542335" y="552414"/>
            <a:ext cx="11269697" cy="9851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801" spc="-120" dirty="0">
                <a:solidFill>
                  <a:schemeClr val="bg1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DevOps to the Metal</a:t>
            </a:r>
            <a:endParaRPr lang="en-US" sz="5801" spc="-200" dirty="0">
              <a:solidFill>
                <a:schemeClr val="bg1"/>
              </a:solidFill>
              <a:latin typeface="Brandon Grotesque Medium" panose="020B0503020203060202" pitchFamily="34" charset="77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1EFA03-5B34-684A-828E-9B3A3A45BD14}"/>
              </a:ext>
            </a:extLst>
          </p:cNvPr>
          <p:cNvSpPr txBox="1"/>
          <p:nvPr/>
        </p:nvSpPr>
        <p:spPr>
          <a:xfrm>
            <a:off x="542334" y="1690454"/>
            <a:ext cx="10592461" cy="1077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3601" dirty="0">
                <a:solidFill>
                  <a:schemeClr val="bg1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Tom Jachmann</a:t>
            </a:r>
            <a:br>
              <a:rPr lang="en-US" sz="320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1" i="1" dirty="0">
                <a:solidFill>
                  <a:schemeClr val="bg1"/>
                </a:solidFill>
                <a:latin typeface="Brandon Grotesque Regular" panose="020B0503020203060202" pitchFamily="34" charset="77"/>
                <a:cs typeface="Calibri" panose="020F0502020204030204" pitchFamily="34" charset="0"/>
              </a:rPr>
              <a:t>Head of Software, Computed Tomography, Siemens Healthine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BFDAE5-AAEE-45F5-AEF7-B8684AACD17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08" y="2767928"/>
            <a:ext cx="12198350" cy="303738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7884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D62A7-C724-4212-B170-D37BB626B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br>
              <a:rPr lang="de-DE" dirty="0"/>
            </a:br>
            <a:r>
              <a:rPr lang="de-DE" sz="2800" dirty="0"/>
              <a:t>Plateaus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>
                <a:cs typeface="Calibri"/>
              </a:rPr>
              <a:t>Continuous</a:t>
            </a:r>
            <a:r>
              <a:rPr lang="de-DE" sz="2800" dirty="0">
                <a:cs typeface="Calibri"/>
              </a:rPr>
              <a:t> Integration </a:t>
            </a:r>
            <a:endParaRPr lang="de-DE" dirty="0"/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B854116-0162-4481-BFC2-1F9FD42514D0}"/>
              </a:ext>
            </a:extLst>
          </p:cNvPr>
          <p:cNvGrpSpPr/>
          <p:nvPr/>
        </p:nvGrpSpPr>
        <p:grpSpPr>
          <a:xfrm>
            <a:off x="2910150" y="3847007"/>
            <a:ext cx="6151703" cy="2598210"/>
            <a:chOff x="5295015" y="3773521"/>
            <a:chExt cx="6764520" cy="285703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05F1504-7800-4128-BC35-46B8C6EEEE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95015" y="4024555"/>
              <a:ext cx="6412011" cy="2457165"/>
            </a:xfrm>
            <a:prstGeom prst="rect">
              <a:avLst/>
            </a:prstGeom>
          </p:spPr>
        </p:pic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AC0F97D9-8392-455D-8100-D98518158203}"/>
                </a:ext>
              </a:extLst>
            </p:cNvPr>
            <p:cNvCxnSpPr/>
            <p:nvPr/>
          </p:nvCxnSpPr>
          <p:spPr>
            <a:xfrm>
              <a:off x="5553075" y="6438900"/>
              <a:ext cx="6248400" cy="0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D31AF95-9A0B-4B2D-B029-F52F5C3F477D}"/>
                </a:ext>
              </a:extLst>
            </p:cNvPr>
            <p:cNvSpPr txBox="1"/>
            <p:nvPr/>
          </p:nvSpPr>
          <p:spPr>
            <a:xfrm>
              <a:off x="11811885" y="6412036"/>
              <a:ext cx="247650" cy="218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e-DE" sz="1400" dirty="0">
                  <a:solidFill>
                    <a:schemeClr val="tx1"/>
                  </a:solidFill>
                </a:rPr>
                <a:t>t</a:t>
              </a: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11AA1D0-AE9B-4040-89B5-F852C94677E6}"/>
                </a:ext>
              </a:extLst>
            </p:cNvPr>
            <p:cNvCxnSpPr>
              <a:cxnSpLocks/>
              <a:endCxn id="12" idx="3"/>
            </p:cNvCxnSpPr>
            <p:nvPr/>
          </p:nvCxnSpPr>
          <p:spPr>
            <a:xfrm flipV="1">
              <a:off x="5553075" y="3882782"/>
              <a:ext cx="15875" cy="2556118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ABAAFBE-AFCA-4E6E-A48C-481F2234ECF3}"/>
                </a:ext>
              </a:extLst>
            </p:cNvPr>
            <p:cNvSpPr txBox="1"/>
            <p:nvPr/>
          </p:nvSpPr>
          <p:spPr>
            <a:xfrm>
              <a:off x="5321300" y="3773521"/>
              <a:ext cx="247650" cy="218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e-DE" sz="1400" dirty="0">
                  <a:solidFill>
                    <a:schemeClr val="tx1"/>
                  </a:solidFill>
                </a:rPr>
                <a:t>h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50DD07D-5027-4F6D-A904-48390C6DB579}"/>
                </a:ext>
              </a:extLst>
            </p:cNvPr>
            <p:cNvSpPr txBox="1"/>
            <p:nvPr/>
          </p:nvSpPr>
          <p:spPr>
            <a:xfrm>
              <a:off x="9694854" y="5878845"/>
              <a:ext cx="1943100" cy="39327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r"/>
              <a:r>
                <a:rPr lang="de-DE" sz="1400" dirty="0">
                  <a:solidFill>
                    <a:schemeClr val="tx1"/>
                  </a:solidFill>
                  <a:latin typeface="Arial"/>
                  <a:ea typeface="ＭＳ Ｐゴシック"/>
                  <a:cs typeface="Arial"/>
                </a:rPr>
                <a:t>Integratio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CC7805C-5BC1-44F8-80BF-3C30F6B7BD05}"/>
                </a:ext>
              </a:extLst>
            </p:cNvPr>
            <p:cNvSpPr txBox="1"/>
            <p:nvPr/>
          </p:nvSpPr>
          <p:spPr>
            <a:xfrm>
              <a:off x="9694854" y="6216204"/>
              <a:ext cx="1943100" cy="393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de-DE" sz="1400" dirty="0">
                  <a:solidFill>
                    <a:schemeClr val="tx1"/>
                  </a:solidFill>
                </a:rPr>
                <a:t>Uni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7BEBF04-1034-47AC-9F3C-5BBBEE66CD9A}"/>
                </a:ext>
              </a:extLst>
            </p:cNvPr>
            <p:cNvSpPr txBox="1"/>
            <p:nvPr/>
          </p:nvSpPr>
          <p:spPr>
            <a:xfrm>
              <a:off x="9770576" y="4799360"/>
              <a:ext cx="1943100" cy="393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de-DE" sz="1400" dirty="0">
                  <a:solidFill>
                    <a:schemeClr val="tx1"/>
                  </a:solidFill>
                </a:rPr>
                <a:t>Subsystem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6DEBF50-8ACB-41DE-A904-33C2C2E23F2B}"/>
                </a:ext>
              </a:extLst>
            </p:cNvPr>
            <p:cNvSpPr txBox="1"/>
            <p:nvPr/>
          </p:nvSpPr>
          <p:spPr>
            <a:xfrm>
              <a:off x="9760644" y="3922350"/>
              <a:ext cx="1943100" cy="393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de-DE" sz="1400" dirty="0">
                  <a:solidFill>
                    <a:schemeClr val="tx1"/>
                  </a:solidFill>
                </a:rPr>
                <a:t>All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B10B967-B0A5-4F3A-AEEC-C1D85241C713}"/>
              </a:ext>
            </a:extLst>
          </p:cNvPr>
          <p:cNvGrpSpPr/>
          <p:nvPr/>
        </p:nvGrpSpPr>
        <p:grpSpPr>
          <a:xfrm>
            <a:off x="2650316" y="1146517"/>
            <a:ext cx="6326405" cy="2556118"/>
            <a:chOff x="294389" y="1104204"/>
            <a:chExt cx="7116946" cy="2828462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A166127-6AA3-4F2C-BB5E-F89DDB7A8E8B}"/>
                </a:ext>
              </a:extLst>
            </p:cNvPr>
            <p:cNvSpPr txBox="1"/>
            <p:nvPr/>
          </p:nvSpPr>
          <p:spPr>
            <a:xfrm>
              <a:off x="7163685" y="3714144"/>
              <a:ext cx="247650" cy="218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de-DE" sz="1400" dirty="0">
                  <a:solidFill>
                    <a:schemeClr val="tx1"/>
                  </a:solidFill>
                </a:rPr>
                <a:t>t</a:t>
              </a: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ACC055E-FB13-4DEA-8397-91F2709E8B4B}"/>
                </a:ext>
              </a:extLst>
            </p:cNvPr>
            <p:cNvGrpSpPr/>
            <p:nvPr/>
          </p:nvGrpSpPr>
          <p:grpSpPr>
            <a:xfrm>
              <a:off x="294389" y="1104204"/>
              <a:ext cx="6858886" cy="2701605"/>
              <a:chOff x="294389" y="1104204"/>
              <a:chExt cx="6858886" cy="2701605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9E8800AE-F4FD-4284-9C7B-FA19ED100D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94389" y="1132166"/>
                <a:ext cx="6412012" cy="2673643"/>
              </a:xfrm>
              <a:prstGeom prst="rect">
                <a:avLst/>
              </a:prstGeom>
            </p:spPr>
          </p:pic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5ED2BFD8-498C-4B29-BE7B-032056250AD4}"/>
                  </a:ext>
                </a:extLst>
              </p:cNvPr>
              <p:cNvCxnSpPr/>
              <p:nvPr/>
            </p:nvCxnSpPr>
            <p:spPr>
              <a:xfrm>
                <a:off x="904875" y="3741008"/>
                <a:ext cx="6248400" cy="0"/>
              </a:xfrm>
              <a:prstGeom prst="straightConnector1">
                <a:avLst/>
              </a:prstGeom>
              <a:ln w="12700" cap="rnd">
                <a:solidFill>
                  <a:schemeClr val="tx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Arrow Connector 16">
                <a:extLst>
                  <a:ext uri="{FF2B5EF4-FFF2-40B4-BE49-F238E27FC236}">
                    <a16:creationId xmlns:a16="http://schemas.microsoft.com/office/drawing/2014/main" id="{4B46E5A0-5F53-449D-9B0A-9196A7072F6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04875" y="1104204"/>
                <a:ext cx="0" cy="2636804"/>
              </a:xfrm>
              <a:prstGeom prst="straightConnector1">
                <a:avLst/>
              </a:prstGeom>
              <a:ln w="12700" cap="rnd">
                <a:solidFill>
                  <a:schemeClr val="tx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A6FE5C6-5B8D-447A-B1CB-A45DAEA603B4}"/>
                  </a:ext>
                </a:extLst>
              </p:cNvPr>
              <p:cNvSpPr txBox="1"/>
              <p:nvPr/>
            </p:nvSpPr>
            <p:spPr>
              <a:xfrm>
                <a:off x="474652" y="1104204"/>
                <a:ext cx="446098" cy="17916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de-DE" sz="1400" dirty="0">
                    <a:solidFill>
                      <a:schemeClr val="tx1"/>
                    </a:solidFill>
                  </a:rPr>
                  <a:t>Test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C44C9B4-DE2E-471A-89DB-0E4CAE9B4182}"/>
                  </a:ext>
                </a:extLst>
              </p:cNvPr>
              <p:cNvSpPr txBox="1"/>
              <p:nvPr/>
            </p:nvSpPr>
            <p:spPr>
              <a:xfrm>
                <a:off x="4664617" y="2877544"/>
                <a:ext cx="1943100" cy="39327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r"/>
                <a:r>
                  <a:rPr lang="de-DE" sz="1400" dirty="0">
                    <a:solidFill>
                      <a:schemeClr val="tx1"/>
                    </a:solidFill>
                    <a:latin typeface="Arial"/>
                    <a:ea typeface="ＭＳ Ｐゴシック"/>
                    <a:cs typeface="Arial"/>
                  </a:rPr>
                  <a:t>Integration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C5CB918-C319-4507-8774-DDE8D522AF4B}"/>
                  </a:ext>
                </a:extLst>
              </p:cNvPr>
              <p:cNvSpPr txBox="1"/>
              <p:nvPr/>
            </p:nvSpPr>
            <p:spPr>
              <a:xfrm>
                <a:off x="4664617" y="1946438"/>
                <a:ext cx="1943100" cy="39327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/>
                <a:r>
                  <a:rPr lang="de-DE" sz="1400" dirty="0">
                    <a:solidFill>
                      <a:schemeClr val="tx1"/>
                    </a:solidFill>
                  </a:rPr>
                  <a:t>Unit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528F7006-C417-4944-BFB0-0C1E5815B755}"/>
                  </a:ext>
                </a:extLst>
              </p:cNvPr>
              <p:cNvSpPr txBox="1"/>
              <p:nvPr/>
            </p:nvSpPr>
            <p:spPr>
              <a:xfrm>
                <a:off x="4730407" y="3406668"/>
                <a:ext cx="1943100" cy="39327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/>
                <a:r>
                  <a:rPr lang="de-DE" sz="1400" dirty="0">
                    <a:solidFill>
                      <a:schemeClr val="tx1"/>
                    </a:solidFill>
                  </a:rPr>
                  <a:t>Subsystem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87B3DBC0-DEFF-4CEF-B74B-9F5947280A5F}"/>
                  </a:ext>
                </a:extLst>
              </p:cNvPr>
              <p:cNvSpPr txBox="1"/>
              <p:nvPr/>
            </p:nvSpPr>
            <p:spPr>
              <a:xfrm>
                <a:off x="4730407" y="1283397"/>
                <a:ext cx="1943100" cy="39327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/>
                <a:r>
                  <a:rPr lang="de-DE" sz="1400" dirty="0">
                    <a:solidFill>
                      <a:schemeClr val="tx1"/>
                    </a:solidFill>
                  </a:rPr>
                  <a:t>All</a:t>
                </a: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B40EFDE-740E-445E-96AF-668D06FB4BEB}"/>
              </a:ext>
            </a:extLst>
          </p:cNvPr>
          <p:cNvGrpSpPr/>
          <p:nvPr/>
        </p:nvGrpSpPr>
        <p:grpSpPr>
          <a:xfrm>
            <a:off x="8882054" y="1262084"/>
            <a:ext cx="2755900" cy="2321907"/>
            <a:chOff x="8121650" y="1256193"/>
            <a:chExt cx="2755900" cy="2321907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246A1DD-66AC-4A0D-A8FD-FB996333A387}"/>
                </a:ext>
              </a:extLst>
            </p:cNvPr>
            <p:cNvSpPr/>
            <p:nvPr/>
          </p:nvSpPr>
          <p:spPr>
            <a:xfrm>
              <a:off x="8737600" y="2069928"/>
              <a:ext cx="1536700" cy="450850"/>
            </a:xfrm>
            <a:custGeom>
              <a:avLst/>
              <a:gdLst>
                <a:gd name="connsiteX0" fmla="*/ 0 w 2755900"/>
                <a:gd name="connsiteY0" fmla="*/ 450850 h 450850"/>
                <a:gd name="connsiteX1" fmla="*/ 279400 w 2755900"/>
                <a:gd name="connsiteY1" fmla="*/ 0 h 450850"/>
                <a:gd name="connsiteX2" fmla="*/ 2476500 w 2755900"/>
                <a:gd name="connsiteY2" fmla="*/ 0 h 450850"/>
                <a:gd name="connsiteX3" fmla="*/ 2755900 w 2755900"/>
                <a:gd name="connsiteY3" fmla="*/ 444500 h 450850"/>
                <a:gd name="connsiteX4" fmla="*/ 0 w 2755900"/>
                <a:gd name="connsiteY4" fmla="*/ 450850 h 450850"/>
                <a:gd name="connsiteX0" fmla="*/ 0 w 2476500"/>
                <a:gd name="connsiteY0" fmla="*/ 450850 h 450850"/>
                <a:gd name="connsiteX1" fmla="*/ 279400 w 2476500"/>
                <a:gd name="connsiteY1" fmla="*/ 0 h 450850"/>
                <a:gd name="connsiteX2" fmla="*/ 2476500 w 2476500"/>
                <a:gd name="connsiteY2" fmla="*/ 0 h 450850"/>
                <a:gd name="connsiteX3" fmla="*/ 1536700 w 2476500"/>
                <a:gd name="connsiteY3" fmla="*/ 450850 h 450850"/>
                <a:gd name="connsiteX4" fmla="*/ 0 w 2476500"/>
                <a:gd name="connsiteY4" fmla="*/ 450850 h 450850"/>
                <a:gd name="connsiteX0" fmla="*/ 0 w 1536700"/>
                <a:gd name="connsiteY0" fmla="*/ 450850 h 450850"/>
                <a:gd name="connsiteX1" fmla="*/ 279400 w 1536700"/>
                <a:gd name="connsiteY1" fmla="*/ 0 h 450850"/>
                <a:gd name="connsiteX2" fmla="*/ 1250950 w 1536700"/>
                <a:gd name="connsiteY2" fmla="*/ 0 h 450850"/>
                <a:gd name="connsiteX3" fmla="*/ 1536700 w 1536700"/>
                <a:gd name="connsiteY3" fmla="*/ 450850 h 450850"/>
                <a:gd name="connsiteX4" fmla="*/ 0 w 1536700"/>
                <a:gd name="connsiteY4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6700" h="450850">
                  <a:moveTo>
                    <a:pt x="0" y="450850"/>
                  </a:moveTo>
                  <a:lnTo>
                    <a:pt x="279400" y="0"/>
                  </a:lnTo>
                  <a:lnTo>
                    <a:pt x="1250950" y="0"/>
                  </a:lnTo>
                  <a:lnTo>
                    <a:pt x="1536700" y="450850"/>
                  </a:lnTo>
                  <a:lnTo>
                    <a:pt x="0" y="45085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78BED50-42A3-4876-8227-D48999967A03}"/>
                </a:ext>
              </a:extLst>
            </p:cNvPr>
            <p:cNvSpPr/>
            <p:nvPr/>
          </p:nvSpPr>
          <p:spPr>
            <a:xfrm>
              <a:off x="8121650" y="3060700"/>
              <a:ext cx="2755900" cy="450850"/>
            </a:xfrm>
            <a:custGeom>
              <a:avLst/>
              <a:gdLst>
                <a:gd name="connsiteX0" fmla="*/ 0 w 2755900"/>
                <a:gd name="connsiteY0" fmla="*/ 450850 h 450850"/>
                <a:gd name="connsiteX1" fmla="*/ 279400 w 2755900"/>
                <a:gd name="connsiteY1" fmla="*/ 0 h 450850"/>
                <a:gd name="connsiteX2" fmla="*/ 2476500 w 2755900"/>
                <a:gd name="connsiteY2" fmla="*/ 0 h 450850"/>
                <a:gd name="connsiteX3" fmla="*/ 2755900 w 2755900"/>
                <a:gd name="connsiteY3" fmla="*/ 444500 h 450850"/>
                <a:gd name="connsiteX4" fmla="*/ 0 w 2755900"/>
                <a:gd name="connsiteY4" fmla="*/ 450850 h 45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5900" h="450850">
                  <a:moveTo>
                    <a:pt x="0" y="450850"/>
                  </a:moveTo>
                  <a:lnTo>
                    <a:pt x="279400" y="0"/>
                  </a:lnTo>
                  <a:lnTo>
                    <a:pt x="2476500" y="0"/>
                  </a:lnTo>
                  <a:lnTo>
                    <a:pt x="2755900" y="444500"/>
                  </a:lnTo>
                  <a:lnTo>
                    <a:pt x="0" y="450850"/>
                  </a:ln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D4DEF01-379A-4B4B-B909-0595AB49226D}"/>
                </a:ext>
              </a:extLst>
            </p:cNvPr>
            <p:cNvSpPr/>
            <p:nvPr/>
          </p:nvSpPr>
          <p:spPr>
            <a:xfrm>
              <a:off x="8420770" y="2558347"/>
              <a:ext cx="2165350" cy="457200"/>
            </a:xfrm>
            <a:custGeom>
              <a:avLst/>
              <a:gdLst>
                <a:gd name="connsiteX0" fmla="*/ 0 w 2755900"/>
                <a:gd name="connsiteY0" fmla="*/ 450850 h 450850"/>
                <a:gd name="connsiteX1" fmla="*/ 279400 w 2755900"/>
                <a:gd name="connsiteY1" fmla="*/ 0 h 450850"/>
                <a:gd name="connsiteX2" fmla="*/ 2476500 w 2755900"/>
                <a:gd name="connsiteY2" fmla="*/ 0 h 450850"/>
                <a:gd name="connsiteX3" fmla="*/ 2755900 w 2755900"/>
                <a:gd name="connsiteY3" fmla="*/ 444500 h 450850"/>
                <a:gd name="connsiteX4" fmla="*/ 0 w 2755900"/>
                <a:gd name="connsiteY4" fmla="*/ 450850 h 450850"/>
                <a:gd name="connsiteX0" fmla="*/ 0 w 2476500"/>
                <a:gd name="connsiteY0" fmla="*/ 450850 h 450850"/>
                <a:gd name="connsiteX1" fmla="*/ 279400 w 2476500"/>
                <a:gd name="connsiteY1" fmla="*/ 0 h 450850"/>
                <a:gd name="connsiteX2" fmla="*/ 2476500 w 2476500"/>
                <a:gd name="connsiteY2" fmla="*/ 0 h 450850"/>
                <a:gd name="connsiteX3" fmla="*/ 2165350 w 2476500"/>
                <a:gd name="connsiteY3" fmla="*/ 450850 h 450850"/>
                <a:gd name="connsiteX4" fmla="*/ 0 w 2476500"/>
                <a:gd name="connsiteY4" fmla="*/ 450850 h 450850"/>
                <a:gd name="connsiteX0" fmla="*/ 0 w 2165350"/>
                <a:gd name="connsiteY0" fmla="*/ 457200 h 457200"/>
                <a:gd name="connsiteX1" fmla="*/ 279400 w 2165350"/>
                <a:gd name="connsiteY1" fmla="*/ 6350 h 457200"/>
                <a:gd name="connsiteX2" fmla="*/ 1879600 w 2165350"/>
                <a:gd name="connsiteY2" fmla="*/ 0 h 457200"/>
                <a:gd name="connsiteX3" fmla="*/ 2165350 w 2165350"/>
                <a:gd name="connsiteY3" fmla="*/ 457200 h 457200"/>
                <a:gd name="connsiteX4" fmla="*/ 0 w 2165350"/>
                <a:gd name="connsiteY4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5350" h="457200">
                  <a:moveTo>
                    <a:pt x="0" y="457200"/>
                  </a:moveTo>
                  <a:lnTo>
                    <a:pt x="279400" y="6350"/>
                  </a:lnTo>
                  <a:lnTo>
                    <a:pt x="1879600" y="0"/>
                  </a:lnTo>
                  <a:lnTo>
                    <a:pt x="216535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2886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29C951DF-AA95-45DE-9DCE-5794ED22F3EC}"/>
                </a:ext>
              </a:extLst>
            </p:cNvPr>
            <p:cNvSpPr/>
            <p:nvPr/>
          </p:nvSpPr>
          <p:spPr>
            <a:xfrm>
              <a:off x="9032791" y="1256193"/>
              <a:ext cx="933450" cy="755650"/>
            </a:xfrm>
            <a:custGeom>
              <a:avLst/>
              <a:gdLst>
                <a:gd name="connsiteX0" fmla="*/ 0 w 933450"/>
                <a:gd name="connsiteY0" fmla="*/ 755650 h 755650"/>
                <a:gd name="connsiteX1" fmla="*/ 933450 w 933450"/>
                <a:gd name="connsiteY1" fmla="*/ 749300 h 755650"/>
                <a:gd name="connsiteX2" fmla="*/ 482600 w 933450"/>
                <a:gd name="connsiteY2" fmla="*/ 0 h 755650"/>
                <a:gd name="connsiteX3" fmla="*/ 0 w 933450"/>
                <a:gd name="connsiteY3" fmla="*/ 755650 h 75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3450" h="755650">
                  <a:moveTo>
                    <a:pt x="0" y="755650"/>
                  </a:moveTo>
                  <a:lnTo>
                    <a:pt x="933450" y="749300"/>
                  </a:lnTo>
                  <a:lnTo>
                    <a:pt x="482600" y="0"/>
                  </a:lnTo>
                  <a:lnTo>
                    <a:pt x="0" y="755650"/>
                  </a:lnTo>
                  <a:close/>
                </a:path>
              </a:pathLst>
            </a:custGeom>
            <a:solidFill>
              <a:srgbClr val="F9B5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8273F43-2102-4284-ADD0-1CCB4C3F3089}"/>
                </a:ext>
              </a:extLst>
            </p:cNvPr>
            <p:cNvSpPr txBox="1"/>
            <p:nvPr/>
          </p:nvSpPr>
          <p:spPr>
            <a:xfrm>
              <a:off x="8829675" y="2686362"/>
              <a:ext cx="1352550" cy="39327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de-DE" sz="1600" dirty="0">
                  <a:solidFill>
                    <a:schemeClr val="tx1"/>
                  </a:solidFill>
                  <a:latin typeface="Arial"/>
                  <a:ea typeface="ＭＳ Ｐゴシック"/>
                  <a:cs typeface="Arial"/>
                </a:rPr>
                <a:t>Integration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71EBFF4-915D-466A-9A5D-F34ADFCA2AA1}"/>
                </a:ext>
              </a:extLst>
            </p:cNvPr>
            <p:cNvSpPr txBox="1"/>
            <p:nvPr/>
          </p:nvSpPr>
          <p:spPr>
            <a:xfrm>
              <a:off x="8829675" y="3184821"/>
              <a:ext cx="1352550" cy="393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Unit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FFD6465-970B-4860-964F-CCE0131D1205}"/>
                </a:ext>
              </a:extLst>
            </p:cNvPr>
            <p:cNvSpPr txBox="1"/>
            <p:nvPr/>
          </p:nvSpPr>
          <p:spPr>
            <a:xfrm>
              <a:off x="8829675" y="2171369"/>
              <a:ext cx="1352550" cy="393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1600" dirty="0">
                  <a:solidFill>
                    <a:schemeClr val="bg1"/>
                  </a:solidFill>
                </a:rPr>
                <a:t>Subsystem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D4796ED-DB25-4687-BD45-1F6A56327405}"/>
                </a:ext>
              </a:extLst>
            </p:cNvPr>
            <p:cNvSpPr txBox="1"/>
            <p:nvPr/>
          </p:nvSpPr>
          <p:spPr>
            <a:xfrm>
              <a:off x="8829675" y="1765008"/>
              <a:ext cx="1352550" cy="393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1200" dirty="0">
                  <a:solidFill>
                    <a:schemeClr val="bg1">
                      <a:lumMod val="50000"/>
                    </a:schemeClr>
                  </a:solidFill>
                </a:rPr>
                <a:t>System</a:t>
              </a: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671890C-D6D8-4EDF-B671-A836D4D26205}"/>
                </a:ext>
              </a:extLst>
            </p:cNvPr>
            <p:cNvSpPr/>
            <p:nvPr/>
          </p:nvSpPr>
          <p:spPr>
            <a:xfrm>
              <a:off x="9036050" y="1263650"/>
              <a:ext cx="927100" cy="742950"/>
            </a:xfrm>
            <a:custGeom>
              <a:avLst/>
              <a:gdLst>
                <a:gd name="connsiteX0" fmla="*/ 0 w 927100"/>
                <a:gd name="connsiteY0" fmla="*/ 742950 h 742950"/>
                <a:gd name="connsiteX1" fmla="*/ 927100 w 927100"/>
                <a:gd name="connsiteY1" fmla="*/ 742950 h 742950"/>
                <a:gd name="connsiteX2" fmla="*/ 476250 w 927100"/>
                <a:gd name="connsiteY2" fmla="*/ 0 h 742950"/>
                <a:gd name="connsiteX3" fmla="*/ 476250 w 9271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7100" h="742950">
                  <a:moveTo>
                    <a:pt x="0" y="742950"/>
                  </a:moveTo>
                  <a:lnTo>
                    <a:pt x="927100" y="742950"/>
                  </a:lnTo>
                  <a:lnTo>
                    <a:pt x="476250" y="0"/>
                  </a:lnTo>
                  <a:lnTo>
                    <a:pt x="476250" y="0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661A8E9F-FCF7-498A-BAEB-2902AF46E1B9}"/>
              </a:ext>
            </a:extLst>
          </p:cNvPr>
          <p:cNvSpPr txBox="1"/>
          <p:nvPr/>
        </p:nvSpPr>
        <p:spPr>
          <a:xfrm>
            <a:off x="9953812" y="4607942"/>
            <a:ext cx="1972963" cy="8994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3E04734-76F4-42F7-A9D8-ADB79F63BA1C}"/>
              </a:ext>
            </a:extLst>
          </p:cNvPr>
          <p:cNvSpPr txBox="1"/>
          <p:nvPr/>
        </p:nvSpPr>
        <p:spPr>
          <a:xfrm>
            <a:off x="7398736" y="6988834"/>
            <a:ext cx="1581149" cy="8994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998C8AB-BD15-4460-8296-506D7D08245E}"/>
              </a:ext>
            </a:extLst>
          </p:cNvPr>
          <p:cNvGrpSpPr/>
          <p:nvPr/>
        </p:nvGrpSpPr>
        <p:grpSpPr>
          <a:xfrm>
            <a:off x="9335506" y="2007010"/>
            <a:ext cx="2257425" cy="914400"/>
            <a:chOff x="8575102" y="2001119"/>
            <a:chExt cx="2257425" cy="91440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C70B5C33-626F-493E-83F5-BC3E016CECC9}"/>
                </a:ext>
              </a:extLst>
            </p:cNvPr>
            <p:cNvCxnSpPr/>
            <p:nvPr/>
          </p:nvCxnSpPr>
          <p:spPr>
            <a:xfrm flipH="1">
              <a:off x="8575102" y="2520778"/>
              <a:ext cx="2257425" cy="0"/>
            </a:xfrm>
            <a:prstGeom prst="line">
              <a:avLst/>
            </a:prstGeom>
            <a:ln w="155575" cap="rnd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Graphic 18" descr="Lightning bolt with solid fill">
              <a:extLst>
                <a:ext uri="{FF2B5EF4-FFF2-40B4-BE49-F238E27FC236}">
                  <a16:creationId xmlns:a16="http://schemas.microsoft.com/office/drawing/2014/main" id="{8BF050CE-A200-45A8-BE27-35AB205FA9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918127" y="2001119"/>
              <a:ext cx="914400" cy="9144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35BEA08-D313-421F-9925-E7EF675138F2}"/>
              </a:ext>
            </a:extLst>
          </p:cNvPr>
          <p:cNvGrpSpPr/>
          <p:nvPr/>
        </p:nvGrpSpPr>
        <p:grpSpPr>
          <a:xfrm>
            <a:off x="-17907" y="1649412"/>
            <a:ext cx="2535582" cy="1266922"/>
            <a:chOff x="5163995" y="146671"/>
            <a:chExt cx="2535582" cy="1266922"/>
          </a:xfrm>
        </p:grpSpPr>
        <p:pic>
          <p:nvPicPr>
            <p:cNvPr id="4098" name="Picture 2">
              <a:extLst>
                <a:ext uri="{FF2B5EF4-FFF2-40B4-BE49-F238E27FC236}">
                  <a16:creationId xmlns:a16="http://schemas.microsoft.com/office/drawing/2014/main" id="{2D1F6B11-54FF-4523-8E96-FCD1ADB0CA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3995" y="674295"/>
              <a:ext cx="935180" cy="7392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3" name="Double Wave 72">
              <a:extLst>
                <a:ext uri="{FF2B5EF4-FFF2-40B4-BE49-F238E27FC236}">
                  <a16:creationId xmlns:a16="http://schemas.microsoft.com/office/drawing/2014/main" id="{2273A772-A407-47B0-BE2C-167D362E5C93}"/>
                </a:ext>
              </a:extLst>
            </p:cNvPr>
            <p:cNvSpPr/>
            <p:nvPr/>
          </p:nvSpPr>
          <p:spPr>
            <a:xfrm>
              <a:off x="5753445" y="173980"/>
              <a:ext cx="1946132" cy="621217"/>
            </a:xfrm>
            <a:prstGeom prst="doubleWave">
              <a:avLst/>
            </a:prstGeom>
            <a:solidFill>
              <a:srgbClr val="FDDDC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F881E63A-6076-462C-B01E-BEE4E7202F76}"/>
                </a:ext>
              </a:extLst>
            </p:cNvPr>
            <p:cNvSpPr txBox="1"/>
            <p:nvPr/>
          </p:nvSpPr>
          <p:spPr>
            <a:xfrm>
              <a:off x="5825714" y="195913"/>
              <a:ext cx="1819625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chemeClr val="tx1"/>
                  </a:solidFill>
                  <a:latin typeface="Calibri" panose="020F0502020204030204"/>
                  <a:ea typeface="+mn-ea"/>
                </a:rPr>
                <a:t>High </a:t>
              </a:r>
              <a:r>
                <a:rPr lang="en-US" sz="1600" dirty="0" err="1">
                  <a:solidFill>
                    <a:schemeClr val="tx1"/>
                  </a:solidFill>
                  <a:latin typeface="Calibri" panose="020F0502020204030204"/>
                  <a:ea typeface="+mn-ea"/>
                </a:rPr>
                <a:t>autotest</a:t>
              </a:r>
              <a:endParaRPr lang="en-US" sz="1600" dirty="0">
                <a:solidFill>
                  <a:schemeClr val="tx1"/>
                </a:solidFill>
                <a:latin typeface="Calibri" panose="020F0502020204030204"/>
                <a:ea typeface="+mn-ea"/>
              </a:endParaRPr>
            </a:p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chemeClr val="tx1"/>
                  </a:solidFill>
                  <a:latin typeface="Calibri" panose="020F0502020204030204"/>
                  <a:ea typeface="+mn-ea"/>
                </a:rPr>
                <a:t>coverage</a:t>
              </a:r>
            </a:p>
          </p:txBody>
        </p:sp>
        <p:pic>
          <p:nvPicPr>
            <p:cNvPr id="68" name="Picture 5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F6947518-37D8-4754-935E-B36200C7CA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41091" y="146671"/>
              <a:ext cx="395469" cy="850392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5356A76C-EEFB-49C1-BF06-9A05CAAB057F}"/>
              </a:ext>
            </a:extLst>
          </p:cNvPr>
          <p:cNvGrpSpPr/>
          <p:nvPr/>
        </p:nvGrpSpPr>
        <p:grpSpPr>
          <a:xfrm>
            <a:off x="180369" y="3982353"/>
            <a:ext cx="2469947" cy="1294414"/>
            <a:chOff x="5229630" y="146671"/>
            <a:chExt cx="2469947" cy="1294414"/>
          </a:xfrm>
        </p:grpSpPr>
        <p:pic>
          <p:nvPicPr>
            <p:cNvPr id="77" name="Picture 2">
              <a:extLst>
                <a:ext uri="{FF2B5EF4-FFF2-40B4-BE49-F238E27FC236}">
                  <a16:creationId xmlns:a16="http://schemas.microsoft.com/office/drawing/2014/main" id="{717035EA-623C-46A2-AD94-8A11D2F474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9379063">
              <a:off x="5229630" y="701787"/>
              <a:ext cx="935180" cy="7392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8" name="Double Wave 77">
              <a:extLst>
                <a:ext uri="{FF2B5EF4-FFF2-40B4-BE49-F238E27FC236}">
                  <a16:creationId xmlns:a16="http://schemas.microsoft.com/office/drawing/2014/main" id="{F5A1F118-4C57-4D49-9BF5-DDD393031DE1}"/>
                </a:ext>
              </a:extLst>
            </p:cNvPr>
            <p:cNvSpPr/>
            <p:nvPr/>
          </p:nvSpPr>
          <p:spPr>
            <a:xfrm>
              <a:off x="5753445" y="173980"/>
              <a:ext cx="1946132" cy="621217"/>
            </a:xfrm>
            <a:prstGeom prst="doubleWave">
              <a:avLst/>
            </a:prstGeom>
            <a:solidFill>
              <a:srgbClr val="FDDDC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254D468-3B38-4F57-BD71-EF1A5554A815}"/>
                </a:ext>
              </a:extLst>
            </p:cNvPr>
            <p:cNvSpPr txBox="1"/>
            <p:nvPr/>
          </p:nvSpPr>
          <p:spPr>
            <a:xfrm>
              <a:off x="5825714" y="195913"/>
              <a:ext cx="1819625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dirty="0" err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caling</a:t>
              </a:r>
              <a:r>
                <a:rPr lang="de-DE" sz="16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Test Infrastructure</a:t>
              </a:r>
            </a:p>
          </p:txBody>
        </p:sp>
        <p:pic>
          <p:nvPicPr>
            <p:cNvPr id="80" name="Picture 5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C6E3273F-9C9D-4AE9-B5A7-C6706D4477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41091" y="146671"/>
              <a:ext cx="395469" cy="850392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</p:grpSp>
      <p:pic>
        <p:nvPicPr>
          <p:cNvPr id="61" name="Graphic 60" descr="Lightning bolt with solid fill">
            <a:extLst>
              <a:ext uri="{FF2B5EF4-FFF2-40B4-BE49-F238E27FC236}">
                <a16:creationId xmlns:a16="http://schemas.microsoft.com/office/drawing/2014/main" id="{50C34F30-9306-4D4A-91B5-2B702D9334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58838" y="3847007"/>
            <a:ext cx="914400" cy="914400"/>
          </a:xfrm>
          <a:prstGeom prst="rect">
            <a:avLst/>
          </a:prstGeom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B5D69E48-837F-4580-8705-9F952213B07C}"/>
              </a:ext>
            </a:extLst>
          </p:cNvPr>
          <p:cNvGrpSpPr/>
          <p:nvPr/>
        </p:nvGrpSpPr>
        <p:grpSpPr>
          <a:xfrm>
            <a:off x="9221920" y="4837020"/>
            <a:ext cx="2652180" cy="1266922"/>
            <a:chOff x="5163995" y="146671"/>
            <a:chExt cx="2652180" cy="1266922"/>
          </a:xfrm>
        </p:grpSpPr>
        <p:pic>
          <p:nvPicPr>
            <p:cNvPr id="82" name="Picture 2">
              <a:extLst>
                <a:ext uri="{FF2B5EF4-FFF2-40B4-BE49-F238E27FC236}">
                  <a16:creationId xmlns:a16="http://schemas.microsoft.com/office/drawing/2014/main" id="{3678A620-404F-4BB5-BFEB-DF84676F0C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206550">
              <a:off x="5163995" y="674295"/>
              <a:ext cx="935180" cy="7392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Double Wave 82">
              <a:extLst>
                <a:ext uri="{FF2B5EF4-FFF2-40B4-BE49-F238E27FC236}">
                  <a16:creationId xmlns:a16="http://schemas.microsoft.com/office/drawing/2014/main" id="{1EF69E32-44AC-4319-94D7-988740A08C8E}"/>
                </a:ext>
              </a:extLst>
            </p:cNvPr>
            <p:cNvSpPr/>
            <p:nvPr/>
          </p:nvSpPr>
          <p:spPr>
            <a:xfrm>
              <a:off x="5753445" y="173980"/>
              <a:ext cx="1946132" cy="621217"/>
            </a:xfrm>
            <a:prstGeom prst="doubleWave">
              <a:avLst/>
            </a:prstGeom>
            <a:solidFill>
              <a:srgbClr val="FDDDC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AB9CD50B-B12C-4273-8F33-14F9B5B49758}"/>
                </a:ext>
              </a:extLst>
            </p:cNvPr>
            <p:cNvSpPr txBox="1"/>
            <p:nvPr/>
          </p:nvSpPr>
          <p:spPr>
            <a:xfrm>
              <a:off x="5779738" y="214031"/>
              <a:ext cx="2036437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Calibri"/>
                  <a:ea typeface="ＭＳ Ｐゴシック"/>
                  <a:cs typeface="Calibri"/>
                </a:rPr>
                <a:t>Balanced Test Pyramid </a:t>
              </a:r>
              <a:b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400" dirty="0">
                  <a:solidFill>
                    <a:schemeClr val="tx1"/>
                  </a:solidFill>
                  <a:latin typeface="Calibri"/>
                  <a:ea typeface="ＭＳ Ｐゴシック"/>
                  <a:cs typeface="Calibri"/>
                </a:rPr>
                <a:t>("Shift Left")</a:t>
              </a:r>
            </a:p>
          </p:txBody>
        </p:sp>
        <p:pic>
          <p:nvPicPr>
            <p:cNvPr id="85" name="Picture 5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180F383F-7F9B-4B63-8F7A-A7741DC414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41091" y="146671"/>
              <a:ext cx="395469" cy="850392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202B785-9A4A-4B21-BA5C-935528A029C6}"/>
              </a:ext>
            </a:extLst>
          </p:cNvPr>
          <p:cNvGrpSpPr/>
          <p:nvPr/>
        </p:nvGrpSpPr>
        <p:grpSpPr>
          <a:xfrm>
            <a:off x="7914529" y="264162"/>
            <a:ext cx="2466363" cy="1365917"/>
            <a:chOff x="5423071" y="146671"/>
            <a:chExt cx="2466363" cy="1365917"/>
          </a:xfrm>
        </p:grpSpPr>
        <p:pic>
          <p:nvPicPr>
            <p:cNvPr id="87" name="Picture 2">
              <a:extLst>
                <a:ext uri="{FF2B5EF4-FFF2-40B4-BE49-F238E27FC236}">
                  <a16:creationId xmlns:a16="http://schemas.microsoft.com/office/drawing/2014/main" id="{48BB8FD5-EDD4-4142-884D-30A78F2A9F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8816453">
              <a:off x="5325130" y="675349"/>
              <a:ext cx="935180" cy="7392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8" name="Double Wave 87">
              <a:extLst>
                <a:ext uri="{FF2B5EF4-FFF2-40B4-BE49-F238E27FC236}">
                  <a16:creationId xmlns:a16="http://schemas.microsoft.com/office/drawing/2014/main" id="{04BDA969-BAB3-4DD1-9679-A34C972B3F2A}"/>
                </a:ext>
              </a:extLst>
            </p:cNvPr>
            <p:cNvSpPr/>
            <p:nvPr/>
          </p:nvSpPr>
          <p:spPr>
            <a:xfrm>
              <a:off x="5753445" y="173980"/>
              <a:ext cx="1946132" cy="621217"/>
            </a:xfrm>
            <a:prstGeom prst="doubleWave">
              <a:avLst/>
            </a:prstGeom>
            <a:solidFill>
              <a:srgbClr val="FDDDC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C2191C2-4978-4407-B725-3F47542000FE}"/>
                </a:ext>
              </a:extLst>
            </p:cNvPr>
            <p:cNvSpPr txBox="1"/>
            <p:nvPr/>
          </p:nvSpPr>
          <p:spPr>
            <a:xfrm>
              <a:off x="6069809" y="279935"/>
              <a:ext cx="1819625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6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st </a:t>
              </a:r>
              <a:r>
                <a:rPr lang="de-DE" sz="1600" u="sng" dirty="0" err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yramid</a:t>
              </a:r>
              <a:endParaRPr lang="de-DE" sz="16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90" name="Picture 5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026608F9-7C8C-4C2F-AC2A-3D8F283E0F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41091" y="146671"/>
              <a:ext cx="395469" cy="850392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</p:grpSp>
      <p:sp>
        <p:nvSpPr>
          <p:cNvPr id="63" name="Footer Placeholder 5">
            <a:extLst>
              <a:ext uri="{FF2B5EF4-FFF2-40B4-BE49-F238E27FC236}">
                <a16:creationId xmlns:a16="http://schemas.microsoft.com/office/drawing/2014/main" id="{EAFD269A-EEE5-4420-A486-84EC661F924A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</p:spTree>
    <p:extLst>
      <p:ext uri="{BB962C8B-B14F-4D97-AF65-F5344CB8AC3E}">
        <p14:creationId xmlns:p14="http://schemas.microsoft.com/office/powerpoint/2010/main" val="639574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One open lit box with other closed dark boxes">
            <a:extLst>
              <a:ext uri="{FF2B5EF4-FFF2-40B4-BE49-F238E27FC236}">
                <a16:creationId xmlns:a16="http://schemas.microsoft.com/office/drawing/2014/main" id="{2EC05356-EB4C-462B-9009-0749FDE5356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92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AF128B-E0CB-42EC-9C36-AEF06E4D5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DevOps</a:t>
            </a:r>
            <a:r>
              <a:rPr lang="de-DE" sz="2800" dirty="0"/>
              <a:t> </a:t>
            </a:r>
            <a:r>
              <a:rPr lang="de-DE" sz="2800" dirty="0" err="1"/>
              <a:t>brings</a:t>
            </a:r>
            <a:r>
              <a:rPr lang="de-DE" sz="2800" dirty="0"/>
              <a:t> </a:t>
            </a:r>
            <a:r>
              <a:rPr lang="de-DE" sz="2800" dirty="0" err="1"/>
              <a:t>transparency</a:t>
            </a:r>
            <a:r>
              <a:rPr lang="de-DE" sz="2800" dirty="0"/>
              <a:t> …</a:t>
            </a:r>
          </a:p>
        </p:txBody>
      </p:sp>
      <p:pic>
        <p:nvPicPr>
          <p:cNvPr id="8" name="Graphic 7" descr="Skunk with solid fill">
            <a:extLst>
              <a:ext uri="{FF2B5EF4-FFF2-40B4-BE49-F238E27FC236}">
                <a16:creationId xmlns:a16="http://schemas.microsoft.com/office/drawing/2014/main" id="{868A85DB-8ABA-4012-A9CC-18C53F485A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242612" flipH="1">
            <a:off x="8005069" y="1558401"/>
            <a:ext cx="1160961" cy="1160961"/>
          </a:xfrm>
          <a:prstGeom prst="rect">
            <a:avLst/>
          </a:prstGeom>
          <a:effectLst>
            <a:glow rad="698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10" name="Graphic 9" descr="Question Mark with solid fill">
            <a:extLst>
              <a:ext uri="{FF2B5EF4-FFF2-40B4-BE49-F238E27FC236}">
                <a16:creationId xmlns:a16="http://schemas.microsoft.com/office/drawing/2014/main" id="{FF1B1862-658D-424D-B509-F03A941434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51472" y="1514757"/>
            <a:ext cx="914400" cy="914400"/>
          </a:xfrm>
          <a:prstGeom prst="rect">
            <a:avLst/>
          </a:prstGeom>
          <a:effectLst>
            <a:glow rad="698500">
              <a:schemeClr val="accent6">
                <a:satMod val="175000"/>
                <a:alpha val="40000"/>
              </a:schemeClr>
            </a:glow>
          </a:effectLst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60235006-C142-48D9-82E5-44091AD8FE1A}"/>
              </a:ext>
            </a:extLst>
          </p:cNvPr>
          <p:cNvGrpSpPr/>
          <p:nvPr/>
        </p:nvGrpSpPr>
        <p:grpSpPr>
          <a:xfrm rot="20782181">
            <a:off x="5796785" y="1696250"/>
            <a:ext cx="914400" cy="914400"/>
            <a:chOff x="8104537" y="2325747"/>
            <a:chExt cx="914400" cy="914400"/>
          </a:xfrm>
        </p:grpSpPr>
        <p:pic>
          <p:nvPicPr>
            <p:cNvPr id="12" name="Graphic 11" descr="Puzzle with solid fill">
              <a:extLst>
                <a:ext uri="{FF2B5EF4-FFF2-40B4-BE49-F238E27FC236}">
                  <a16:creationId xmlns:a16="http://schemas.microsoft.com/office/drawing/2014/main" id="{58FD0007-2B48-4997-9C1D-698D8A4AF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104537" y="2325747"/>
              <a:ext cx="914400" cy="914400"/>
            </a:xfrm>
            <a:prstGeom prst="rect">
              <a:avLst/>
            </a:prstGeom>
            <a:effectLst>
              <a:glow rad="698500">
                <a:schemeClr val="accent6">
                  <a:satMod val="175000"/>
                  <a:alpha val="40000"/>
                </a:schemeClr>
              </a:glow>
            </a:effectLst>
          </p:spPr>
        </p:pic>
        <p:pic>
          <p:nvPicPr>
            <p:cNvPr id="14" name="Graphic 13" descr="Checkmark with solid fill">
              <a:extLst>
                <a:ext uri="{FF2B5EF4-FFF2-40B4-BE49-F238E27FC236}">
                  <a16:creationId xmlns:a16="http://schemas.microsoft.com/office/drawing/2014/main" id="{1B6D2687-AD45-4AF4-931C-94F94C4AC3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734921">
              <a:off x="8278966" y="2391566"/>
              <a:ext cx="739971" cy="739971"/>
            </a:xfrm>
            <a:prstGeom prst="rect">
              <a:avLst/>
            </a:prstGeom>
            <a:effectLst/>
          </p:spPr>
        </p:pic>
      </p:grpSp>
      <p:sp>
        <p:nvSpPr>
          <p:cNvPr id="16" name="Restricted">
            <a:extLst>
              <a:ext uri="{FF2B5EF4-FFF2-40B4-BE49-F238E27FC236}">
                <a16:creationId xmlns:a16="http://schemas.microsoft.com/office/drawing/2014/main" id="{E77E2529-8321-4F74-B5A8-5EB49CB1E22F}"/>
              </a:ext>
            </a:extLst>
          </p:cNvPr>
          <p:cNvSpPr txBox="1"/>
          <p:nvPr/>
        </p:nvSpPr>
        <p:spPr>
          <a:xfrm>
            <a:off x="8075481" y="6520979"/>
            <a:ext cx="3580261" cy="153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bg1"/>
                </a:solidFill>
              </a:rPr>
              <a:t>© Siemens Healthineers, 2021</a:t>
            </a:r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7278406-6213-4326-8F1B-462D1C5F4717}"/>
              </a:ext>
            </a:extLst>
          </p:cNvPr>
          <p:cNvSpPr txBox="1"/>
          <p:nvPr/>
        </p:nvSpPr>
        <p:spPr>
          <a:xfrm rot="21429144">
            <a:off x="1113345" y="4052803"/>
            <a:ext cx="766724" cy="1402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CAF78B6-FCEB-4C2A-BDB0-F692DAC7292F}"/>
              </a:ext>
            </a:extLst>
          </p:cNvPr>
          <p:cNvSpPr txBox="1"/>
          <p:nvPr/>
        </p:nvSpPr>
        <p:spPr>
          <a:xfrm rot="21436832">
            <a:off x="-3051291" y="4482479"/>
            <a:ext cx="711358" cy="322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D3FD42-A966-4C3F-BF9A-695E15BADB27}"/>
              </a:ext>
            </a:extLst>
          </p:cNvPr>
          <p:cNvSpPr txBox="1"/>
          <p:nvPr/>
        </p:nvSpPr>
        <p:spPr>
          <a:xfrm>
            <a:off x="8702651" y="5814371"/>
            <a:ext cx="1011180" cy="149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  <p:pic>
        <p:nvPicPr>
          <p:cNvPr id="6154" name="Picture 10">
            <a:extLst>
              <a:ext uri="{FF2B5EF4-FFF2-40B4-BE49-F238E27FC236}">
                <a16:creationId xmlns:a16="http://schemas.microsoft.com/office/drawing/2014/main" id="{8C7B75C1-D666-4069-8387-4F401522D5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25000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212546">
            <a:off x="7169070" y="4514485"/>
            <a:ext cx="1393604" cy="479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C328E6B-4FF0-42B1-8838-A2785913357F}"/>
              </a:ext>
            </a:extLst>
          </p:cNvPr>
          <p:cNvSpPr txBox="1"/>
          <p:nvPr/>
        </p:nvSpPr>
        <p:spPr>
          <a:xfrm>
            <a:off x="6432605" y="1493066"/>
            <a:ext cx="589814" cy="1192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C48DFD5-EB1C-47EB-95B6-3D91E4C27A08}"/>
              </a:ext>
            </a:extLst>
          </p:cNvPr>
          <p:cNvSpPr txBox="1"/>
          <p:nvPr/>
        </p:nvSpPr>
        <p:spPr>
          <a:xfrm rot="21301581">
            <a:off x="15414184" y="3748510"/>
            <a:ext cx="313843" cy="683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BA357AE2-9E6B-42BF-8A7A-D1F2A8F3E837}"/>
              </a:ext>
            </a:extLst>
          </p:cNvPr>
          <p:cNvSpPr txBox="1"/>
          <p:nvPr/>
        </p:nvSpPr>
        <p:spPr>
          <a:xfrm rot="21338335">
            <a:off x="-3091848" y="5723574"/>
            <a:ext cx="590917" cy="2926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  <p:pic>
        <p:nvPicPr>
          <p:cNvPr id="6162" name="Picture 18">
            <a:extLst>
              <a:ext uri="{FF2B5EF4-FFF2-40B4-BE49-F238E27FC236}">
                <a16:creationId xmlns:a16="http://schemas.microsoft.com/office/drawing/2014/main" id="{718CB090-1292-42BF-9C99-28EEECB1D5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38335">
            <a:off x="929109" y="4276563"/>
            <a:ext cx="1555730" cy="55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7ED79E9F-2E9F-4CF1-B443-EA9CC991D38D}"/>
              </a:ext>
            </a:extLst>
          </p:cNvPr>
          <p:cNvSpPr txBox="1"/>
          <p:nvPr/>
        </p:nvSpPr>
        <p:spPr>
          <a:xfrm rot="21418305">
            <a:off x="2198111" y="5789825"/>
            <a:ext cx="703349" cy="1507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  <p:pic>
        <p:nvPicPr>
          <p:cNvPr id="6164" name="Picture 20">
            <a:extLst>
              <a:ext uri="{FF2B5EF4-FFF2-40B4-BE49-F238E27FC236}">
                <a16:creationId xmlns:a16="http://schemas.microsoft.com/office/drawing/2014/main" id="{C7DDD8C7-0788-4A56-954E-DE09A82A66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63473">
            <a:off x="3863589" y="4264186"/>
            <a:ext cx="1670657" cy="52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CC725D99-1C05-4B87-B841-967EAB192035}"/>
              </a:ext>
            </a:extLst>
          </p:cNvPr>
          <p:cNvSpPr txBox="1"/>
          <p:nvPr/>
        </p:nvSpPr>
        <p:spPr>
          <a:xfrm>
            <a:off x="10267951" y="2662606"/>
            <a:ext cx="294874" cy="2269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F80576B-6F33-46A5-A3C3-6166B003C684}"/>
              </a:ext>
            </a:extLst>
          </p:cNvPr>
          <p:cNvSpPr txBox="1"/>
          <p:nvPr/>
        </p:nvSpPr>
        <p:spPr>
          <a:xfrm rot="21219267">
            <a:off x="15992648" y="5674320"/>
            <a:ext cx="319325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  <p:pic>
        <p:nvPicPr>
          <p:cNvPr id="6168" name="Picture 24">
            <a:extLst>
              <a:ext uri="{FF2B5EF4-FFF2-40B4-BE49-F238E27FC236}">
                <a16:creationId xmlns:a16="http://schemas.microsoft.com/office/drawing/2014/main" id="{289DC81C-A769-4CD9-89E3-6E9DF75598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219267">
            <a:off x="10559212" y="4168038"/>
            <a:ext cx="1210309" cy="673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C355EFE-5E61-453C-AC31-85D5C52DB514}"/>
              </a:ext>
            </a:extLst>
          </p:cNvPr>
          <p:cNvSpPr txBox="1"/>
          <p:nvPr/>
        </p:nvSpPr>
        <p:spPr>
          <a:xfrm>
            <a:off x="1110335" y="5860141"/>
            <a:ext cx="8463529" cy="5667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… and 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uncovers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all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of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the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(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bad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)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things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hidden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underneath</a:t>
            </a:r>
            <a:endParaRPr lang="de-DE" dirty="0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0D30046C-14D0-4598-98B0-82A11AE506A4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1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  <p:sp>
        <p:nvSpPr>
          <p:cNvPr id="27" name="TextBox 5">
            <a:extLst>
              <a:ext uri="{FF2B5EF4-FFF2-40B4-BE49-F238E27FC236}">
                <a16:creationId xmlns:a16="http://schemas.microsoft.com/office/drawing/2014/main" id="{5E0AA32D-47D5-4BB9-869F-61CC1441FF4A}"/>
              </a:ext>
            </a:extLst>
          </p:cNvPr>
          <p:cNvSpPr txBox="1"/>
          <p:nvPr/>
        </p:nvSpPr>
        <p:spPr>
          <a:xfrm>
            <a:off x="11374282" y="6341939"/>
            <a:ext cx="281459" cy="1440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1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29" name="Siemens Healthineers logo">
            <a:extLst>
              <a:ext uri="{FF2B5EF4-FFF2-40B4-BE49-F238E27FC236}">
                <a16:creationId xmlns:a16="http://schemas.microsoft.com/office/drawing/2014/main" id="{CF29C290-031D-47C9-AC1C-E90D5C0459A0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7348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1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" name="Picture 224">
            <a:extLst>
              <a:ext uri="{FF2B5EF4-FFF2-40B4-BE49-F238E27FC236}">
                <a16:creationId xmlns:a16="http://schemas.microsoft.com/office/drawing/2014/main" id="{36230D6D-6FAD-418E-A726-E016821DFC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6321" y="-4342"/>
            <a:ext cx="12234671" cy="68639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CD41C9-D03B-4631-ADE0-57BF58BBA7A5}"/>
              </a:ext>
            </a:extLst>
          </p:cNvPr>
          <p:cNvSpPr/>
          <p:nvPr/>
        </p:nvSpPr>
        <p:spPr>
          <a:xfrm>
            <a:off x="7442" y="0"/>
            <a:ext cx="12226558" cy="6863928"/>
          </a:xfrm>
          <a:prstGeom prst="rect">
            <a:avLst/>
          </a:prstGeom>
          <a:solidFill>
            <a:schemeClr val="tx1">
              <a:alpha val="4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A8ECC1D-B653-43F7-86DA-250B7103D76C}"/>
              </a:ext>
            </a:extLst>
          </p:cNvPr>
          <p:cNvGrpSpPr/>
          <p:nvPr/>
        </p:nvGrpSpPr>
        <p:grpSpPr>
          <a:xfrm>
            <a:off x="469864" y="3849037"/>
            <a:ext cx="5884322" cy="2372259"/>
            <a:chOff x="469864" y="3849037"/>
            <a:chExt cx="5884322" cy="2372259"/>
          </a:xfrm>
        </p:grpSpPr>
        <p:pic>
          <p:nvPicPr>
            <p:cNvPr id="216" name="Picture 10" descr="Shape&#10;&#10;Description automatically generated">
              <a:extLst>
                <a:ext uri="{FF2B5EF4-FFF2-40B4-BE49-F238E27FC236}">
                  <a16:creationId xmlns:a16="http://schemas.microsoft.com/office/drawing/2014/main" id="{18632335-FE40-45A4-B438-F6F4F18EA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827" b="89774" l="0" r="99925">
                          <a14:foregroundMark x1="10023" y1="54449" x2="25" y2="51793"/>
                          <a14:foregroundMark x1="14092" y1="52590" x2="75" y2="50465"/>
                          <a14:foregroundMark x1="89651" y1="58167" x2="93595" y2="57503"/>
                          <a14:foregroundMark x1="93595" y1="57503" x2="97639" y2="57769"/>
                          <a14:foregroundMark x1="97639" y1="57769" x2="99925" y2="57238"/>
                        </a14:backgroundRemoval>
                      </a14:imgEffect>
                      <a14:imgEffect>
                        <a14:sharpenSoften amount="50000"/>
                      </a14:imgEffect>
                      <a14:imgEffect>
                        <a14:brightnessContrast bright="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1292635" flipV="1">
              <a:off x="2806191" y="4172163"/>
              <a:ext cx="3408345" cy="591485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17" name="Picture 10" descr="Shape&#10;&#10;Description automatically generated">
              <a:extLst>
                <a:ext uri="{FF2B5EF4-FFF2-40B4-BE49-F238E27FC236}">
                  <a16:creationId xmlns:a16="http://schemas.microsoft.com/office/drawing/2014/main" id="{1B482010-D3B6-4DAD-AFDA-D1B368BB27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695" b="89641" l="0" r="100000">
                          <a14:foregroundMark x1="0" y1="52324" x2="35903" y2="54316"/>
                          <a14:foregroundMark x1="0" y1="50730" x2="53744" y2="52457"/>
                        </a14:backgroundRemoval>
                      </a14:imgEffect>
                      <a14:imgEffect>
                        <a14:sharpenSoften amount="50000"/>
                      </a14:imgEffect>
                      <a14:imgEffect>
                        <a14:brightnessContrast bright="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9032238" flipV="1">
              <a:off x="1795976" y="4428570"/>
              <a:ext cx="1236045" cy="554852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18" name="Picture 10" descr="Shape&#10;&#10;Description automatically generated">
              <a:extLst>
                <a:ext uri="{FF2B5EF4-FFF2-40B4-BE49-F238E27FC236}">
                  <a16:creationId xmlns:a16="http://schemas.microsoft.com/office/drawing/2014/main" id="{317B2647-F475-46D6-820C-4088C989D1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9695" b="89641" l="0" r="100000">
                          <a14:foregroundMark x1="25960" y1="54449" x2="65" y2="51793"/>
                          <a14:foregroundMark x1="36500" y1="52590" x2="195" y2="50465"/>
                        </a14:backgroundRemoval>
                      </a14:imgEffect>
                      <a14:imgEffect>
                        <a14:sharpenSoften amount="50000"/>
                      </a14:imgEffect>
                      <a14:imgEffect>
                        <a14:brightnessContrast bright="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757065" flipV="1">
              <a:off x="469864" y="5070162"/>
              <a:ext cx="1499271" cy="554852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BF0394B-9EFF-4DB6-9A1C-20B900B16FF1}"/>
                </a:ext>
              </a:extLst>
            </p:cNvPr>
            <p:cNvSpPr txBox="1"/>
            <p:nvPr/>
          </p:nvSpPr>
          <p:spPr>
            <a:xfrm>
              <a:off x="1853845" y="5139412"/>
              <a:ext cx="998239" cy="4617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No breaking </a:t>
              </a:r>
            </a:p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changes</a:t>
              </a:r>
            </a:p>
          </p:txBody>
        </p:sp>
        <p:pic>
          <p:nvPicPr>
            <p:cNvPr id="219" name="Picture 10" descr="Shape&#10;&#10;Description automatically generated">
              <a:extLst>
                <a:ext uri="{FF2B5EF4-FFF2-40B4-BE49-F238E27FC236}">
                  <a16:creationId xmlns:a16="http://schemas.microsoft.com/office/drawing/2014/main" id="{71B9CD48-2515-482E-9B73-2FBBECB02B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9695" b="89641" l="0" r="99866">
                          <a14:foregroundMark x1="81624" y1="58167" x2="88626" y2="57503"/>
                          <a14:foregroundMark x1="88626" y1="57503" x2="95807" y2="57769"/>
                          <a14:foregroundMark x1="95807" y1="57769" x2="99866" y2="57238"/>
                        </a14:backgroundRemoval>
                      </a14:imgEffect>
                      <a14:imgEffect>
                        <a14:sharpenSoften amount="50000"/>
                      </a14:imgEffect>
                      <a14:imgEffect>
                        <a14:brightnessContrast bright="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4567631" flipV="1">
              <a:off x="2285851" y="4904912"/>
              <a:ext cx="2077917" cy="554852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20" name="Picture 10" descr="Shape&#10;&#10;Description automatically generated">
              <a:extLst>
                <a:ext uri="{FF2B5EF4-FFF2-40B4-BE49-F238E27FC236}">
                  <a16:creationId xmlns:a16="http://schemas.microsoft.com/office/drawing/2014/main" id="{D56F2EF0-02FB-49C5-A6B3-BEACD3F20B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9827" b="89774" l="0" r="99925">
                          <a14:foregroundMark x1="10023" y1="54449" x2="25" y2="51793"/>
                          <a14:foregroundMark x1="14092" y1="52590" x2="75" y2="50465"/>
                          <a14:foregroundMark x1="89651" y1="58167" x2="93595" y2="57503"/>
                          <a14:foregroundMark x1="93595" y1="57503" x2="97639" y2="57769"/>
                          <a14:foregroundMark x1="97639" y1="57769" x2="99925" y2="57238"/>
                        </a14:backgroundRemoval>
                      </a14:imgEffect>
                      <a14:imgEffect>
                        <a14:sharpenSoften amount="50000"/>
                      </a14:imgEffect>
                      <a14:imgEffect>
                        <a14:brightnessContrast bright="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069149" flipV="1">
              <a:off x="3576564" y="5114437"/>
              <a:ext cx="2777622" cy="537670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22" name="Picture 6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65A0C9A0-5C8F-4704-83B7-791584A615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0" b="100000" l="0" r="89000">
                          <a14:foregroundMark x1="49000" y1="11170" x2="62000" y2="51596"/>
                          <a14:foregroundMark x1="62000" y1="51596" x2="54000" y2="71277"/>
                          <a14:foregroundMark x1="54000" y1="71277" x2="56000" y2="88830"/>
                          <a14:foregroundMark x1="89000" y1="66489" x2="90000" y2="6010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37098" y="4750217"/>
              <a:ext cx="202478" cy="378777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23" name="Picture 6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06D7CD7C-8329-4671-A20B-C5111AE2BC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0" b="100000" l="0" r="89000">
                          <a14:foregroundMark x1="49000" y1="11170" x2="62000" y2="51596"/>
                          <a14:foregroundMark x1="62000" y1="51596" x2="54000" y2="71277"/>
                          <a14:foregroundMark x1="54000" y1="71277" x2="56000" y2="88830"/>
                          <a14:foregroundMark x1="89000" y1="66489" x2="90000" y2="6010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94580" y="3849037"/>
              <a:ext cx="202478" cy="378777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62AA460-C722-44B6-8A52-E28558B5F14D}"/>
                </a:ext>
              </a:extLst>
            </p:cNvPr>
            <p:cNvSpPr txBox="1"/>
            <p:nvPr/>
          </p:nvSpPr>
          <p:spPr>
            <a:xfrm>
              <a:off x="2613714" y="3904722"/>
              <a:ext cx="1564467" cy="4617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Modularization, Sandboxing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9AB3196-7411-4173-B62B-68C302D0590D}"/>
              </a:ext>
            </a:extLst>
          </p:cNvPr>
          <p:cNvGrpSpPr/>
          <p:nvPr/>
        </p:nvGrpSpPr>
        <p:grpSpPr>
          <a:xfrm>
            <a:off x="4961411" y="4755259"/>
            <a:ext cx="2165762" cy="1663577"/>
            <a:chOff x="4961411" y="4755259"/>
            <a:chExt cx="2165762" cy="1663577"/>
          </a:xfrm>
        </p:grpSpPr>
        <p:pic>
          <p:nvPicPr>
            <p:cNvPr id="255" name="Picture 9" descr="Shape&#10;&#10;Description automatically generated">
              <a:extLst>
                <a:ext uri="{FF2B5EF4-FFF2-40B4-BE49-F238E27FC236}">
                  <a16:creationId xmlns:a16="http://schemas.microsoft.com/office/drawing/2014/main" id="{E9F302EA-2807-4D81-9292-98788A81C4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ackgroundRemoval t="9695" b="89641" l="0" r="99696">
                          <a14:foregroundMark x1="58257" y1="58167" x2="74164" y2="57503"/>
                          <a14:foregroundMark x1="74164" y1="57503" x2="90476" y2="57769"/>
                          <a14:foregroundMark x1="90476" y1="57769" x2="99696" y2="57238"/>
                        </a14:backgroundRemoval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7269676" flipV="1">
              <a:off x="5844655" y="4756554"/>
              <a:ext cx="608726" cy="606136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56" name="Picture 9" descr="Shape&#10;&#10;Description automatically generated">
              <a:extLst>
                <a:ext uri="{FF2B5EF4-FFF2-40B4-BE49-F238E27FC236}">
                  <a16:creationId xmlns:a16="http://schemas.microsoft.com/office/drawing/2014/main" id="{6136CBFD-6724-45FE-A6BC-B89259E14B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backgroundRemoval t="9695" b="89641" l="0" r="100000">
                          <a14:foregroundMark x1="38365" y1="54449" x2="96" y2="51793"/>
                          <a14:foregroundMark x1="53942" y1="52590" x2="288" y2="50465"/>
                        </a14:backgroundRemoval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5559597" flipV="1">
              <a:off x="5401339" y="5769246"/>
              <a:ext cx="693044" cy="606136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57" name="Picture 9" descr="Shape&#10;&#10;Description automatically generated">
              <a:extLst>
                <a:ext uri="{FF2B5EF4-FFF2-40B4-BE49-F238E27FC236}">
                  <a16:creationId xmlns:a16="http://schemas.microsoft.com/office/drawing/2014/main" id="{EB37F089-B59A-47A1-AF83-9554BAF31D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ackgroundRemoval t="9695" b="89641" l="0" r="100000">
                          <a14:foregroundMark x1="57082" y1="54449" x2="143" y2="51793"/>
                          <a14:foregroundMark x1="80258" y1="52590" x2="429" y2="50465"/>
                        </a14:backgroundRemoval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7951668" flipV="1">
              <a:off x="5540229" y="5226656"/>
              <a:ext cx="516868" cy="606136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59" name="Picture 5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E77BA487-0B7D-4F54-8719-F3C525B2EE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42703" y="5370798"/>
              <a:ext cx="173869" cy="373877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61" name="Picture 5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CBFFFF0B-CE69-44C9-9BFD-8E32A8A156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18851" y="4973711"/>
              <a:ext cx="173869" cy="373877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5F141831-D4C5-46F7-8421-EA81DA7CD396}"/>
                </a:ext>
              </a:extLst>
            </p:cNvPr>
            <p:cNvSpPr txBox="1"/>
            <p:nvPr/>
          </p:nvSpPr>
          <p:spPr>
            <a:xfrm>
              <a:off x="5735198" y="5394413"/>
              <a:ext cx="1391975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Field transparency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2E9CC34-3F6F-4D35-8241-FD22E331F617}"/>
                </a:ext>
              </a:extLst>
            </p:cNvPr>
            <p:cNvSpPr txBox="1"/>
            <p:nvPr/>
          </p:nvSpPr>
          <p:spPr>
            <a:xfrm>
              <a:off x="4961411" y="5743655"/>
              <a:ext cx="1391975" cy="2770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Fast Feedback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6BC4BD8-C726-445E-B7EA-4708C9FEC1A0}"/>
              </a:ext>
            </a:extLst>
          </p:cNvPr>
          <p:cNvGrpSpPr/>
          <p:nvPr/>
        </p:nvGrpSpPr>
        <p:grpSpPr>
          <a:xfrm>
            <a:off x="6515864" y="1768551"/>
            <a:ext cx="4583749" cy="3082849"/>
            <a:chOff x="6515864" y="1768551"/>
            <a:chExt cx="4583749" cy="3082849"/>
          </a:xfrm>
        </p:grpSpPr>
        <p:pic>
          <p:nvPicPr>
            <p:cNvPr id="191" name="Picture 190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658ADF3A-C854-4176-9DEA-3F6CE65AC9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email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ackgroundRemoval t="0" b="100000" l="11494" r="100000">
                          <a14:foregroundMark x1="57471" y1="78571" x2="47126" y2="59694"/>
                          <a14:foregroundMark x1="47126" y1="59694" x2="54023" y2="21429"/>
                          <a14:foregroundMark x1="54023" y1="21429" x2="45977" y2="7653"/>
                          <a14:foregroundMark x1="17241" y1="9184" x2="31034" y2="16327"/>
                          <a14:foregroundMark x1="12644" y1="13265" x2="11494" y2="1275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26081" y="2996686"/>
              <a:ext cx="177332" cy="398936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46" name="Picture 8" descr="Shape&#10;&#10;Description automatically generated">
              <a:extLst>
                <a:ext uri="{FF2B5EF4-FFF2-40B4-BE49-F238E27FC236}">
                  <a16:creationId xmlns:a16="http://schemas.microsoft.com/office/drawing/2014/main" id="{25D6B551-A418-4E45-8628-2A3A9DA6D5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duotone>
                <a:prstClr val="black"/>
                <a:srgbClr val="0000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backgroundRemoval t="9827" b="89774" l="0" r="99925">
                          <a14:foregroundMark x1="10023" y1="54449" x2="25" y2="51793"/>
                          <a14:foregroundMark x1="14092" y1="52590" x2="75" y2="50465"/>
                          <a14:foregroundMark x1="89651" y1="58167" x2="93595" y2="57503"/>
                          <a14:foregroundMark x1="93595" y1="57503" x2="97639" y2="57769"/>
                          <a14:foregroundMark x1="97639" y1="57769" x2="99925" y2="57238"/>
                        </a14:backgroundRemoval>
                      </a14:imgEffect>
                      <a14:imgEffect>
                        <a14:sharpenSoften amount="-5000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2333006" flipV="1">
              <a:off x="7203896" y="3456383"/>
              <a:ext cx="1585639" cy="479930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47" name="Picture 8" descr="Shape&#10;&#10;Description automatically generated">
              <a:extLst>
                <a:ext uri="{FF2B5EF4-FFF2-40B4-BE49-F238E27FC236}">
                  <a16:creationId xmlns:a16="http://schemas.microsoft.com/office/drawing/2014/main" id="{CAD7D6C7-8672-405E-A152-35E447D4AA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0" cstate="email">
              <a:duotone>
                <a:prstClr val="black"/>
                <a:srgbClr val="0000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31">
                      <a14:imgEffect>
                        <a14:backgroundRemoval t="9695" b="89641" l="0" r="100000">
                          <a14:foregroundMark x1="27198" y1="54449" x2="68" y2="51793"/>
                          <a14:foregroundMark x1="38241" y1="52590" x2="204" y2="50465"/>
                        </a14:backgroundRemoval>
                      </a14:imgEffect>
                      <a14:imgEffect>
                        <a14:sharpenSoften amount="2500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621669" flipV="1">
              <a:off x="8667509" y="3928819"/>
              <a:ext cx="1085679" cy="479930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45" name="Picture 190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0BEC668D-9D18-44CF-BA52-F7F3D2CBFE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email">
              <a:extLst>
                <a:ext uri="{BEBA8EAE-BF5A-486C-A8C5-ECC9F3942E4B}">
                  <a14:imgProps xmlns:a14="http://schemas.microsoft.com/office/drawing/2010/main">
                    <a14:imgLayer r:embed="rId32">
                      <a14:imgEffect>
                        <a14:backgroundRemoval t="0" b="100000" l="11494" r="100000">
                          <a14:foregroundMark x1="57471" y1="78571" x2="47126" y2="59694"/>
                          <a14:foregroundMark x1="47126" y1="59694" x2="54023" y2="21429"/>
                          <a14:foregroundMark x1="54023" y1="21429" x2="45977" y2="7653"/>
                          <a14:foregroundMark x1="17241" y1="9184" x2="31034" y2="16327"/>
                          <a14:foregroundMark x1="12644" y1="13265" x2="11494" y2="1275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88794" y="3643155"/>
              <a:ext cx="177332" cy="398936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48" name="Picture 190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E3144D1D-1D92-4966-B221-D5B85078CB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email">
              <a:extLst>
                <a:ext uri="{BEBA8EAE-BF5A-486C-A8C5-ECC9F3942E4B}">
                  <a14:imgProps xmlns:a14="http://schemas.microsoft.com/office/drawing/2010/main">
                    <a14:imgLayer r:embed="rId33">
                      <a14:imgEffect>
                        <a14:backgroundRemoval t="0" b="100000" l="11494" r="100000">
                          <a14:foregroundMark x1="57471" y1="78571" x2="47126" y2="59694"/>
                          <a14:foregroundMark x1="47126" y1="59694" x2="54023" y2="21429"/>
                          <a14:foregroundMark x1="54023" y1="21429" x2="45977" y2="7653"/>
                          <a14:foregroundMark x1="17241" y1="9184" x2="31034" y2="16327"/>
                          <a14:foregroundMark x1="12644" y1="13265" x2="11494" y2="1275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77509" y="3827304"/>
              <a:ext cx="177332" cy="398936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49" name="Picture 8" descr="Shape&#10;&#10;Description automatically generated">
              <a:extLst>
                <a:ext uri="{FF2B5EF4-FFF2-40B4-BE49-F238E27FC236}">
                  <a16:creationId xmlns:a16="http://schemas.microsoft.com/office/drawing/2014/main" id="{B0A373EC-5CAF-45C7-8729-15AA8AC2DC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4" cstate="email">
              <a:duotone>
                <a:prstClr val="black"/>
                <a:srgbClr val="0000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9695" b="89641" l="0" r="99894">
                          <a14:foregroundMark x1="85437" y1="58167" x2="90986" y2="57503"/>
                          <a14:foregroundMark x1="90986" y1="57503" x2="96677" y2="57769"/>
                          <a14:foregroundMark x1="96677" y1="57769" x2="99894" y2="57238"/>
                        </a14:backgroundRemoval>
                      </a14:imgEffect>
                      <a14:imgEffect>
                        <a14:sharpenSoften amount="2500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7442566" flipV="1">
              <a:off x="9258531" y="3092425"/>
              <a:ext cx="2098344" cy="479930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51" name="Picture 8" descr="Shape&#10;&#10;Description automatically generated">
              <a:extLst>
                <a:ext uri="{FF2B5EF4-FFF2-40B4-BE49-F238E27FC236}">
                  <a16:creationId xmlns:a16="http://schemas.microsoft.com/office/drawing/2014/main" id="{F183EB85-798B-4BC0-B66D-C61BB45AEC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6" cstate="email">
              <a:duotone>
                <a:prstClr val="black"/>
                <a:srgbClr val="0000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backgroundRemoval t="9695" b="89641" l="0" r="99887">
                          <a14:foregroundMark x1="84441" y1="58167" x2="90370" y2="57503"/>
                          <a14:foregroundMark x1="90370" y1="57503" x2="96450" y2="57769"/>
                          <a14:foregroundMark x1="96450" y1="57769" x2="99887" y2="57238"/>
                        </a14:backgroundRemoval>
                      </a14:imgEffect>
                      <a14:imgEffect>
                        <a14:sharpenSoften amount="2500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501044" flipV="1">
              <a:off x="9103730" y="2286624"/>
              <a:ext cx="1868711" cy="479930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52" name="Picture 190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99D159D2-AD33-405B-A4B3-74020A2A6F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email">
              <a:extLst>
                <a:ext uri="{BEBA8EAE-BF5A-486C-A8C5-ECC9F3942E4B}">
                  <a14:imgProps xmlns:a14="http://schemas.microsoft.com/office/drawing/2010/main">
                    <a14:imgLayer r:embed="rId38">
                      <a14:imgEffect>
                        <a14:backgroundRemoval t="0" b="100000" l="11494" r="100000">
                          <a14:foregroundMark x1="57471" y1="78571" x2="47126" y2="59694"/>
                          <a14:foregroundMark x1="47126" y1="59694" x2="54023" y2="21429"/>
                          <a14:foregroundMark x1="54023" y1="21429" x2="45977" y2="7653"/>
                          <a14:foregroundMark x1="17241" y1="9184" x2="31034" y2="16327"/>
                          <a14:foregroundMark x1="12644" y1="13265" x2="11494" y2="1275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71257" y="2224466"/>
              <a:ext cx="177332" cy="398936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54" name="Picture 8" descr="Shape&#10;&#10;Description automatically generated">
              <a:extLst>
                <a:ext uri="{FF2B5EF4-FFF2-40B4-BE49-F238E27FC236}">
                  <a16:creationId xmlns:a16="http://schemas.microsoft.com/office/drawing/2014/main" id="{01F0DCC4-B068-4FFD-8024-2C33F5B435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9" cstate="email">
              <a:duotone>
                <a:prstClr val="black"/>
                <a:srgbClr val="0000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40">
                      <a14:imgEffect>
                        <a14:backgroundRemoval t="9695" b="89641" l="0" r="99847">
                          <a14:foregroundMark x1="79033" y1="58167" x2="87023" y2="57503"/>
                          <a14:foregroundMark x1="87023" y1="57503" x2="95216" y2="57769"/>
                          <a14:foregroundMark x1="95216" y1="57769" x2="99847" y2="57238"/>
                        </a14:backgroundRemoval>
                      </a14:imgEffect>
                      <a14:imgEffect>
                        <a14:sharpenSoften amount="2500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7731480" flipV="1">
              <a:off x="5911714" y="3767320"/>
              <a:ext cx="1688230" cy="479930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pic>
          <p:nvPicPr>
            <p:cNvPr id="253" name="Picture 8" descr="Shape&#10;&#10;Description automatically generated">
              <a:extLst>
                <a:ext uri="{FF2B5EF4-FFF2-40B4-BE49-F238E27FC236}">
                  <a16:creationId xmlns:a16="http://schemas.microsoft.com/office/drawing/2014/main" id="{4097638D-8545-48F4-A19E-4B89F81A1F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1" cstate="email">
              <a:duotone>
                <a:prstClr val="black"/>
                <a:srgbClr val="0000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42">
                      <a14:imgEffect>
                        <a14:backgroundRemoval t="0" b="81022" l="0" r="99922">
                          <a14:foregroundMark x1="0" y1="13139" x2="7056" y2="16302"/>
                          <a14:foregroundMark x1="0" y1="10219" x2="11258" y2="12895"/>
                          <a14:foregroundMark x1="89313" y1="23358" x2="93385" y2="22141"/>
                          <a14:foregroundMark x1="93385" y1="22141" x2="97562" y2="22628"/>
                          <a14:foregroundMark x1="97562" y1="22628" x2="99922" y2="21655"/>
                        </a14:backgroundRemoval>
                      </a14:imgEffect>
                      <a14:imgEffect>
                        <a14:sharpenSoften amount="2500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224873" flipV="1">
              <a:off x="7189424" y="2826220"/>
              <a:ext cx="2055073" cy="261801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3648CC95-0347-45CA-AA17-CB2B2D5E3DA6}"/>
                </a:ext>
              </a:extLst>
            </p:cNvPr>
            <p:cNvSpPr txBox="1"/>
            <p:nvPr/>
          </p:nvSpPr>
          <p:spPr>
            <a:xfrm>
              <a:off x="7307313" y="2969946"/>
              <a:ext cx="1234049" cy="4617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Continuous delivery of value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ADD2A59-E450-450F-BB75-72194C5E1771}"/>
                </a:ext>
              </a:extLst>
            </p:cNvPr>
            <p:cNvSpPr txBox="1"/>
            <p:nvPr/>
          </p:nvSpPr>
          <p:spPr>
            <a:xfrm>
              <a:off x="9865564" y="3757196"/>
              <a:ext cx="1234049" cy="4617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Efficient way of working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D8ED8564-D123-414C-998A-CF41C8895C66}"/>
                </a:ext>
              </a:extLst>
            </p:cNvPr>
            <p:cNvSpPr txBox="1"/>
            <p:nvPr/>
          </p:nvSpPr>
          <p:spPr>
            <a:xfrm>
              <a:off x="8741100" y="1768551"/>
              <a:ext cx="1647832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Craftsmanship and</a:t>
              </a:r>
              <a:b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</a:b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Continuous learning</a:t>
              </a:r>
              <a:b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</a:br>
              <a:endParaRPr lang="en-US" sz="1200" dirty="0">
                <a:solidFill>
                  <a:prstClr val="white"/>
                </a:solidFill>
                <a:latin typeface="Calibri" panose="020F0502020204030204"/>
                <a:ea typeface="+mn-ea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373F7D4-C922-465A-80AA-F93E4C5B1840}"/>
                </a:ext>
              </a:extLst>
            </p:cNvPr>
            <p:cNvSpPr txBox="1"/>
            <p:nvPr/>
          </p:nvSpPr>
          <p:spPr>
            <a:xfrm>
              <a:off x="8646410" y="3452466"/>
              <a:ext cx="1234049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Efficient tooling, automation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7A0D8BC-5B83-4156-BEFA-55DD3810076B}"/>
              </a:ext>
            </a:extLst>
          </p:cNvPr>
          <p:cNvGrpSpPr/>
          <p:nvPr/>
        </p:nvGrpSpPr>
        <p:grpSpPr>
          <a:xfrm>
            <a:off x="4243817" y="292567"/>
            <a:ext cx="4276455" cy="4309289"/>
            <a:chOff x="4243817" y="292567"/>
            <a:chExt cx="4276455" cy="4309289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7562BBE-15CF-4A83-BE6C-54A04EF465A1}"/>
                </a:ext>
              </a:extLst>
            </p:cNvPr>
            <p:cNvSpPr txBox="1"/>
            <p:nvPr/>
          </p:nvSpPr>
          <p:spPr>
            <a:xfrm>
              <a:off x="7026004" y="926789"/>
              <a:ext cx="1494268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High </a:t>
              </a:r>
              <a:r>
                <a:rPr lang="en-US" sz="1200" dirty="0" err="1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autotest</a:t>
              </a: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 coverage</a:t>
              </a:r>
            </a:p>
          </p:txBody>
        </p:sp>
        <p:pic>
          <p:nvPicPr>
            <p:cNvPr id="206" name="Picture 11" descr="Shape&#10;&#10;Description automatically generated">
              <a:extLst>
                <a:ext uri="{FF2B5EF4-FFF2-40B4-BE49-F238E27FC236}">
                  <a16:creationId xmlns:a16="http://schemas.microsoft.com/office/drawing/2014/main" id="{904B099F-311E-4793-9895-B68BD39D0B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3" cstate="email">
              <a:extLst>
                <a:ext uri="{BEBA8EAE-BF5A-486C-A8C5-ECC9F3942E4B}">
                  <a14:imgProps xmlns:a14="http://schemas.microsoft.com/office/drawing/2010/main">
                    <a14:imgLayer r:embed="rId44">
                      <a14:imgEffect>
                        <a14:backgroundRemoval t="9695" b="89641" l="0" r="100000">
                          <a14:foregroundMark x1="13535" y1="54449" x2="34" y2="51793"/>
                          <a14:foregroundMark x1="19030" y1="52590" x2="102" y2="50465"/>
                        </a14:backgroundRemoval>
                      </a14:imgEffect>
                      <a14:imgEffect>
                        <a14:sharpenSoften amount="2500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1"/>
            <a:stretch/>
          </p:blipFill>
          <p:spPr>
            <a:xfrm rot="15914046" flipV="1">
              <a:off x="5070873" y="3375141"/>
              <a:ext cx="2058483" cy="394947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42C6C88-0DB4-4F58-92D8-E94AD881151C}"/>
                </a:ext>
              </a:extLst>
            </p:cNvPr>
            <p:cNvGrpSpPr/>
            <p:nvPr/>
          </p:nvGrpSpPr>
          <p:grpSpPr>
            <a:xfrm>
              <a:off x="4243817" y="292567"/>
              <a:ext cx="4156228" cy="2574471"/>
              <a:chOff x="4243817" y="292567"/>
              <a:chExt cx="4156228" cy="2574471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D50B3849-7466-4CC2-B386-58D7F764C870}"/>
                  </a:ext>
                </a:extLst>
              </p:cNvPr>
              <p:cNvGrpSpPr/>
              <p:nvPr/>
            </p:nvGrpSpPr>
            <p:grpSpPr>
              <a:xfrm>
                <a:off x="5026973" y="292567"/>
                <a:ext cx="3373072" cy="2574471"/>
                <a:chOff x="4998398" y="292567"/>
                <a:chExt cx="3373072" cy="2574471"/>
              </a:xfrm>
            </p:grpSpPr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437348A9-D42E-408F-9192-6BE8A1E3D29B}"/>
                    </a:ext>
                  </a:extLst>
                </p:cNvPr>
                <p:cNvSpPr txBox="1"/>
                <p:nvPr/>
              </p:nvSpPr>
              <p:spPr>
                <a:xfrm>
                  <a:off x="6482050" y="1605379"/>
                  <a:ext cx="1743981" cy="46177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rtlCol="0" anchor="t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/>
                      <a:ea typeface="+mn-ea"/>
                    </a:rPr>
                    <a:t>Balanced Test Pyramid ("Shift Left")</a:t>
                  </a: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0638DC11-DC22-4604-AC00-ADC802CC1548}"/>
                    </a:ext>
                  </a:extLst>
                </p:cNvPr>
                <p:cNvSpPr txBox="1"/>
                <p:nvPr/>
              </p:nvSpPr>
              <p:spPr>
                <a:xfrm>
                  <a:off x="5243133" y="292567"/>
                  <a:ext cx="1456433" cy="27706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Test Pyramid</a:t>
                  </a:r>
                </a:p>
              </p:txBody>
            </p:sp>
            <p:sp>
              <p:nvSpPr>
                <p:cNvPr id="202" name="TextBox 201">
                  <a:extLst>
                    <a:ext uri="{FF2B5EF4-FFF2-40B4-BE49-F238E27FC236}">
                      <a16:creationId xmlns:a16="http://schemas.microsoft.com/office/drawing/2014/main" id="{1181AE9B-D661-49F7-B2F3-BE3ACB650F19}"/>
                    </a:ext>
                  </a:extLst>
                </p:cNvPr>
                <p:cNvSpPr txBox="1"/>
                <p:nvPr/>
              </p:nvSpPr>
              <p:spPr>
                <a:xfrm>
                  <a:off x="6627489" y="2589975"/>
                  <a:ext cx="1743981" cy="27706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Digital Twin</a:t>
                  </a:r>
                </a:p>
              </p:txBody>
            </p:sp>
            <p:pic>
              <p:nvPicPr>
                <p:cNvPr id="127" name="Picture 5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519A44B0-C25F-408F-9B04-039254C7A8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4" cstate="email">
                  <a:extLst>
                    <a:ext uri="{BEBA8EAE-BF5A-486C-A8C5-ECC9F3942E4B}">
                      <a14:imgProps xmlns:a14="http://schemas.microsoft.com/office/drawing/2010/main">
                        <a14:imgLayer r:embed="rId45">
                          <a14:imgEffect>
                            <a14:backgroundRemoval t="0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7055351" y="760098"/>
                  <a:ext cx="173869" cy="37387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09" name="Picture 11" descr="Shape&#10;&#10;Description automatically generated">
                  <a:extLst>
                    <a:ext uri="{FF2B5EF4-FFF2-40B4-BE49-F238E27FC236}">
                      <a16:creationId xmlns:a16="http://schemas.microsoft.com/office/drawing/2014/main" id="{F754C8DA-F440-4729-959A-C4A7BA510E9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6" cstate="email">
                  <a:extLst>
                    <a:ext uri="{BEBA8EAE-BF5A-486C-A8C5-ECC9F3942E4B}">
                      <a14:imgProps xmlns:a14="http://schemas.microsoft.com/office/drawing/2010/main">
                        <a14:imgLayer r:embed="rId47">
                          <a14:imgEffect>
                            <a14:backgroundRemoval t="9695" b="89641" l="0" r="100000">
                              <a14:foregroundMark x1="50379" y1="54449" x2="126" y2="51793"/>
                              <a14:foregroundMark x1="70833" y1="52590" x2="379" y2="50465"/>
                            </a14:backgroundRemoval>
                          </a14:imgEffect>
                          <a14:imgEffect>
                            <a14:sharpenSoften amount="25000"/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7397471" flipV="1">
                  <a:off x="4841136" y="1408252"/>
                  <a:ext cx="944410" cy="40121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132" name="Picture 5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2D6F671A-D440-47D6-A8AA-6D0F9E945A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4" cstate="email">
                  <a:extLst>
                    <a:ext uri="{BEBA8EAE-BF5A-486C-A8C5-ECC9F3942E4B}">
                      <a14:imgProps xmlns:a14="http://schemas.microsoft.com/office/drawing/2010/main">
                        <a14:imgLayer r:embed="rId25">
                          <a14:imgEffect>
                            <a14:backgroundRemoval t="0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948054" y="526795"/>
                  <a:ext cx="173869" cy="37387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144" name="Picture 5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A0F02AF8-B157-4CEF-A295-B8C497E615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4" cstate="email">
                  <a:extLst>
                    <a:ext uri="{BEBA8EAE-BF5A-486C-A8C5-ECC9F3942E4B}">
                      <a14:imgProps xmlns:a14="http://schemas.microsoft.com/office/drawing/2010/main">
                        <a14:imgLayer r:embed="rId25">
                          <a14:imgEffect>
                            <a14:backgroundRemoval t="0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482588" y="880360"/>
                  <a:ext cx="173869" cy="37387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155" name="Picture 5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70F4DC29-F39D-4C3A-BEC0-476C2A9A10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4" cstate="email">
                  <a:extLst>
                    <a:ext uri="{BEBA8EAE-BF5A-486C-A8C5-ECC9F3942E4B}">
                      <a14:imgProps xmlns:a14="http://schemas.microsoft.com/office/drawing/2010/main">
                        <a14:imgLayer r:embed="rId48">
                          <a14:imgEffect>
                            <a14:backgroundRemoval t="0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998899" y="1665803"/>
                  <a:ext cx="173869" cy="37387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197" name="Picture 5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9858E5D6-84FE-478E-9972-BC1C9D9E0C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4" cstate="email">
                  <a:extLst>
                    <a:ext uri="{BEBA8EAE-BF5A-486C-A8C5-ECC9F3942E4B}">
                      <a14:imgProps xmlns:a14="http://schemas.microsoft.com/office/drawing/2010/main">
                        <a14:imgLayer r:embed="rId49">
                          <a14:imgEffect>
                            <a14:backgroundRemoval t="0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994111" y="2382078"/>
                  <a:ext cx="173869" cy="37387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07" name="Picture 11" descr="Shape&#10;&#10;Description automatically generated">
                  <a:extLst>
                    <a:ext uri="{FF2B5EF4-FFF2-40B4-BE49-F238E27FC236}">
                      <a16:creationId xmlns:a16="http://schemas.microsoft.com/office/drawing/2014/main" id="{0D6F368E-4A20-493A-8A02-FE2AF19019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0" cstate="email">
                  <a:extLst>
                    <a:ext uri="{BEBA8EAE-BF5A-486C-A8C5-ECC9F3942E4B}">
                      <a14:imgProps xmlns:a14="http://schemas.microsoft.com/office/drawing/2010/main">
                        <a14:imgLayer r:embed="rId51">
                          <a14:imgEffect>
                            <a14:backgroundRemoval t="9695" b="89641" l="0" r="99855">
                              <a14:foregroundMark x1="80145" y1="58167" x2="87711" y2="57503"/>
                              <a14:foregroundMark x1="87711" y1="57503" x2="95470" y2="57769"/>
                              <a14:foregroundMark x1="95470" y1="57769" x2="99855" y2="57238"/>
                            </a14:backgroundRemoval>
                          </a14:imgEffect>
                          <a14:imgEffect>
                            <a14:sharpenSoften amount="25000"/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1461534" flipV="1">
                  <a:off x="5856415" y="2428353"/>
                  <a:ext cx="1224783" cy="40121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08" name="Picture 11" descr="Shape&#10;&#10;Description automatically generated">
                  <a:extLst>
                    <a:ext uri="{FF2B5EF4-FFF2-40B4-BE49-F238E27FC236}">
                      <a16:creationId xmlns:a16="http://schemas.microsoft.com/office/drawing/2014/main" id="{7437B5FF-0802-46B9-BA89-9AF3EFD01F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2" cstate="email">
                  <a:extLst>
                    <a:ext uri="{BEBA8EAE-BF5A-486C-A8C5-ECC9F3942E4B}">
                      <a14:imgProps xmlns:a14="http://schemas.microsoft.com/office/drawing/2010/main">
                        <a14:imgLayer r:embed="rId53">
                          <a14:imgEffect>
                            <a14:backgroundRemoval t="0" b="87150" l="0" r="99843">
                              <a14:foregroundMark x1="78418" y1="48105" x2="86642" y2="47282"/>
                              <a14:foregroundMark x1="86642" y1="47282" x2="95076" y2="47611"/>
                              <a14:foregroundMark x1="95076" y1="47611" x2="99843" y2="46952"/>
                            </a14:backgroundRemoval>
                          </a14:imgEffect>
                          <a14:imgEffect>
                            <a14:sharpenSoften amount="25000"/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2908467" flipV="1">
                  <a:off x="4998398" y="2151033"/>
                  <a:ext cx="1032742" cy="32361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193" name="Picture 5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FFE53EBD-328B-4F01-BFAF-6B3F56833A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4" cstate="email">
                  <a:extLst>
                    <a:ext uri="{BEBA8EAE-BF5A-486C-A8C5-ECC9F3942E4B}">
                      <a14:imgProps xmlns:a14="http://schemas.microsoft.com/office/drawing/2010/main">
                        <a14:imgLayer r:embed="rId54">
                          <a14:imgEffect>
                            <a14:backgroundRemoval t="0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823005" y="2062743"/>
                  <a:ext cx="173869" cy="37387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10" name="Picture 11" descr="Shape&#10;&#10;Description automatically generated">
                  <a:extLst>
                    <a:ext uri="{FF2B5EF4-FFF2-40B4-BE49-F238E27FC236}">
                      <a16:creationId xmlns:a16="http://schemas.microsoft.com/office/drawing/2014/main" id="{3E21D2AD-90AC-4585-8692-B0AD9591A6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5" cstate="email">
                  <a:extLst>
                    <a:ext uri="{BEBA8EAE-BF5A-486C-A8C5-ECC9F3942E4B}">
                      <a14:imgProps xmlns:a14="http://schemas.microsoft.com/office/drawing/2010/main">
                        <a14:imgLayer r:embed="rId56">
                          <a14:imgEffect>
                            <a14:backgroundRemoval t="9695" b="89641" l="0" r="100000">
                              <a14:foregroundMark x1="410" y1="51793" x2="99590" y2="53386"/>
                              <a14:foregroundMark x1="1230" y1="50465" x2="99590" y2="51394"/>
                            </a14:backgroundRemoval>
                          </a14:imgEffect>
                          <a14:imgEffect>
                            <a14:sharpenSoften amount="25000"/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8889809" flipV="1">
                  <a:off x="5511697" y="846386"/>
                  <a:ext cx="568917" cy="40121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12" name="Picture 11" descr="Shape&#10;&#10;Description automatically generated">
                  <a:extLst>
                    <a:ext uri="{FF2B5EF4-FFF2-40B4-BE49-F238E27FC236}">
                      <a16:creationId xmlns:a16="http://schemas.microsoft.com/office/drawing/2014/main" id="{BF73C25B-BBF3-4D86-A467-D758173B6AF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7" cstate="email">
                  <a:extLst>
                    <a:ext uri="{BEBA8EAE-BF5A-486C-A8C5-ECC9F3942E4B}">
                      <a14:imgProps xmlns:a14="http://schemas.microsoft.com/office/drawing/2010/main">
                        <a14:imgLayer r:embed="rId58">
                          <a14:imgEffect>
                            <a14:backgroundRemoval t="9695" b="89641" l="0" r="100000">
                              <a14:foregroundMark x1="54959" y1="54449" x2="138" y2="51793"/>
                              <a14:foregroundMark x1="77273" y1="52590" x2="413" y2="50465"/>
                            </a14:backgroundRemoval>
                          </a14:imgEffect>
                          <a14:imgEffect>
                            <a14:sharpenSoften amount="25000"/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8708062" flipV="1">
                  <a:off x="5902125" y="485050"/>
                  <a:ext cx="888588" cy="40121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13" name="Picture 11" descr="Shape&#10;&#10;Description automatically generated">
                  <a:extLst>
                    <a:ext uri="{FF2B5EF4-FFF2-40B4-BE49-F238E27FC236}">
                      <a16:creationId xmlns:a16="http://schemas.microsoft.com/office/drawing/2014/main" id="{830735BA-923E-49BD-83FA-4033EDDE94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9" cstate="email">
                  <a:extLst>
                    <a:ext uri="{BEBA8EAE-BF5A-486C-A8C5-ECC9F3942E4B}">
                      <a14:imgProps xmlns:a14="http://schemas.microsoft.com/office/drawing/2010/main">
                        <a14:imgLayer r:embed="rId60">
                          <a14:imgEffect>
                            <a14:backgroundRemoval t="9695" b="89641" l="0" r="99827">
                              <a14:foregroundMark x1="76281" y1="58167" x2="85320" y2="57503"/>
                              <a14:foregroundMark x1="85320" y1="57503" x2="94588" y2="57769"/>
                              <a14:foregroundMark x1="94588" y1="57769" x2="99827" y2="57238"/>
                            </a14:backgroundRemoval>
                          </a14:imgEffect>
                          <a14:imgEffect>
                            <a14:sharpenSoften amount="25000"/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4553766" flipV="1">
                  <a:off x="6274875" y="2072809"/>
                  <a:ext cx="1098731" cy="39494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14" name="Picture 11" descr="Shape&#10;&#10;Description automatically generated">
                  <a:extLst>
                    <a:ext uri="{FF2B5EF4-FFF2-40B4-BE49-F238E27FC236}">
                      <a16:creationId xmlns:a16="http://schemas.microsoft.com/office/drawing/2014/main" id="{89569CE1-93A8-4CF1-A045-0160C3CF6E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1" cstate="email">
                  <a:extLst>
                    <a:ext uri="{BEBA8EAE-BF5A-486C-A8C5-ECC9F3942E4B}">
                      <a14:imgProps xmlns:a14="http://schemas.microsoft.com/office/drawing/2010/main">
                        <a14:imgLayer r:embed="rId62">
                          <a14:imgEffect>
                            <a14:backgroundRemoval t="9695" b="89641" l="0" r="99701">
                              <a14:foregroundMark x1="58882" y1="58167" x2="74551" y2="57503"/>
                              <a14:foregroundMark x1="74551" y1="57503" x2="90619" y2="57769"/>
                              <a14:foregroundMark x1="90619" y1="57769" x2="99701" y2="57238"/>
                            </a14:backgroundRemoval>
                          </a14:imgEffect>
                          <a14:imgEffect>
                            <a14:sharpenSoften amount="25000"/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-1"/>
                <a:stretch/>
              </p:blipFill>
              <p:spPr>
                <a:xfrm rot="18533682" flipV="1">
                  <a:off x="6425440" y="1299479"/>
                  <a:ext cx="902123" cy="39494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15" name="Picture 11" descr="Shape&#10;&#10;Description automatically generated">
                  <a:extLst>
                    <a:ext uri="{FF2B5EF4-FFF2-40B4-BE49-F238E27FC236}">
                      <a16:creationId xmlns:a16="http://schemas.microsoft.com/office/drawing/2014/main" id="{A47AFB22-5753-4DCD-ABAA-9371C32694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3" cstate="email">
                  <a:extLst>
                    <a:ext uri="{BEBA8EAE-BF5A-486C-A8C5-ECC9F3942E4B}">
                      <a14:imgProps xmlns:a14="http://schemas.microsoft.com/office/drawing/2010/main">
                        <a14:imgLayer r:embed="rId64">
                          <a14:imgEffect>
                            <a14:backgroundRemoval t="9695" b="89641" l="0" r="99467">
                              <a14:foregroundMark x1="26821" y1="58167" x2="54707" y2="57503"/>
                              <a14:foregroundMark x1="54707" y1="57503" x2="83304" y2="57769"/>
                              <a14:foregroundMark x1="83304" y1="57769" x2="99467" y2="57238"/>
                            </a14:backgroundRemoval>
                          </a14:imgEffect>
                          <a14:imgEffect>
                            <a14:sharpenSoften amount="25000"/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1499587" flipV="1">
                  <a:off x="6024646" y="813349"/>
                  <a:ext cx="1103697" cy="40121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62" name="Picture 11" descr="Shape&#10;&#10;Description automatically generated">
                  <a:extLst>
                    <a:ext uri="{FF2B5EF4-FFF2-40B4-BE49-F238E27FC236}">
                      <a16:creationId xmlns:a16="http://schemas.microsoft.com/office/drawing/2014/main" id="{BA13F956-AF85-4DAF-A789-6680BBE1CC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5" cstate="email">
                  <a:extLst>
                    <a:ext uri="{BEBA8EAE-BF5A-486C-A8C5-ECC9F3942E4B}">
                      <a14:imgProps xmlns:a14="http://schemas.microsoft.com/office/drawing/2010/main">
                        <a14:imgLayer r:embed="rId66">
                          <a14:imgEffect>
                            <a14:backgroundRemoval t="9695" b="89641" l="0" r="99620">
                              <a14:foregroundMark x1="47848" y1="58167" x2="67722" y2="57503"/>
                              <a14:foregroundMark x1="67722" y1="57503" x2="88101" y2="57769"/>
                              <a14:foregroundMark x1="88101" y1="57769" x2="99620" y2="57238"/>
                            </a14:backgroundRemoval>
                          </a14:imgEffect>
                          <a14:imgEffect>
                            <a14:sharpenSoften amount="25000"/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8120147" flipV="1">
                  <a:off x="5693421" y="1948960"/>
                  <a:ext cx="1000351" cy="40121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C60DC378-0CB7-434C-8995-631F94E1843C}"/>
                    </a:ext>
                  </a:extLst>
                </p:cNvPr>
                <p:cNvSpPr txBox="1"/>
                <p:nvPr/>
              </p:nvSpPr>
              <p:spPr>
                <a:xfrm>
                  <a:off x="5243133" y="2308169"/>
                  <a:ext cx="1285836" cy="46166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Efficient Auto Testing and TDD</a:t>
                  </a:r>
                </a:p>
              </p:txBody>
            </p:sp>
            <p:pic>
              <p:nvPicPr>
                <p:cNvPr id="198" name="Picture 5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DC5A8157-736E-4486-BADD-29B212BBF1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4" cstate="email">
                  <a:extLst>
                    <a:ext uri="{BEBA8EAE-BF5A-486C-A8C5-ECC9F3942E4B}">
                      <a14:imgProps xmlns:a14="http://schemas.microsoft.com/office/drawing/2010/main">
                        <a14:imgLayer r:embed="rId67">
                          <a14:imgEffect>
                            <a14:backgroundRemoval t="0" b="100000" l="0" r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481041" y="1468453"/>
                  <a:ext cx="173869" cy="37387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</p:grp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D567C515-8BD0-4811-BD12-E99CF3EBDA02}"/>
                  </a:ext>
                </a:extLst>
              </p:cNvPr>
              <p:cNvSpPr txBox="1"/>
              <p:nvPr/>
            </p:nvSpPr>
            <p:spPr>
              <a:xfrm>
                <a:off x="4271007" y="1902444"/>
                <a:ext cx="1743981" cy="27706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91458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>
                    <a:solidFill>
                      <a:prstClr val="white"/>
                    </a:solidFill>
                    <a:latin typeface="Calibri" panose="020F0502020204030204"/>
                    <a:ea typeface="+mn-ea"/>
                  </a:rPr>
                  <a:t>Scaling Infrastructure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BC94C68-CFCD-4E6E-9C23-709A4B55D5ED}"/>
                  </a:ext>
                </a:extLst>
              </p:cNvPr>
              <p:cNvSpPr txBox="1"/>
              <p:nvPr/>
            </p:nvSpPr>
            <p:spPr>
              <a:xfrm>
                <a:off x="4243817" y="867677"/>
                <a:ext cx="1743981" cy="4617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91458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>
                    <a:solidFill>
                      <a:prstClr val="white"/>
                    </a:solidFill>
                    <a:latin typeface="Calibri" panose="020F0502020204030204"/>
                    <a:ea typeface="+mn-ea"/>
                  </a:rPr>
                  <a:t>Robust Test Infrastructure</a:t>
                </a:r>
              </a:p>
            </p:txBody>
          </p:sp>
        </p:grp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73C55491-7C55-4820-988B-0F128F29E02F}"/>
              </a:ext>
            </a:extLst>
          </p:cNvPr>
          <p:cNvSpPr txBox="1"/>
          <p:nvPr/>
        </p:nvSpPr>
        <p:spPr>
          <a:xfrm>
            <a:off x="6665916" y="209772"/>
            <a:ext cx="1391975" cy="2770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EC6602"/>
                </a:solidFill>
                <a:latin typeface="Calibri" panose="020F0502020204030204"/>
                <a:ea typeface="+mn-ea"/>
              </a:rPr>
              <a:t>Test Automa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3B6CC0A-578A-430F-A597-DB617E6CBFF1}"/>
              </a:ext>
            </a:extLst>
          </p:cNvPr>
          <p:cNvSpPr txBox="1"/>
          <p:nvPr/>
        </p:nvSpPr>
        <p:spPr>
          <a:xfrm>
            <a:off x="6491770" y="3835519"/>
            <a:ext cx="1234049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4"/>
                </a:solidFill>
              </a:defRPr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C000"/>
                </a:solidFill>
                <a:latin typeface="Calibri" panose="020F0502020204030204"/>
                <a:ea typeface="+mn-ea"/>
              </a:rPr>
              <a:t>FLOW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02A6FF9-8292-492B-8250-D364AEDD0372}"/>
              </a:ext>
            </a:extLst>
          </p:cNvPr>
          <p:cNvSpPr txBox="1"/>
          <p:nvPr/>
        </p:nvSpPr>
        <p:spPr>
          <a:xfrm>
            <a:off x="2773619" y="6063002"/>
            <a:ext cx="1564467" cy="6464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EC6602"/>
                </a:solidFill>
                <a:latin typeface="Calibri" panose="020F0502020204030204"/>
                <a:ea typeface="+mn-ea"/>
              </a:rPr>
              <a:t>Release independence of modu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D18CF4D-745E-4C98-8BCC-DF3F9D5D09E0}"/>
              </a:ext>
            </a:extLst>
          </p:cNvPr>
          <p:cNvSpPr txBox="1"/>
          <p:nvPr/>
        </p:nvSpPr>
        <p:spPr>
          <a:xfrm>
            <a:off x="-64359" y="1693522"/>
            <a:ext cx="1325255" cy="46177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EC6602"/>
                </a:solidFill>
                <a:latin typeface="Calibri" panose="020F0502020204030204"/>
                <a:ea typeface="+mn-ea"/>
              </a:rPr>
              <a:t>Smooth System installa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FBAA984-2FE5-4AEC-9DF2-30FA03178B26}"/>
              </a:ext>
            </a:extLst>
          </p:cNvPr>
          <p:cNvSpPr txBox="1"/>
          <p:nvPr/>
        </p:nvSpPr>
        <p:spPr>
          <a:xfrm>
            <a:off x="5620185" y="6139469"/>
            <a:ext cx="1391975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EC6602"/>
                </a:solidFill>
                <a:latin typeface="Calibri" panose="020F0502020204030204"/>
                <a:ea typeface="+mn-ea"/>
              </a:rPr>
              <a:t>High product quality</a:t>
            </a:r>
          </a:p>
        </p:txBody>
      </p:sp>
      <p:sp>
        <p:nvSpPr>
          <p:cNvPr id="167" name="Title 1">
            <a:extLst>
              <a:ext uri="{FF2B5EF4-FFF2-40B4-BE49-F238E27FC236}">
                <a16:creationId xmlns:a16="http://schemas.microsoft.com/office/drawing/2014/main" id="{2C2A94C2-7B98-4B75-BB4F-9FBEBD92740E}"/>
              </a:ext>
            </a:extLst>
          </p:cNvPr>
          <p:cNvSpPr txBox="1">
            <a:spLocks/>
          </p:cNvSpPr>
          <p:nvPr/>
        </p:nvSpPr>
        <p:spPr>
          <a:xfrm>
            <a:off x="545076" y="125430"/>
            <a:ext cx="9232051" cy="8331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583" rtl="0" eaLnBrk="1" latinLnBrk="0" hangingPunct="1">
              <a:spcBef>
                <a:spcPct val="0"/>
              </a:spcBef>
              <a:buNone/>
              <a:defRPr sz="2801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5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1" i="0" u="none" strike="noStrike" kern="1200" cap="none" spc="0" normalizeH="0" baseline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DevOps is a journey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A12B10DF-B2FE-4165-B0B5-50F1C3805758}"/>
              </a:ext>
            </a:extLst>
          </p:cNvPr>
          <p:cNvSpPr txBox="1"/>
          <p:nvPr/>
        </p:nvSpPr>
        <p:spPr>
          <a:xfrm>
            <a:off x="11215149" y="4390812"/>
            <a:ext cx="1093935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EC6602"/>
                </a:solidFill>
                <a:latin typeface="Calibri" panose="020F0502020204030204"/>
                <a:ea typeface="+mn-ea"/>
              </a:rPr>
              <a:t>SW Integration</a:t>
            </a:r>
          </a:p>
        </p:txBody>
      </p:sp>
      <p:pic>
        <p:nvPicPr>
          <p:cNvPr id="129" name="Picture 5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42D0769E-9E71-413F-A572-6C08D1811044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48966" y="85753"/>
            <a:ext cx="173869" cy="3738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1373115C-F701-4478-BCAB-4BA05E21D753}"/>
              </a:ext>
            </a:extLst>
          </p:cNvPr>
          <p:cNvSpPr txBox="1"/>
          <p:nvPr/>
        </p:nvSpPr>
        <p:spPr>
          <a:xfrm>
            <a:off x="-76625" y="5578701"/>
            <a:ext cx="1564467" cy="2770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EC6602"/>
                </a:solidFill>
                <a:latin typeface="Calibri" panose="020F0502020204030204"/>
                <a:ea typeface="+mn-ea"/>
              </a:rPr>
              <a:t>SW verified SW</a:t>
            </a:r>
          </a:p>
        </p:txBody>
      </p:sp>
      <p:pic>
        <p:nvPicPr>
          <p:cNvPr id="221" name="Picture 6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B09E6116-0F2E-4B55-8E02-AC2BE5BC0CB5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8">
                    <a14:imgEffect>
                      <a14:backgroundRemoval t="0" b="100000" l="0" r="89000">
                        <a14:foregroundMark x1="49000" y1="11170" x2="62000" y2="51596"/>
                        <a14:foregroundMark x1="62000" y1="51596" x2="54000" y2="71277"/>
                        <a14:foregroundMark x1="54000" y1="71277" x2="56000" y2="88830"/>
                        <a14:foregroundMark x1="89000" y1="66489" x2="90000" y2="60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6137" y="5118056"/>
            <a:ext cx="202478" cy="3787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224" name="Picture 6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93DE6E58-B5EA-46B6-ABE4-A29C01C3A3E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100000" l="0" r="89000">
                        <a14:foregroundMark x1="49000" y1="11170" x2="62000" y2="51596"/>
                        <a14:foregroundMark x1="62000" y1="51596" x2="54000" y2="71277"/>
                        <a14:foregroundMark x1="54000" y1="71277" x2="56000" y2="88830"/>
                        <a14:foregroundMark x1="89000" y1="66489" x2="90000" y2="60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47159" y="5709626"/>
            <a:ext cx="202478" cy="3787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6504A366-8726-45AF-8D3E-19501C006727}"/>
              </a:ext>
            </a:extLst>
          </p:cNvPr>
          <p:cNvSpPr txBox="1"/>
          <p:nvPr/>
        </p:nvSpPr>
        <p:spPr>
          <a:xfrm>
            <a:off x="3617130" y="4024733"/>
            <a:ext cx="222698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4"/>
                </a:solidFill>
              </a:defRPr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C000"/>
                </a:solidFill>
                <a:latin typeface="Calibri" panose="020F0502020204030204"/>
                <a:ea typeface="+mn-ea"/>
              </a:rPr>
              <a:t>Trunk-based </a:t>
            </a:r>
            <a:br>
              <a:rPr lang="en-US">
                <a:solidFill>
                  <a:srgbClr val="FFC000"/>
                </a:solidFill>
                <a:latin typeface="Calibri" panose="020F0502020204030204"/>
                <a:ea typeface="+mn-ea"/>
              </a:rPr>
            </a:br>
            <a:r>
              <a:rPr lang="en-US">
                <a:solidFill>
                  <a:srgbClr val="FFC000"/>
                </a:solidFill>
                <a:latin typeface="Calibri" panose="020F0502020204030204"/>
                <a:ea typeface="+mn-ea"/>
              </a:rPr>
              <a:t>development</a:t>
            </a:r>
          </a:p>
        </p:txBody>
      </p:sp>
      <p:pic>
        <p:nvPicPr>
          <p:cNvPr id="242" name="Picture 4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74F22A62-72A1-4CF0-9CE9-C757B3210740}"/>
              </a:ext>
            </a:extLst>
          </p:cNvPr>
          <p:cNvPicPr>
            <a:picLocks noChangeAspect="1"/>
          </p:cNvPicPr>
          <p:nvPr/>
        </p:nvPicPr>
        <p:blipFill rotWithShape="1">
          <a:blip r:embed="rId69" cstate="email">
            <a:extLst>
              <a:ext uri="{BEBA8EAE-BF5A-486C-A8C5-ECC9F3942E4B}">
                <a14:imgProps xmlns:a14="http://schemas.microsoft.com/office/drawing/2010/main">
                  <a14:imgLayer r:embed="rId70">
                    <a14:imgEffect>
                      <a14:backgroundRemoval t="0" b="100000" l="0" r="100000">
                        <a14:foregroundMark x1="45977" y1="93011" x2="47126" y2="11290"/>
                        <a14:foregroundMark x1="47126" y1="11290" x2="48276" y2="8602"/>
                        <a14:foregroundMark x1="72414" y1="11290" x2="28736" y2="10215"/>
                        <a14:foregroundMark x1="28736" y1="10215" x2="56322" y2="86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6336" y="1323164"/>
            <a:ext cx="175674" cy="37880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250" name="Picture 190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4A1A4028-5F0F-4A88-907F-94E185FF80D9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email"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backgroundRemoval t="0" b="100000" l="11494" r="100000">
                        <a14:foregroundMark x1="57471" y1="78571" x2="47126" y2="59694"/>
                        <a14:foregroundMark x1="47126" y1="59694" x2="54023" y2="21429"/>
                        <a14:foregroundMark x1="54023" y1="21429" x2="45977" y2="7653"/>
                        <a14:foregroundMark x1="17241" y1="9184" x2="31034" y2="16327"/>
                        <a14:foregroundMark x1="12644" y1="13265" x2="11494" y2="127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11355" y="2106292"/>
            <a:ext cx="177332" cy="398936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B7A3A57-BB6B-413E-8747-0AB927E89D32}"/>
              </a:ext>
            </a:extLst>
          </p:cNvPr>
          <p:cNvSpPr txBox="1"/>
          <p:nvPr/>
        </p:nvSpPr>
        <p:spPr>
          <a:xfrm>
            <a:off x="10819864" y="2142656"/>
            <a:ext cx="1391975" cy="46177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EC6602"/>
                </a:solidFill>
                <a:latin typeface="Calibri" panose="020F0502020204030204"/>
                <a:ea typeface="+mn-ea"/>
              </a:rPr>
              <a:t>Efficient SW developmen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3F18505-C806-43EA-AE17-A7B6C23EDA1B}"/>
              </a:ext>
            </a:extLst>
          </p:cNvPr>
          <p:cNvSpPr txBox="1"/>
          <p:nvPr/>
        </p:nvSpPr>
        <p:spPr>
          <a:xfrm>
            <a:off x="5785955" y="5097734"/>
            <a:ext cx="139197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4"/>
                </a:solidFill>
              </a:defRPr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C000"/>
                </a:solidFill>
                <a:latin typeface="Calibri" panose="020F0502020204030204"/>
                <a:ea typeface="+mn-ea"/>
              </a:rPr>
              <a:t>Operations</a:t>
            </a:r>
          </a:p>
        </p:txBody>
      </p:sp>
      <p:pic>
        <p:nvPicPr>
          <p:cNvPr id="260" name="Picture 5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9C03A9E4-B53B-4690-B4EA-A808BDFF4AD8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1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4982" y="6030790"/>
            <a:ext cx="173869" cy="3738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265" name="Picture 4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C5955E64-5558-4FEF-A876-05CF53A6AC4B}"/>
              </a:ext>
            </a:extLst>
          </p:cNvPr>
          <p:cNvPicPr>
            <a:picLocks noChangeAspect="1"/>
          </p:cNvPicPr>
          <p:nvPr/>
        </p:nvPicPr>
        <p:blipFill rotWithShape="1">
          <a:blip r:embed="rId69" cstate="email">
            <a:extLst>
              <a:ext uri="{BEBA8EAE-BF5A-486C-A8C5-ECC9F3942E4B}">
                <a14:imgProps xmlns:a14="http://schemas.microsoft.com/office/drawing/2010/main">
                  <a14:imgLayer r:embed="rId72">
                    <a14:imgEffect>
                      <a14:backgroundRemoval t="0" b="100000" l="0" r="100000">
                        <a14:foregroundMark x1="45977" y1="93011" x2="47126" y2="11290"/>
                        <a14:foregroundMark x1="47126" y1="11290" x2="48276" y2="8602"/>
                        <a14:foregroundMark x1="72414" y1="11290" x2="28736" y2="10215"/>
                        <a14:foregroundMark x1="28736" y1="10215" x2="56322" y2="86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551" y="4141338"/>
            <a:ext cx="175674" cy="37880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290A980C-BC33-4470-B7E6-FC55BD8478B4}"/>
              </a:ext>
            </a:extLst>
          </p:cNvPr>
          <p:cNvGrpSpPr/>
          <p:nvPr/>
        </p:nvGrpSpPr>
        <p:grpSpPr>
          <a:xfrm>
            <a:off x="998060" y="435243"/>
            <a:ext cx="4464401" cy="4659740"/>
            <a:chOff x="998060" y="435243"/>
            <a:chExt cx="4464401" cy="465974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FC0F07D-5A2D-4890-B88A-128D1716E692}"/>
                </a:ext>
              </a:extLst>
            </p:cNvPr>
            <p:cNvSpPr txBox="1"/>
            <p:nvPr/>
          </p:nvSpPr>
          <p:spPr>
            <a:xfrm>
              <a:off x="1691601" y="435243"/>
              <a:ext cx="1325255" cy="46177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Smooth SW installation</a:t>
              </a:r>
            </a:p>
          </p:txBody>
        </p:sp>
        <p:pic>
          <p:nvPicPr>
            <p:cNvPr id="240" name="Picture 4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08E697B1-E0ED-4772-AD44-E06981074C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9" cstate="email">
              <a:extLst>
                <a:ext uri="{BEBA8EAE-BF5A-486C-A8C5-ECC9F3942E4B}">
                  <a14:imgProps xmlns:a14="http://schemas.microsoft.com/office/drawing/2010/main">
                    <a14:imgLayer r:embed="rId70">
                      <a14:imgEffect>
                        <a14:backgroundRemoval t="0" b="100000" l="0" r="100000">
                          <a14:foregroundMark x1="45977" y1="93011" x2="47126" y2="11290"/>
                          <a14:foregroundMark x1="47126" y1="11290" x2="48276" y2="8602"/>
                          <a14:foregroundMark x1="72414" y1="11290" x2="28736" y2="10215"/>
                          <a14:foregroundMark x1="28736" y1="10215" x2="56322" y2="860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63068" y="824024"/>
              <a:ext cx="175674" cy="378807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E02FC9E-A74F-4C29-809F-27D4AEDDADC1}"/>
                </a:ext>
              </a:extLst>
            </p:cNvPr>
            <p:cNvGrpSpPr/>
            <p:nvPr/>
          </p:nvGrpSpPr>
          <p:grpSpPr>
            <a:xfrm>
              <a:off x="998060" y="1054180"/>
              <a:ext cx="4464401" cy="4040803"/>
              <a:chOff x="998060" y="1054180"/>
              <a:chExt cx="4464401" cy="4040803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CB5A38B1-6E4E-425D-9E8E-7D6185180604}"/>
                  </a:ext>
                </a:extLst>
              </p:cNvPr>
              <p:cNvGrpSpPr/>
              <p:nvPr/>
            </p:nvGrpSpPr>
            <p:grpSpPr>
              <a:xfrm>
                <a:off x="998060" y="1054180"/>
                <a:ext cx="4464401" cy="4040803"/>
                <a:chOff x="998060" y="1054180"/>
                <a:chExt cx="4464401" cy="4040803"/>
              </a:xfrm>
            </p:grpSpPr>
            <p:pic>
              <p:nvPicPr>
                <p:cNvPr id="263" name="Picture 7" descr="Shape&#10;&#10;Description automatically generated">
                  <a:extLst>
                    <a:ext uri="{FF2B5EF4-FFF2-40B4-BE49-F238E27FC236}">
                      <a16:creationId xmlns:a16="http://schemas.microsoft.com/office/drawing/2014/main" id="{1CFB4179-3922-4D99-B203-C611DF6F23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3" cstate="email">
                  <a:duotone>
                    <a:prstClr val="black"/>
                    <a:srgbClr val="FFD2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74">
                          <a14:imgEffect>
                            <a14:backgroundRemoval t="9695" b="89641" l="0" r="99807">
                              <a14:foregroundMark x1="73471" y1="58167" x2="83580" y2="57503"/>
                              <a14:foregroundMark x1="83580" y1="57503" x2="93947" y2="57769"/>
                              <a14:foregroundMark x1="93947" y1="57769" x2="99807" y2="57238"/>
                            </a14:backgroundRemoval>
                          </a14:imgEffect>
                          <a14:imgEffect>
                            <a14:sharpenSoften amount="50000"/>
                          </a14:imgEffect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21404687" flipV="1">
                  <a:off x="1926959" y="2862655"/>
                  <a:ext cx="1599738" cy="503658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51581D0A-4E18-46E9-AB44-3115A8A67D30}"/>
                    </a:ext>
                  </a:extLst>
                </p:cNvPr>
                <p:cNvSpPr txBox="1"/>
                <p:nvPr/>
              </p:nvSpPr>
              <p:spPr>
                <a:xfrm>
                  <a:off x="2022641" y="2151192"/>
                  <a:ext cx="1743981" cy="46177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Stable and scaling Infrastructure</a:t>
                  </a: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9119F1B4-7EAA-4315-8009-1AEE1E93E836}"/>
                    </a:ext>
                  </a:extLst>
                </p:cNvPr>
                <p:cNvSpPr txBox="1"/>
                <p:nvPr/>
              </p:nvSpPr>
              <p:spPr>
                <a:xfrm>
                  <a:off x="2841934" y="3008190"/>
                  <a:ext cx="1483351" cy="46166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Automatic System installation</a:t>
                  </a:r>
                </a:p>
              </p:txBody>
            </p:sp>
            <p:pic>
              <p:nvPicPr>
                <p:cNvPr id="232" name="Picture 7" descr="Shape&#10;&#10;Description automatically generated">
                  <a:extLst>
                    <a:ext uri="{FF2B5EF4-FFF2-40B4-BE49-F238E27FC236}">
                      <a16:creationId xmlns:a16="http://schemas.microsoft.com/office/drawing/2014/main" id="{46B2E5BA-E49E-4165-B152-A47808DC7C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5" cstate="email">
                  <a:duotone>
                    <a:prstClr val="black"/>
                    <a:srgbClr val="F7E773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76">
                          <a14:imgEffect>
                            <a14:backgroundRemoval t="9695" b="89641" l="0" r="100000">
                              <a14:foregroundMark x1="11436" y1="54449" x2="29" y2="51793"/>
                              <a14:foregroundMark x1="16079" y1="52590" x2="86" y2="50465"/>
                            </a14:backgroundRemoval>
                          </a14:imgEffect>
                          <a14:imgEffect>
                            <a14:sharpenSoften amount="50000"/>
                          </a14:imgEffect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2752390" flipV="1">
                  <a:off x="3911493" y="3544015"/>
                  <a:ext cx="2640340" cy="461596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36" name="Picture 7" descr="Shape&#10;&#10;Description automatically generated">
                  <a:extLst>
                    <a:ext uri="{FF2B5EF4-FFF2-40B4-BE49-F238E27FC236}">
                      <a16:creationId xmlns:a16="http://schemas.microsoft.com/office/drawing/2014/main" id="{7950C7B1-F452-4042-A2D7-2A017545E6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7" cstate="email">
                  <a:duotone>
                    <a:prstClr val="black"/>
                    <a:srgbClr val="F7E773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78">
                          <a14:imgEffect>
                            <a14:backgroundRemoval t="9695" b="89641" l="0" r="99769">
                              <a14:foregroundMark x1="68308" y1="58167" x2="80385" y2="57503"/>
                              <a14:foregroundMark x1="80385" y1="57503" x2="92769" y2="57769"/>
                              <a14:foregroundMark x1="92769" y1="57769" x2="99769" y2="57238"/>
                            </a14:backgroundRemoval>
                          </a14:imgEffect>
                          <a14:imgEffect>
                            <a14:sharpenSoften amount="50000"/>
                          </a14:imgEffect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7999746" flipV="1">
                  <a:off x="3319359" y="2370082"/>
                  <a:ext cx="1016501" cy="503658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38" name="Picture 7" descr="Shape&#10;&#10;Description automatically generated">
                  <a:extLst>
                    <a:ext uri="{FF2B5EF4-FFF2-40B4-BE49-F238E27FC236}">
                      <a16:creationId xmlns:a16="http://schemas.microsoft.com/office/drawing/2014/main" id="{7945A370-14E5-449D-99B6-20966098DE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9" cstate="email">
                  <a:duotone>
                    <a:prstClr val="black"/>
                    <a:srgbClr val="F7E773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80">
                          <a14:imgEffect>
                            <a14:backgroundRemoval t="9695" b="89641" l="0" r="100000">
                              <a14:foregroundMark x1="27689" y1="54449" x2="69" y2="51793"/>
                              <a14:foregroundMark x1="38931" y1="52590" x2="208" y2="50465"/>
                            </a14:backgroundRemoval>
                          </a14:imgEffect>
                          <a14:imgEffect>
                            <a14:sharpenSoften amount="50000"/>
                          </a14:imgEffect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0800000" flipV="1">
                  <a:off x="2894275" y="1877167"/>
                  <a:ext cx="1183964" cy="503658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33" name="Picture 7" descr="Shape&#10;&#10;Description automatically generated">
                  <a:extLst>
                    <a:ext uri="{FF2B5EF4-FFF2-40B4-BE49-F238E27FC236}">
                      <a16:creationId xmlns:a16="http://schemas.microsoft.com/office/drawing/2014/main" id="{FF481E6F-7383-4F40-82D3-84B03520A6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1" cstate="email">
                  <a:duotone>
                    <a:prstClr val="black"/>
                    <a:srgbClr val="F7E773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82">
                          <a14:imgEffect>
                            <a14:backgroundRemoval t="9695" b="89641" l="0" r="100000">
                              <a14:foregroundMark x1="50958" y1="54449" x2="128" y2="51793"/>
                              <a14:foregroundMark x1="71648" y1="52590" x2="383" y2="50465"/>
                            </a14:backgroundRemoval>
                          </a14:imgEffect>
                          <a14:imgEffect>
                            <a14:sharpenSoften amount="50000"/>
                          </a14:imgEffect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9797514" flipV="1">
                  <a:off x="3524660" y="2658967"/>
                  <a:ext cx="775140" cy="503658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34" name="Picture 4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C8CFDD1E-B428-447D-A170-6BFEFF02DF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9" cstate="email">
                  <a:extLst>
                    <a:ext uri="{BEBA8EAE-BF5A-486C-A8C5-ECC9F3942E4B}">
                      <a14:imgProps xmlns:a14="http://schemas.microsoft.com/office/drawing/2010/main">
                        <a14:imgLayer r:embed="rId70">
                          <a14:imgEffect>
                            <a14:backgroundRemoval t="0" b="100000" l="0" r="100000">
                              <a14:foregroundMark x1="45977" y1="93011" x2="47126" y2="11290"/>
                              <a14:foregroundMark x1="47126" y1="11290" x2="48276" y2="8602"/>
                              <a14:foregroundMark x1="72414" y1="11290" x2="28736" y2="10215"/>
                              <a14:foregroundMark x1="28736" y1="10215" x2="56322" y2="8602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3458216" y="2713032"/>
                  <a:ext cx="175674" cy="37880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39" name="Picture 7" descr="Shape&#10;&#10;Description automatically generated">
                  <a:extLst>
                    <a:ext uri="{FF2B5EF4-FFF2-40B4-BE49-F238E27FC236}">
                      <a16:creationId xmlns:a16="http://schemas.microsoft.com/office/drawing/2014/main" id="{E3DD749B-AF65-45AE-8DD4-596780ADA4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3" cstate="email">
                  <a:duotone>
                    <a:prstClr val="black"/>
                    <a:srgbClr val="F7E773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84">
                          <a14:imgEffect>
                            <a14:backgroundRemoval t="9695" b="89641" l="0" r="100000">
                              <a14:foregroundMark x1="24094" y1="54449" x2="60" y2="51793"/>
                              <a14:foregroundMark x1="33877" y1="52590" x2="181" y2="50465"/>
                            </a14:backgroundRemoval>
                          </a14:imgEffect>
                          <a14:imgEffect>
                            <a14:sharpenSoften amount="50000"/>
                          </a14:imgEffect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-5820"/>
                <a:stretch/>
              </p:blipFill>
              <p:spPr>
                <a:xfrm rot="14087857" flipV="1">
                  <a:off x="2031833" y="1369746"/>
                  <a:ext cx="1164101" cy="532970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35" name="Picture 4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390DA0FC-7734-41F2-BDDD-3AD2C3852D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9" cstate="email">
                  <a:extLst>
                    <a:ext uri="{BEBA8EAE-BF5A-486C-A8C5-ECC9F3942E4B}">
                      <a14:imgProps xmlns:a14="http://schemas.microsoft.com/office/drawing/2010/main">
                        <a14:imgLayer r:embed="rId70">
                          <a14:imgEffect>
                            <a14:backgroundRemoval t="0" b="100000" l="0" r="100000">
                              <a14:foregroundMark x1="45977" y1="93011" x2="47126" y2="11290"/>
                              <a14:foregroundMark x1="47126" y1="11290" x2="48276" y2="8602"/>
                              <a14:foregroundMark x1="72414" y1="11290" x2="28736" y2="10215"/>
                              <a14:foregroundMark x1="28736" y1="10215" x2="56322" y2="8602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2854907" y="1843587"/>
                  <a:ext cx="175674" cy="37880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37" name="Picture 4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281E53D7-3222-4F21-9757-9D48BFFCEB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9" cstate="email">
                  <a:extLst>
                    <a:ext uri="{BEBA8EAE-BF5A-486C-A8C5-ECC9F3942E4B}">
                      <a14:imgProps xmlns:a14="http://schemas.microsoft.com/office/drawing/2010/main">
                        <a14:imgLayer r:embed="rId85">
                          <a14:imgEffect>
                            <a14:backgroundRemoval t="0" b="100000" l="0" r="100000">
                              <a14:foregroundMark x1="45977" y1="93011" x2="47126" y2="11290"/>
                              <a14:foregroundMark x1="47126" y1="11290" x2="48276" y2="8602"/>
                              <a14:foregroundMark x1="72414" y1="11290" x2="28736" y2="10215"/>
                              <a14:foregroundMark x1="28736" y1="10215" x2="56322" y2="8602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3939662" y="1735005"/>
                  <a:ext cx="175674" cy="37880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41" name="Picture 7" descr="Shape&#10;&#10;Description automatically generated">
                  <a:extLst>
                    <a:ext uri="{FF2B5EF4-FFF2-40B4-BE49-F238E27FC236}">
                      <a16:creationId xmlns:a16="http://schemas.microsoft.com/office/drawing/2014/main" id="{34E06BE0-16C9-493A-A878-6C484354AE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6" cstate="email">
                  <a:duotone>
                    <a:prstClr val="black"/>
                    <a:srgbClr val="F7E773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87">
                          <a14:imgEffect>
                            <a14:backgroundRemoval t="0" b="83007" l="0" r="99817">
                              <a14:foregroundMark x1="74863" y1="31373" x2="84442" y2="30283"/>
                              <a14:foregroundMark x1="84442" y1="30283" x2="94265" y2="30719"/>
                              <a14:foregroundMark x1="94265" y1="30719" x2="99817" y2="29847"/>
                            </a14:backgroundRemoval>
                          </a14:imgEffect>
                          <a14:imgEffect>
                            <a14:sharpenSoften amount="50000"/>
                          </a14:imgEffect>
                          <a14:imgEffect>
                            <a14:brightnessContrast bright="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-1380" b="-7515"/>
                <a:stretch/>
              </p:blipFill>
              <p:spPr>
                <a:xfrm rot="9147954" flipV="1">
                  <a:off x="1248912" y="1338655"/>
                  <a:ext cx="1129484" cy="342299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43" name="Picture 7" descr="Shape&#10;&#10;Description automatically generated">
                  <a:extLst>
                    <a:ext uri="{FF2B5EF4-FFF2-40B4-BE49-F238E27FC236}">
                      <a16:creationId xmlns:a16="http://schemas.microsoft.com/office/drawing/2014/main" id="{3C3D5632-179B-4239-BE78-6988D51528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8" cstate="email">
                  <a:duotone>
                    <a:prstClr val="black"/>
                    <a:srgbClr val="FFD200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89">
                          <a14:imgEffect>
                            <a14:backgroundRemoval t="9695" b="89641" l="0" r="99896">
                              <a14:foregroundMark x1="85709" y1="58167" x2="91155" y2="57503"/>
                              <a14:foregroundMark x1="91155" y1="57503" x2="96740" y2="57769"/>
                              <a14:foregroundMark x1="96740" y1="57769" x2="99896" y2="57238"/>
                            </a14:backgroundRemoval>
                          </a14:imgEffect>
                          <a14:imgEffect>
                            <a14:sharpenSoften amount="50000"/>
                          </a14:imgEffect>
                          <a14:imgEffect>
                            <a14:saturation sat="400000"/>
                          </a14:imgEffect>
                          <a14:imgEffect>
                            <a14:brightnessContrast bright="4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8051001" flipV="1">
                  <a:off x="306361" y="3556860"/>
                  <a:ext cx="1948576" cy="503658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44" name="Picture 4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95336361-3587-4321-B4A3-9DEF8B9004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9" cstate="email">
                  <a:extLst>
                    <a:ext uri="{BEBA8EAE-BF5A-486C-A8C5-ECC9F3942E4B}">
                      <a14:imgProps xmlns:a14="http://schemas.microsoft.com/office/drawing/2010/main">
                        <a14:imgLayer r:embed="rId90">
                          <a14:imgEffect>
                            <a14:backgroundRemoval t="0" b="100000" l="0" r="100000">
                              <a14:foregroundMark x1="45977" y1="93011" x2="47126" y2="11290"/>
                              <a14:foregroundMark x1="47126" y1="11290" x2="48276" y2="8602"/>
                              <a14:foregroundMark x1="72414" y1="11290" x2="28736" y2="10215"/>
                              <a14:foregroundMark x1="28736" y1="10215" x2="56322" y2="8602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843762" y="2761815"/>
                  <a:ext cx="175674" cy="37880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66" name="Picture 4" descr="A group of stools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7300DA26-DB62-414A-ABA0-9DB5D53188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9" cstate="email">
                  <a:extLst>
                    <a:ext uri="{BEBA8EAE-BF5A-486C-A8C5-ECC9F3942E4B}">
                      <a14:imgProps xmlns:a14="http://schemas.microsoft.com/office/drawing/2010/main">
                        <a14:imgLayer r:embed="rId91">
                          <a14:imgEffect>
                            <a14:backgroundRemoval t="0" b="100000" l="0" r="100000">
                              <a14:foregroundMark x1="45977" y1="93011" x2="47126" y2="11290"/>
                              <a14:foregroundMark x1="47126" y1="11290" x2="48276" y2="8602"/>
                              <a14:foregroundMark x1="72414" y1="11290" x2="28736" y2="10215"/>
                              <a14:foregroundMark x1="28736" y1="10215" x2="56322" y2="8602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184742" y="2423934"/>
                  <a:ext cx="175674" cy="378807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3493A9AF-FAFD-4AFF-A11D-29CFCB1DA06E}"/>
                    </a:ext>
                  </a:extLst>
                </p:cNvPr>
                <p:cNvSpPr txBox="1"/>
                <p:nvPr/>
              </p:nvSpPr>
              <p:spPr>
                <a:xfrm>
                  <a:off x="998060" y="3091058"/>
                  <a:ext cx="1631189" cy="27706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Minimize downtime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89C6396-D453-47D0-839F-1249A7105E74}"/>
                    </a:ext>
                  </a:extLst>
                </p:cNvPr>
                <p:cNvSpPr txBox="1"/>
                <p:nvPr/>
              </p:nvSpPr>
              <p:spPr>
                <a:xfrm>
                  <a:off x="3255522" y="1283783"/>
                  <a:ext cx="1564467" cy="46177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Automatic worldwide deployment</a:t>
                  </a:r>
                </a:p>
              </p:txBody>
            </p: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985E4690-D3DB-4CF4-9ACE-3C7C3E0765E0}"/>
                  </a:ext>
                </a:extLst>
              </p:cNvPr>
              <p:cNvSpPr txBox="1"/>
              <p:nvPr/>
            </p:nvSpPr>
            <p:spPr>
              <a:xfrm>
                <a:off x="4161696" y="2700649"/>
                <a:ext cx="1173723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 b="1">
                    <a:solidFill>
                      <a:schemeClr val="accent4"/>
                    </a:solidFill>
                  </a:defRPr>
                </a:lvl1pPr>
              </a:lstStyle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0" dirty="0">
                    <a:solidFill>
                      <a:schemeClr val="bg1"/>
                    </a:solidFill>
                    <a:latin typeface="Calibri" panose="020F0502020204030204"/>
                    <a:ea typeface="+mn-ea"/>
                  </a:rPr>
                  <a:t>Robust Updates and Upgrade</a:t>
                </a:r>
              </a:p>
            </p:txBody>
          </p:sp>
        </p:grp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30653838-07D8-43FF-9715-88E75D0E5A0D}"/>
              </a:ext>
            </a:extLst>
          </p:cNvPr>
          <p:cNvSpPr txBox="1"/>
          <p:nvPr/>
        </p:nvSpPr>
        <p:spPr>
          <a:xfrm>
            <a:off x="3994541" y="4917684"/>
            <a:ext cx="1924310" cy="5232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4"/>
                </a:solidFill>
              </a:defRPr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C000"/>
                </a:solidFill>
                <a:latin typeface="Calibri" panose="020F0502020204030204"/>
                <a:ea typeface="+mn-ea"/>
              </a:rPr>
              <a:t>Ability to </a:t>
            </a:r>
            <a:br>
              <a:rPr lang="en-US" dirty="0">
                <a:solidFill>
                  <a:srgbClr val="FFC000"/>
                </a:solidFill>
                <a:latin typeface="Calibri" panose="020F0502020204030204"/>
                <a:ea typeface="+mn-ea"/>
              </a:rPr>
            </a:br>
            <a:r>
              <a:rPr lang="en-US" dirty="0">
                <a:solidFill>
                  <a:srgbClr val="FFC000"/>
                </a:solidFill>
                <a:latin typeface="Calibri" panose="020F0502020204030204"/>
                <a:ea typeface="+mn-ea"/>
              </a:rPr>
              <a:t>Continuously release</a:t>
            </a:r>
          </a:p>
        </p:txBody>
      </p:sp>
      <p:pic>
        <p:nvPicPr>
          <p:cNvPr id="126" name="Picture 125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4FBC0BDD-F6AE-444F-8E28-A669C5F0CA77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email"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backgroundRemoval t="0" b="100000" l="11494" r="100000">
                        <a14:foregroundMark x1="57471" y1="78571" x2="47126" y2="59694"/>
                        <a14:foregroundMark x1="47126" y1="59694" x2="54023" y2="21429"/>
                        <a14:foregroundMark x1="54023" y1="21429" x2="45977" y2="7653"/>
                        <a14:foregroundMark x1="17241" y1="9184" x2="31034" y2="16327"/>
                        <a14:foregroundMark x1="12644" y1="13265" x2="11494" y2="127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25889" y="1528279"/>
            <a:ext cx="177332" cy="398936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28" name="Picture 127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DF3C3BF1-7B72-4522-A187-EBC295CD18B8}"/>
              </a:ext>
            </a:extLst>
          </p:cNvPr>
          <p:cNvPicPr>
            <a:picLocks noChangeAspect="1"/>
          </p:cNvPicPr>
          <p:nvPr/>
        </p:nvPicPr>
        <p:blipFill rotWithShape="1">
          <a:blip r:embed="rId69" cstate="email">
            <a:extLst>
              <a:ext uri="{BEBA8EAE-BF5A-486C-A8C5-ECC9F3942E4B}">
                <a14:imgProps xmlns:a14="http://schemas.microsoft.com/office/drawing/2010/main">
                  <a14:imgLayer r:embed="rId70">
                    <a14:imgEffect>
                      <a14:backgroundRemoval t="0" b="100000" l="0" r="100000">
                        <a14:foregroundMark x1="45977" y1="93011" x2="47126" y2="11290"/>
                        <a14:foregroundMark x1="47126" y1="11290" x2="48276" y2="8602"/>
                        <a14:foregroundMark x1="72414" y1="11290" x2="28736" y2="10215"/>
                        <a14:foregroundMark x1="28736" y1="10215" x2="56322" y2="86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20400" y="1512583"/>
            <a:ext cx="175674" cy="37880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30" name="Picture 129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9420782B-4490-4049-804D-2F9AB9C8B524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592372" y="1528279"/>
            <a:ext cx="173869" cy="3738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31" name="Picture 130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AFA4C1BE-6DB0-43CB-9035-128252990A71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100000" l="0" r="89000">
                        <a14:foregroundMark x1="49000" y1="11170" x2="62000" y2="51596"/>
                        <a14:foregroundMark x1="62000" y1="51596" x2="54000" y2="71277"/>
                        <a14:foregroundMark x1="54000" y1="71277" x2="56000" y2="88830"/>
                        <a14:foregroundMark x1="89000" y1="66489" x2="90000" y2="60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32669" y="1548438"/>
            <a:ext cx="202478" cy="3787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33" name="Picture 132" descr="Shape&#10;&#10;Description automatically generated">
            <a:extLst>
              <a:ext uri="{FF2B5EF4-FFF2-40B4-BE49-F238E27FC236}">
                <a16:creationId xmlns:a16="http://schemas.microsoft.com/office/drawing/2014/main" id="{9BAEC5A9-3724-4987-A34A-C548D708F1C1}"/>
              </a:ext>
            </a:extLst>
          </p:cNvPr>
          <p:cNvPicPr>
            <a:picLocks noChangeAspect="1"/>
          </p:cNvPicPr>
          <p:nvPr/>
        </p:nvPicPr>
        <p:blipFill>
          <a:blip r:embed="rId9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3">
                    <a14:imgEffect>
                      <a14:backgroundRemoval t="9827" b="89774" l="0" r="99925">
                        <a14:foregroundMark x1="10023" y1="54449" x2="25" y2="51793"/>
                        <a14:foregroundMark x1="14092" y1="52590" x2="75" y2="50465"/>
                        <a14:foregroundMark x1="89651" y1="58167" x2="93595" y2="57503"/>
                        <a14:foregroundMark x1="93595" y1="57503" x2="97639" y2="57769"/>
                        <a14:foregroundMark x1="97639" y1="57769" x2="99925" y2="57238"/>
                      </a14:backgroundRemoval>
                    </a14:imgEffect>
                    <a14:imgEffect>
                      <a14:sharpenSoften amount="500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2534167" y="2816180"/>
            <a:ext cx="3802918" cy="719316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37" name="Picture 136" descr="Shape&#10;&#10;Description automatically generated">
            <a:extLst>
              <a:ext uri="{FF2B5EF4-FFF2-40B4-BE49-F238E27FC236}">
                <a16:creationId xmlns:a16="http://schemas.microsoft.com/office/drawing/2014/main" id="{8EDEFB2E-449F-4C4D-BB10-B438D4852853}"/>
              </a:ext>
            </a:extLst>
          </p:cNvPr>
          <p:cNvPicPr>
            <a:picLocks noChangeAspect="1"/>
          </p:cNvPicPr>
          <p:nvPr/>
        </p:nvPicPr>
        <p:blipFill>
          <a:blip r:embed="rId94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5">
                    <a14:imgEffect>
                      <a14:backgroundRemoval t="9827" b="89774" l="0" r="99925">
                        <a14:foregroundMark x1="10023" y1="54449" x2="25" y2="51793"/>
                        <a14:foregroundMark x1="14092" y1="52590" x2="75" y2="50465"/>
                        <a14:foregroundMark x1="89651" y1="58167" x2="93595" y2="57503"/>
                        <a14:foregroundMark x1="93595" y1="57503" x2="97639" y2="57769"/>
                        <a14:foregroundMark x1="97639" y1="57769" x2="99925" y2="57238"/>
                      </a14:backgroundRemoval>
                    </a14:imgEffect>
                    <a14:imgEffect>
                      <a14:sharpenSoften amount="25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2550322" y="2179507"/>
            <a:ext cx="3802918" cy="719316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38" name="Picture 137" descr="Shape&#10;&#10;Description automatically generated">
            <a:extLst>
              <a:ext uri="{FF2B5EF4-FFF2-40B4-BE49-F238E27FC236}">
                <a16:creationId xmlns:a16="http://schemas.microsoft.com/office/drawing/2014/main" id="{842C19FB-F7C6-4236-8337-C684B044CA97}"/>
              </a:ext>
            </a:extLst>
          </p:cNvPr>
          <p:cNvPicPr>
            <a:picLocks noChangeAspect="1"/>
          </p:cNvPicPr>
          <p:nvPr/>
        </p:nvPicPr>
        <p:blipFill>
          <a:blip r:embed="rId96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7">
                    <a14:imgEffect>
                      <a14:backgroundRemoval t="9827" b="89774" l="0" r="99925">
                        <a14:foregroundMark x1="10023" y1="54449" x2="25" y2="51793"/>
                        <a14:foregroundMark x1="14092" y1="52590" x2="75" y2="50465"/>
                        <a14:foregroundMark x1="89651" y1="58167" x2="93595" y2="57503"/>
                        <a14:foregroundMark x1="93595" y1="57503" x2="97639" y2="57769"/>
                        <a14:foregroundMark x1="97639" y1="57769" x2="99925" y2="57238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2550322" y="2534621"/>
            <a:ext cx="3802918" cy="719316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39" name="Picture 138" descr="Shape&#10;&#10;Description automatically generated">
            <a:extLst>
              <a:ext uri="{FF2B5EF4-FFF2-40B4-BE49-F238E27FC236}">
                <a16:creationId xmlns:a16="http://schemas.microsoft.com/office/drawing/2014/main" id="{40E1A0FF-31D2-4044-8590-757985039639}"/>
              </a:ext>
            </a:extLst>
          </p:cNvPr>
          <p:cNvPicPr>
            <a:picLocks noChangeAspect="1"/>
          </p:cNvPicPr>
          <p:nvPr/>
        </p:nvPicPr>
        <p:blipFill>
          <a:blip r:embed="rId92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8">
                    <a14:imgEffect>
                      <a14:backgroundRemoval t="9827" b="89774" l="0" r="99925">
                        <a14:foregroundMark x1="10023" y1="54449" x2="25" y2="51793"/>
                        <a14:foregroundMark x1="14092" y1="52590" x2="75" y2="50465"/>
                        <a14:foregroundMark x1="89651" y1="58167" x2="93595" y2="57503"/>
                        <a14:foregroundMark x1="93595" y1="57503" x2="97639" y2="57769"/>
                        <a14:foregroundMark x1="97639" y1="57769" x2="99925" y2="57238"/>
                      </a14:backgroundRemoval>
                    </a14:imgEffect>
                    <a14:imgEffect>
                      <a14:sharpenSoften amount="500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2550322" y="3060485"/>
            <a:ext cx="3802918" cy="719316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40" name="Picture 139" descr="Shape&#10;&#10;Description automatically generated">
            <a:extLst>
              <a:ext uri="{FF2B5EF4-FFF2-40B4-BE49-F238E27FC236}">
                <a16:creationId xmlns:a16="http://schemas.microsoft.com/office/drawing/2014/main" id="{31F2D7B3-610E-4D8B-BF5C-C83BE8849C26}"/>
              </a:ext>
            </a:extLst>
          </p:cNvPr>
          <p:cNvPicPr>
            <a:picLocks noChangeAspect="1"/>
          </p:cNvPicPr>
          <p:nvPr/>
        </p:nvPicPr>
        <p:blipFill>
          <a:blip r:embed="rId94" cstate="email">
            <a:extLst>
              <a:ext uri="{BEBA8EAE-BF5A-486C-A8C5-ECC9F3942E4B}">
                <a14:imgProps xmlns:a14="http://schemas.microsoft.com/office/drawing/2010/main">
                  <a14:imgLayer r:embed="rId99">
                    <a14:imgEffect>
                      <a14:backgroundRemoval t="9827" b="89774" l="0" r="99925">
                        <a14:foregroundMark x1="10023" y1="54449" x2="25" y2="51793"/>
                        <a14:foregroundMark x1="14092" y1="52590" x2="75" y2="50465"/>
                        <a14:foregroundMark x1="89651" y1="58167" x2="93595" y2="57503"/>
                        <a14:foregroundMark x1="93595" y1="57503" x2="97639" y2="57769"/>
                        <a14:foregroundMark x1="97639" y1="57769" x2="99925" y2="57238"/>
                      </a14:backgroundRemoval>
                    </a14:imgEffect>
                    <a14:imgEffect>
                      <a14:sharpenSoften amount="25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2550322" y="1819849"/>
            <a:ext cx="3802918" cy="719316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41" name="Picture 6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C5FCA513-1074-4D2B-8B99-C7E979CBEDF0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0">
                    <a14:imgEffect>
                      <a14:backgroundRemoval t="0" b="100000" l="0" r="89000">
                        <a14:foregroundMark x1="49000" y1="11170" x2="62000" y2="51596"/>
                        <a14:foregroundMark x1="62000" y1="51596" x2="54000" y2="71277"/>
                        <a14:foregroundMark x1="54000" y1="71277" x2="56000" y2="88830"/>
                        <a14:foregroundMark x1="89000" y1="66489" x2="90000" y2="60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41040" y="1512583"/>
            <a:ext cx="202478" cy="3787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42" name="Picture 9" descr="Shape&#10;&#10;Description automatically generated">
            <a:extLst>
              <a:ext uri="{FF2B5EF4-FFF2-40B4-BE49-F238E27FC236}">
                <a16:creationId xmlns:a16="http://schemas.microsoft.com/office/drawing/2014/main" id="{B37A9C42-6D56-4483-B234-AAF0DD08B3A1}"/>
              </a:ext>
            </a:extLst>
          </p:cNvPr>
          <p:cNvPicPr>
            <a:picLocks noChangeAspect="1"/>
          </p:cNvPicPr>
          <p:nvPr/>
        </p:nvPicPr>
        <p:blipFill>
          <a:blip r:embed="rId9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1">
                    <a14:imgEffect>
                      <a14:backgroundRemoval t="9827" b="89774" l="0" r="99925">
                        <a14:foregroundMark x1="10023" y1="54449" x2="25" y2="51793"/>
                        <a14:foregroundMark x1="14092" y1="52590" x2="75" y2="50465"/>
                        <a14:foregroundMark x1="89651" y1="58167" x2="93595" y2="57503"/>
                        <a14:foregroundMark x1="93595" y1="57503" x2="97639" y2="57769"/>
                        <a14:foregroundMark x1="97639" y1="57769" x2="99925" y2="57238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2727175" y="3332494"/>
            <a:ext cx="3802918" cy="719316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43" name="Picture 5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9AB21D2F-0A09-4F37-8D3D-792605B2DBD6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951494" y="1528279"/>
            <a:ext cx="173869" cy="3738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50" name="Picture 5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5BE5266D-BC70-47C2-9E28-108DB28CE168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2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310616" y="1504782"/>
            <a:ext cx="173869" cy="3738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53" name="Picture 5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AF7C015D-37D5-4180-A69F-77837131DA62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05187" y="4844505"/>
            <a:ext cx="173869" cy="373877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66" name="Picture 165" descr="A group of stools&#10;&#10;Description automatically generated with medium confidence">
            <a:extLst>
              <a:ext uri="{FF2B5EF4-FFF2-40B4-BE49-F238E27FC236}">
                <a16:creationId xmlns:a16="http://schemas.microsoft.com/office/drawing/2014/main" id="{D4B79044-302B-498A-B974-CDA746319623}"/>
              </a:ext>
            </a:extLst>
          </p:cNvPr>
          <p:cNvPicPr>
            <a:picLocks noChangeAspect="1"/>
          </p:cNvPicPr>
          <p:nvPr/>
        </p:nvPicPr>
        <p:blipFill rotWithShape="1">
          <a:blip r:embed="rId103" cstate="email">
            <a:extLst>
              <a:ext uri="{BEBA8EAE-BF5A-486C-A8C5-ECC9F3942E4B}">
                <a14:imgProps xmlns:a14="http://schemas.microsoft.com/office/drawing/2010/main">
                  <a14:imgLayer r:embed="rId104">
                    <a14:imgEffect>
                      <a14:backgroundRemoval t="0" b="100000" l="0" r="100000">
                        <a14:foregroundMark x1="45977" y1="93011" x2="47126" y2="11290"/>
                        <a14:foregroundMark x1="47126" y1="11290" x2="48276" y2="8602"/>
                        <a14:foregroundMark x1="72414" y1="11290" x2="28736" y2="10215"/>
                        <a14:foregroundMark x1="28736" y1="10215" x2="56322" y2="86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1493" y="4032134"/>
            <a:ext cx="322853" cy="696170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23ED1DB8-E907-4FBC-A7B3-192F989600A8}"/>
              </a:ext>
            </a:extLst>
          </p:cNvPr>
          <p:cNvSpPr txBox="1"/>
          <p:nvPr/>
        </p:nvSpPr>
        <p:spPr>
          <a:xfrm>
            <a:off x="6256881" y="4505386"/>
            <a:ext cx="1743981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4"/>
                </a:solidFill>
              </a:defRPr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C000"/>
                </a:solidFill>
                <a:latin typeface="Calibri" panose="020F0502020204030204"/>
                <a:ea typeface="+mn-ea"/>
              </a:rPr>
              <a:t>Continuous System Integr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13B8DCA-E0AF-4EDA-8781-EB484C0EA82E}"/>
              </a:ext>
            </a:extLst>
          </p:cNvPr>
          <p:cNvSpPr txBox="1"/>
          <p:nvPr/>
        </p:nvSpPr>
        <p:spPr>
          <a:xfrm>
            <a:off x="-71971" y="3737191"/>
            <a:ext cx="1564467" cy="46177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EC6602"/>
                </a:solidFill>
                <a:latin typeface="Calibri" panose="020F0502020204030204"/>
                <a:ea typeface="+mn-ea"/>
              </a:rPr>
              <a:t>Minimize interruption of customer schedul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9010ED8-B3CF-4AB8-81A1-EF1D334ECEF0}"/>
              </a:ext>
            </a:extLst>
          </p:cNvPr>
          <p:cNvSpPr txBox="1"/>
          <p:nvPr/>
        </p:nvSpPr>
        <p:spPr>
          <a:xfrm>
            <a:off x="5234869" y="3092808"/>
            <a:ext cx="175473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C000"/>
                </a:solidFill>
                <a:latin typeface="Calibri" panose="020F0502020204030204"/>
                <a:ea typeface="+mn-ea"/>
              </a:rPr>
              <a:t>Continuous SW 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C000"/>
                </a:solidFill>
                <a:latin typeface="Calibri" panose="020F0502020204030204"/>
                <a:ea typeface="+mn-ea"/>
              </a:rPr>
              <a:t>Verification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4C98E986-DFC2-47A8-B3B1-2D920E30BE83}"/>
              </a:ext>
            </a:extLst>
          </p:cNvPr>
          <p:cNvSpPr txBox="1"/>
          <p:nvPr/>
        </p:nvSpPr>
        <p:spPr>
          <a:xfrm>
            <a:off x="4316756" y="3311161"/>
            <a:ext cx="1564467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4"/>
                </a:solidFill>
              </a:defRPr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C000"/>
                </a:solidFill>
                <a:latin typeface="Calibri" panose="020F0502020204030204"/>
                <a:ea typeface="+mn-ea"/>
              </a:rPr>
              <a:t>Continuous Deployment</a:t>
            </a:r>
          </a:p>
        </p:txBody>
      </p:sp>
      <p:sp>
        <p:nvSpPr>
          <p:cNvPr id="159" name="Fußzeilenplatzhalter 3">
            <a:extLst>
              <a:ext uri="{FF2B5EF4-FFF2-40B4-BE49-F238E27FC236}">
                <a16:creationId xmlns:a16="http://schemas.microsoft.com/office/drawing/2014/main" id="{6DFCD183-ED64-4035-B81B-A59CEFCE0BAC}"/>
              </a:ext>
            </a:extLst>
          </p:cNvPr>
          <p:cNvSpPr txBox="1">
            <a:spLocks/>
          </p:cNvSpPr>
          <p:nvPr/>
        </p:nvSpPr>
        <p:spPr bwMode="gray">
          <a:xfrm>
            <a:off x="-104699" y="6642033"/>
            <a:ext cx="3267105" cy="144033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Thomas Jachmann | Computed Tomography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6A2A1CC-26EA-4757-8B33-C3938861214B}"/>
              </a:ext>
            </a:extLst>
          </p:cNvPr>
          <p:cNvGrpSpPr/>
          <p:nvPr/>
        </p:nvGrpSpPr>
        <p:grpSpPr>
          <a:xfrm>
            <a:off x="6244702" y="4453075"/>
            <a:ext cx="5602889" cy="2385327"/>
            <a:chOff x="6244702" y="4453075"/>
            <a:chExt cx="5602889" cy="2385327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FD31333-E669-451F-9838-BBCC96F70A3B}"/>
                </a:ext>
              </a:extLst>
            </p:cNvPr>
            <p:cNvGrpSpPr/>
            <p:nvPr/>
          </p:nvGrpSpPr>
          <p:grpSpPr>
            <a:xfrm>
              <a:off x="6244702" y="4453075"/>
              <a:ext cx="5602889" cy="2385327"/>
              <a:chOff x="6244702" y="4453075"/>
              <a:chExt cx="5602889" cy="2385327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3CCC9A10-916D-4F11-A8E7-B62020643BB4}"/>
                  </a:ext>
                </a:extLst>
              </p:cNvPr>
              <p:cNvGrpSpPr/>
              <p:nvPr/>
            </p:nvGrpSpPr>
            <p:grpSpPr>
              <a:xfrm>
                <a:off x="6244702" y="4453075"/>
                <a:ext cx="5602889" cy="2385327"/>
                <a:chOff x="6254118" y="4452801"/>
                <a:chExt cx="5602889" cy="2385327"/>
              </a:xfrm>
            </p:grpSpPr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41A6A82C-5303-4FD9-A0CC-7EEDDA0A7EC8}"/>
                    </a:ext>
                  </a:extLst>
                </p:cNvPr>
                <p:cNvSpPr txBox="1"/>
                <p:nvPr/>
              </p:nvSpPr>
              <p:spPr>
                <a:xfrm>
                  <a:off x="10763072" y="5926454"/>
                  <a:ext cx="1093935" cy="46177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Scaling </a:t>
                  </a:r>
                </a:p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Infrastructure</a:t>
                  </a:r>
                </a:p>
              </p:txBody>
            </p:sp>
            <p:pic>
              <p:nvPicPr>
                <p:cNvPr id="227" name="Picture 9" descr="Shape&#10;&#10;Description automatically generated">
                  <a:extLst>
                    <a:ext uri="{FF2B5EF4-FFF2-40B4-BE49-F238E27FC236}">
                      <a16:creationId xmlns:a16="http://schemas.microsoft.com/office/drawing/2014/main" id="{AD7AF05E-CCF1-4113-9459-836CEE93D9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5" cstate="email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06">
                          <a14:imgEffect>
                            <a14:backgroundRemoval t="9865" b="91216" l="0" r="99740">
                              <a14:foregroundMark x1="64360" y1="59189" x2="77941" y2="58514"/>
                              <a14:foregroundMark x1="77941" y1="58514" x2="91869" y2="58784"/>
                              <a14:foregroundMark x1="91869" y1="58784" x2="99740" y2="58243"/>
                            </a14:backgroundRemoval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2749787" flipV="1">
                  <a:off x="8836633" y="5925724"/>
                  <a:ext cx="1117322" cy="500621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28" name="Picture 9" descr="Shape&#10;&#10;Description automatically generated">
                  <a:extLst>
                    <a:ext uri="{FF2B5EF4-FFF2-40B4-BE49-F238E27FC236}">
                      <a16:creationId xmlns:a16="http://schemas.microsoft.com/office/drawing/2014/main" id="{1F235636-FAA0-41E8-87E8-B8A09990B0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7" cstate="email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08">
                          <a14:imgEffect>
                            <a14:backgroundRemoval t="9695" b="89641" l="0" r="99781">
                              <a14:foregroundMark x1="69971" y1="58167" x2="81414" y2="57503"/>
                              <a14:foregroundMark x1="81414" y1="57503" x2="93149" y2="57769"/>
                              <a14:foregroundMark x1="93149" y1="57769" x2="99781" y2="57238"/>
                            </a14:backgroundRemoval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9584166" flipV="1">
                  <a:off x="9731139" y="6065756"/>
                  <a:ext cx="1128853" cy="509491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F97AD16D-3A3A-4F9B-95E4-EE63A2086856}"/>
                    </a:ext>
                  </a:extLst>
                </p:cNvPr>
                <p:cNvSpPr txBox="1"/>
                <p:nvPr/>
              </p:nvSpPr>
              <p:spPr>
                <a:xfrm>
                  <a:off x="7815976" y="5619035"/>
                  <a:ext cx="1564467" cy="46166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Continuous </a:t>
                  </a:r>
                  <a:b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</a:b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SW integration</a:t>
                  </a:r>
                </a:p>
              </p:txBody>
            </p:sp>
            <p:pic>
              <p:nvPicPr>
                <p:cNvPr id="229" name="Picture 9" descr="Shape&#10;&#10;Description automatically generated">
                  <a:extLst>
                    <a:ext uri="{FF2B5EF4-FFF2-40B4-BE49-F238E27FC236}">
                      <a16:creationId xmlns:a16="http://schemas.microsoft.com/office/drawing/2014/main" id="{0EB2E876-7A1F-4915-86E3-C0DAF82637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9" cstate="email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0">
                          <a14:imgEffect>
                            <a14:backgroundRemoval t="9695" b="89641" l="0" r="99861">
                              <a14:foregroundMark x1="80944" y1="58167" x2="88205" y2="57503"/>
                              <a14:foregroundMark x1="88205" y1="57503" x2="95652" y2="57769"/>
                              <a14:foregroundMark x1="95652" y1="57769" x2="99861" y2="57238"/>
                            </a14:backgroundRemoval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6386122" flipV="1">
                  <a:off x="9280510" y="5643996"/>
                  <a:ext cx="1376449" cy="509491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230" name="Picture 9" descr="Shape&#10;&#10;Description automatically generated">
                  <a:extLst>
                    <a:ext uri="{FF2B5EF4-FFF2-40B4-BE49-F238E27FC236}">
                      <a16:creationId xmlns:a16="http://schemas.microsoft.com/office/drawing/2014/main" id="{AD5C4CB9-8C22-4C47-9C45-57DE932476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11" cstate="email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2">
                          <a14:imgEffect>
                            <a14:backgroundRemoval t="9695" b="89641" l="0" r="99857">
                              <a14:foregroundMark x1="80409" y1="58167" x2="87874" y2="57503"/>
                              <a14:foregroundMark x1="87874" y1="57503" x2="95530" y2="57769"/>
                              <a14:foregroundMark x1="95530" y1="57769" x2="99857" y2="57238"/>
                            </a14:backgroundRemoval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1758845" flipV="1">
                  <a:off x="6254118" y="4652753"/>
                  <a:ext cx="1498291" cy="509951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F29F7762-A9B6-4CDE-8407-BD70E315EADA}"/>
                    </a:ext>
                  </a:extLst>
                </p:cNvPr>
                <p:cNvSpPr txBox="1"/>
                <p:nvPr/>
              </p:nvSpPr>
              <p:spPr>
                <a:xfrm>
                  <a:off x="8539849" y="6376356"/>
                  <a:ext cx="1391975" cy="46177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Efficient SW integration</a:t>
                  </a:r>
                </a:p>
              </p:txBody>
            </p:sp>
            <p:pic>
              <p:nvPicPr>
                <p:cNvPr id="264" name="Picture 9" descr="Shape&#10;&#10;Description automatically generated">
                  <a:extLst>
                    <a:ext uri="{FF2B5EF4-FFF2-40B4-BE49-F238E27FC236}">
                      <a16:creationId xmlns:a16="http://schemas.microsoft.com/office/drawing/2014/main" id="{F4BA38BA-2F56-4FA8-B55E-C6845C516C6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13" cstate="email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4">
                          <a14:imgEffect>
                            <a14:backgroundRemoval t="10549" b="97543" l="0" r="100000">
                              <a14:foregroundMark x1="23064" y1="59249" x2="58" y2="56358"/>
                              <a14:foregroundMark x1="32428" y1="57225" x2="173" y2="54913"/>
                            </a14:backgroundRemoval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-1176"/>
                <a:stretch/>
              </p:blipFill>
              <p:spPr>
                <a:xfrm rot="1532122" flipV="1">
                  <a:off x="7542458" y="5260719"/>
                  <a:ext cx="1554715" cy="46792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0975A634-D99C-4EDA-B286-FAD13ACB0ED5}"/>
                    </a:ext>
                  </a:extLst>
                </p:cNvPr>
                <p:cNvSpPr txBox="1"/>
                <p:nvPr/>
              </p:nvSpPr>
              <p:spPr>
                <a:xfrm>
                  <a:off x="9402457" y="5283546"/>
                  <a:ext cx="1564467" cy="46177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Artifact based integration</a:t>
                  </a:r>
                </a:p>
              </p:txBody>
            </p:sp>
            <p:pic>
              <p:nvPicPr>
                <p:cNvPr id="145" name="Picture 9" descr="Shape&#10;&#10;Description automatically generated">
                  <a:extLst>
                    <a:ext uri="{FF2B5EF4-FFF2-40B4-BE49-F238E27FC236}">
                      <a16:creationId xmlns:a16="http://schemas.microsoft.com/office/drawing/2014/main" id="{B9838749-536F-439B-A201-8972F2FF044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15" cstate="email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6">
                          <a14:imgEffect>
                            <a14:backgroundRemoval t="15083" b="100000" l="0" r="100000">
                              <a14:foregroundMark x1="24065" y1="84711" x2="60" y2="80579"/>
                              <a14:foregroundMark x1="33836" y1="81818" x2="181" y2="78512"/>
                            </a14:backgroundRemoval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1584676" flipV="1">
                  <a:off x="8870335" y="4839159"/>
                  <a:ext cx="1400413" cy="32724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pic>
              <p:nvPicPr>
                <p:cNvPr id="146" name="Picture 9" descr="Shape&#10;&#10;Description automatically generated">
                  <a:extLst>
                    <a:ext uri="{FF2B5EF4-FFF2-40B4-BE49-F238E27FC236}">
                      <a16:creationId xmlns:a16="http://schemas.microsoft.com/office/drawing/2014/main" id="{9DEC45B4-39A8-4B75-8734-D1DF7B517E2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17" cstate="email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8">
                          <a14:imgEffect>
                            <a14:backgroundRemoval t="9828" b="100000" l="0" r="100000">
                              <a14:foregroundMark x1="65675" y1="66771" x2="79014" y2="65991"/>
                              <a14:foregroundMark x1="79014" y1="65991" x2="92693" y2="66303"/>
                              <a14:foregroundMark x1="92693" y1="66147" x2="99915" y2="65679"/>
                            </a14:backgroundRemoval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7514254" flipV="1">
                  <a:off x="10497285" y="5444001"/>
                  <a:ext cx="1173562" cy="433351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  <p:sp>
              <p:nvSpPr>
                <p:cNvPr id="80" name="TextBox 79">
                  <a:extLst>
                    <a:ext uri="{FF2B5EF4-FFF2-40B4-BE49-F238E27FC236}">
                      <a16:creationId xmlns:a16="http://schemas.microsoft.com/office/drawing/2014/main" id="{3AE5E8A9-DA74-4366-B87D-57B17ED04E33}"/>
                    </a:ext>
                  </a:extLst>
                </p:cNvPr>
                <p:cNvSpPr txBox="1"/>
                <p:nvPr/>
              </p:nvSpPr>
              <p:spPr>
                <a:xfrm>
                  <a:off x="8936983" y="4452801"/>
                  <a:ext cx="951889" cy="46166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Robust </a:t>
                  </a:r>
                </a:p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200" dirty="0">
                      <a:solidFill>
                        <a:prstClr val="white"/>
                      </a:solidFill>
                      <a:latin typeface="Calibri" panose="020F0502020204030204"/>
                      <a:ea typeface="+mn-ea"/>
                    </a:rPr>
                    <a:t>Packaging</a:t>
                  </a:r>
                </a:p>
              </p:txBody>
            </p:sp>
            <p:pic>
              <p:nvPicPr>
                <p:cNvPr id="149" name="Picture 9" descr="Shape&#10;&#10;Description automatically generated">
                  <a:extLst>
                    <a:ext uri="{FF2B5EF4-FFF2-40B4-BE49-F238E27FC236}">
                      <a16:creationId xmlns:a16="http://schemas.microsoft.com/office/drawing/2014/main" id="{0F17A6FA-072F-4AC4-BB35-465D8BEC834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19" cstate="email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20">
                          <a14:imgEffect>
                            <a14:backgroundRemoval t="12331" b="100000" l="0" r="100000">
                              <a14:foregroundMark x1="26216" y1="69257" x2="66" y2="65878"/>
                              <a14:foregroundMark x1="36859" y1="66892" x2="197" y2="64189"/>
                            </a14:backgroundRemoval>
                          </a14:imgEffect>
                          <a14:imgEffect>
                            <a14:brightnessContrast bright="20000"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0407443" flipV="1">
                  <a:off x="7625404" y="4782233"/>
                  <a:ext cx="1285765" cy="40078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p:spPr>
            </p:pic>
          </p:grpSp>
          <p:pic>
            <p:nvPicPr>
              <p:cNvPr id="151" name="Picture 5" descr="A group of stools&#10;&#10;Description automatically generated with medium confidence">
                <a:extLst>
                  <a:ext uri="{FF2B5EF4-FFF2-40B4-BE49-F238E27FC236}">
                    <a16:creationId xmlns:a16="http://schemas.microsoft.com/office/drawing/2014/main" id="{E85B1115-C70C-493C-9133-A6C350FB06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21">
                        <a14:imgEffect>
                          <a14:backgroundRemoval t="0" b="100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732073" y="6113674"/>
                <a:ext cx="173869" cy="373877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bg1">
                    <a:alpha val="40000"/>
                  </a:schemeClr>
                </a:outerShdw>
              </a:effectLst>
            </p:spPr>
          </p:pic>
          <p:pic>
            <p:nvPicPr>
              <p:cNvPr id="152" name="Picture 5" descr="A group of stools&#10;&#10;Description automatically generated with medium confidence">
                <a:extLst>
                  <a:ext uri="{FF2B5EF4-FFF2-40B4-BE49-F238E27FC236}">
                    <a16:creationId xmlns:a16="http://schemas.microsoft.com/office/drawing/2014/main" id="{67BEEEBD-E97C-4F25-AEE6-B09328C612D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25">
                        <a14:imgEffect>
                          <a14:backgroundRemoval t="0" b="100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743667" y="5760159"/>
                <a:ext cx="173869" cy="373877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bg1">
                    <a:alpha val="40000"/>
                  </a:schemeClr>
                </a:outerShdw>
              </a:effectLst>
            </p:spPr>
          </p:pic>
          <p:pic>
            <p:nvPicPr>
              <p:cNvPr id="154" name="Picture 5" descr="A group of stools&#10;&#10;Description automatically generated with medium confidence">
                <a:extLst>
                  <a:ext uri="{FF2B5EF4-FFF2-40B4-BE49-F238E27FC236}">
                    <a16:creationId xmlns:a16="http://schemas.microsoft.com/office/drawing/2014/main" id="{AAB88545-210E-422D-A784-8BDA1C8C8D5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45">
                        <a14:imgEffect>
                          <a14:backgroundRemoval t="0" b="100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119488" y="4922900"/>
                <a:ext cx="173869" cy="373877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bg1">
                    <a:alpha val="40000"/>
                  </a:schemeClr>
                </a:outerShdw>
              </a:effectLst>
            </p:spPr>
          </p:pic>
          <p:pic>
            <p:nvPicPr>
              <p:cNvPr id="156" name="Picture 5" descr="A group of stools&#10;&#10;Description automatically generated with medium confidence">
                <a:extLst>
                  <a:ext uri="{FF2B5EF4-FFF2-40B4-BE49-F238E27FC236}">
                    <a16:creationId xmlns:a16="http://schemas.microsoft.com/office/drawing/2014/main" id="{0DD1F63B-D48F-41F2-870B-93900280EC5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22">
                        <a14:imgEffect>
                          <a14:backgroundRemoval t="0" b="100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985991" y="5397675"/>
                <a:ext cx="173869" cy="373877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bg1">
                    <a:alpha val="40000"/>
                  </a:schemeClr>
                </a:outerShdw>
              </a:effectLst>
            </p:spPr>
          </p:pic>
          <p:pic>
            <p:nvPicPr>
              <p:cNvPr id="157" name="Picture 5" descr="A group of stools&#10;&#10;Description automatically generated with medium confidence">
                <a:extLst>
                  <a:ext uri="{FF2B5EF4-FFF2-40B4-BE49-F238E27FC236}">
                    <a16:creationId xmlns:a16="http://schemas.microsoft.com/office/drawing/2014/main" id="{158F128B-E48C-43DB-B222-8DAD15509D9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22">
                        <a14:imgEffect>
                          <a14:backgroundRemoval t="0" b="100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811065" y="4616944"/>
                <a:ext cx="173869" cy="373877"/>
              </a:xfrm>
              <a:prstGeom prst="rect">
                <a:avLst/>
              </a:prstGeom>
              <a:effectLst>
                <a:outerShdw blurRad="50800" dist="38100" dir="2700000" algn="tl" rotWithShape="0">
                  <a:schemeClr val="bg1">
                    <a:alpha val="40000"/>
                  </a:schemeClr>
                </a:outerShdw>
              </a:effectLst>
            </p:spPr>
          </p:pic>
        </p:grpSp>
        <p:pic>
          <p:nvPicPr>
            <p:cNvPr id="147" name="Picture 5" descr="A group of stools&#10;&#10;Description automatically generated with medium confidence">
              <a:extLst>
                <a:ext uri="{FF2B5EF4-FFF2-40B4-BE49-F238E27FC236}">
                  <a16:creationId xmlns:a16="http://schemas.microsoft.com/office/drawing/2014/main" id="{F106E240-7167-4EFB-B80C-8FCC6BDD40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20127" y="4786772"/>
              <a:ext cx="173869" cy="373877"/>
            </a:xfrm>
            <a:prstGeom prst="rect">
              <a:avLst/>
            </a:prstGeom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</p:pic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8576C561-5AB4-464D-B46C-EC210D7A4218}"/>
                </a:ext>
              </a:extLst>
            </p:cNvPr>
            <p:cNvSpPr txBox="1"/>
            <p:nvPr/>
          </p:nvSpPr>
          <p:spPr>
            <a:xfrm>
              <a:off x="6870100" y="5185685"/>
              <a:ext cx="1743981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Infrastructure </a:t>
              </a:r>
            </a:p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" panose="020F0502020204030204"/>
                  <a:ea typeface="+mn-ea"/>
                </a:rPr>
                <a:t>as Code</a:t>
              </a:r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374DA6EA-8CBE-42F0-9C4D-E93437EE088C}"/>
              </a:ext>
            </a:extLst>
          </p:cNvPr>
          <p:cNvSpPr txBox="1"/>
          <p:nvPr/>
        </p:nvSpPr>
        <p:spPr>
          <a:xfrm>
            <a:off x="3822796" y="6674326"/>
            <a:ext cx="486338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Background </a:t>
            </a:r>
            <a:r>
              <a:rPr lang="de-DE" sz="800" dirty="0" err="1">
                <a:solidFill>
                  <a:schemeClr val="bg1">
                    <a:lumMod val="50000"/>
                  </a:schemeClr>
                </a:solidFill>
              </a:rPr>
              <a:t>image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: https://www.mapsland.com/europe/large-detailed-satellite-map-of-europe-at-night</a:t>
            </a:r>
          </a:p>
        </p:txBody>
      </p:sp>
      <p:pic>
        <p:nvPicPr>
          <p:cNvPr id="158" name="Siemens Healthineers logo">
            <a:extLst>
              <a:ext uri="{FF2B5EF4-FFF2-40B4-BE49-F238E27FC236}">
                <a16:creationId xmlns:a16="http://schemas.microsoft.com/office/drawing/2014/main" id="{A8BB6A14-1626-49B5-8623-81E01F448FAF}"/>
              </a:ext>
            </a:extLst>
          </p:cNvPr>
          <p:cNvPicPr>
            <a:picLocks noChangeAspect="1"/>
          </p:cNvPicPr>
          <p:nvPr/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9027" y="281332"/>
            <a:ext cx="1454207" cy="3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273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0DCBB8F9-0578-45F0-8B98-4A358801C300}"/>
              </a:ext>
            </a:extLst>
          </p:cNvPr>
          <p:cNvSpPr/>
          <p:nvPr/>
        </p:nvSpPr>
        <p:spPr bwMode="auto">
          <a:xfrm>
            <a:off x="857252" y="1773238"/>
            <a:ext cx="10858497" cy="6480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24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Arial"/>
                <a:ea typeface="ＭＳ Ｐゴシック"/>
                <a:cs typeface="Arial"/>
              </a:rPr>
              <a:t>Culture and Mindset for continuous improvements is a decisive factor throughout the organization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  <a:latin typeface="Arial"/>
                <a:ea typeface="ＭＳ Ｐゴシック"/>
                <a:cs typeface="Arial"/>
              </a:rPr>
              <a:t>(from development teams to top management) 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09342F4-462D-4414-8C0D-CD4C70A1FD6C}"/>
              </a:ext>
            </a:extLst>
          </p:cNvPr>
          <p:cNvGrpSpPr/>
          <p:nvPr/>
        </p:nvGrpSpPr>
        <p:grpSpPr>
          <a:xfrm>
            <a:off x="627063" y="1773238"/>
            <a:ext cx="397065" cy="588171"/>
            <a:chOff x="627063" y="1443038"/>
            <a:chExt cx="397065" cy="588171"/>
          </a:xfrm>
          <a:solidFill>
            <a:srgbClr val="F9B591"/>
          </a:solidFill>
        </p:grpSpPr>
        <p:sp>
          <p:nvSpPr>
            <p:cNvPr id="7" name="Rechtwinkliges Dreieck 6">
              <a:extLst>
                <a:ext uri="{FF2B5EF4-FFF2-40B4-BE49-F238E27FC236}">
                  <a16:creationId xmlns:a16="http://schemas.microsoft.com/office/drawing/2014/main" id="{687258FB-AE4E-4ECA-8F1C-349F7FEE7E7E}"/>
                </a:ext>
              </a:extLst>
            </p:cNvPr>
            <p:cNvSpPr/>
            <p:nvPr/>
          </p:nvSpPr>
          <p:spPr bwMode="auto">
            <a:xfrm rot="5400000" flipV="1">
              <a:off x="646605" y="1820563"/>
              <a:ext cx="191105" cy="230188"/>
            </a:xfrm>
            <a:prstGeom prst="rtTriangle">
              <a:avLst/>
            </a:prstGeom>
            <a:solidFill>
              <a:srgbClr val="1B1B1B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0E2B10D-0A88-4C89-B13E-EF68AF4FD7FD}"/>
                </a:ext>
              </a:extLst>
            </p:cNvPr>
            <p:cNvSpPr/>
            <p:nvPr/>
          </p:nvSpPr>
          <p:spPr bwMode="auto">
            <a:xfrm>
              <a:off x="627063" y="1443038"/>
              <a:ext cx="397065" cy="397065"/>
            </a:xfrm>
            <a:prstGeom prst="rect">
              <a:avLst/>
            </a:prstGeom>
            <a:solidFill>
              <a:srgbClr val="92929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14" name="Rechteck 13">
            <a:extLst>
              <a:ext uri="{FF2B5EF4-FFF2-40B4-BE49-F238E27FC236}">
                <a16:creationId xmlns:a16="http://schemas.microsoft.com/office/drawing/2014/main" id="{30BB1311-9E98-4C5D-9425-FAECD4BA57F5}"/>
              </a:ext>
            </a:extLst>
          </p:cNvPr>
          <p:cNvSpPr/>
          <p:nvPr/>
        </p:nvSpPr>
        <p:spPr bwMode="auto">
          <a:xfrm>
            <a:off x="857249" y="2709391"/>
            <a:ext cx="10858497" cy="6480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24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Arial"/>
                <a:ea typeface="ＭＳ Ｐゴシック"/>
                <a:cs typeface="Arial"/>
              </a:rPr>
              <a:t>Establishing automated fast feedback cycles, even when not yet doing continuous delivery all the way to the end customer – it is important to steer and lear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BAB35DF-52CE-4402-82C2-70CC4CD35CA7}"/>
              </a:ext>
            </a:extLst>
          </p:cNvPr>
          <p:cNvGrpSpPr/>
          <p:nvPr/>
        </p:nvGrpSpPr>
        <p:grpSpPr>
          <a:xfrm>
            <a:off x="627063" y="2709391"/>
            <a:ext cx="397065" cy="588171"/>
            <a:chOff x="627063" y="2435895"/>
            <a:chExt cx="397065" cy="588171"/>
          </a:xfrm>
        </p:grpSpPr>
        <p:sp>
          <p:nvSpPr>
            <p:cNvPr id="13" name="Rechtwinkliges Dreieck 12">
              <a:extLst>
                <a:ext uri="{FF2B5EF4-FFF2-40B4-BE49-F238E27FC236}">
                  <a16:creationId xmlns:a16="http://schemas.microsoft.com/office/drawing/2014/main" id="{8907C264-ABF8-4C64-9D5E-94DBC288FDE6}"/>
                </a:ext>
              </a:extLst>
            </p:cNvPr>
            <p:cNvSpPr/>
            <p:nvPr/>
          </p:nvSpPr>
          <p:spPr bwMode="auto">
            <a:xfrm rot="5400000" flipV="1">
              <a:off x="646605" y="2813420"/>
              <a:ext cx="191105" cy="230188"/>
            </a:xfrm>
            <a:prstGeom prst="rtTriangle">
              <a:avLst/>
            </a:prstGeom>
            <a:solidFill>
              <a:srgbClr val="1B1B1B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150E963D-4655-421C-B20E-0787AB3134CA}"/>
                </a:ext>
              </a:extLst>
            </p:cNvPr>
            <p:cNvSpPr/>
            <p:nvPr/>
          </p:nvSpPr>
          <p:spPr bwMode="auto">
            <a:xfrm>
              <a:off x="627063" y="2435895"/>
              <a:ext cx="397065" cy="397065"/>
            </a:xfrm>
            <a:prstGeom prst="rect">
              <a:avLst/>
            </a:prstGeom>
            <a:solidFill>
              <a:srgbClr val="92929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CB50D492-F2C1-4B64-BBD9-5FE59ED690DE}"/>
              </a:ext>
            </a:extLst>
          </p:cNvPr>
          <p:cNvSpPr/>
          <p:nvPr/>
        </p:nvSpPr>
        <p:spPr bwMode="auto">
          <a:xfrm>
            <a:off x="857249" y="3645544"/>
            <a:ext cx="10858497" cy="6480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24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Pick the right KPIs that allow you to have success stories and celebrate them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D8C423F-03C0-4342-BCBC-4444B6C02CDA}"/>
              </a:ext>
            </a:extLst>
          </p:cNvPr>
          <p:cNvGrpSpPr/>
          <p:nvPr/>
        </p:nvGrpSpPr>
        <p:grpSpPr>
          <a:xfrm>
            <a:off x="627063" y="3645544"/>
            <a:ext cx="397065" cy="588172"/>
            <a:chOff x="627063" y="3439213"/>
            <a:chExt cx="397065" cy="588172"/>
          </a:xfrm>
        </p:grpSpPr>
        <p:sp>
          <p:nvSpPr>
            <p:cNvPr id="17" name="Rechtwinkliges Dreieck 16">
              <a:extLst>
                <a:ext uri="{FF2B5EF4-FFF2-40B4-BE49-F238E27FC236}">
                  <a16:creationId xmlns:a16="http://schemas.microsoft.com/office/drawing/2014/main" id="{FE197BDA-F423-4EE2-A1E8-543C4B354794}"/>
                </a:ext>
              </a:extLst>
            </p:cNvPr>
            <p:cNvSpPr/>
            <p:nvPr/>
          </p:nvSpPr>
          <p:spPr bwMode="auto">
            <a:xfrm rot="5400000" flipV="1">
              <a:off x="646605" y="3816739"/>
              <a:ext cx="191105" cy="230188"/>
            </a:xfrm>
            <a:prstGeom prst="rtTriangle">
              <a:avLst/>
            </a:prstGeom>
            <a:solidFill>
              <a:srgbClr val="1B1B1B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769F8710-9D5B-4A1B-9188-51A929E4F687}"/>
                </a:ext>
              </a:extLst>
            </p:cNvPr>
            <p:cNvSpPr/>
            <p:nvPr/>
          </p:nvSpPr>
          <p:spPr bwMode="auto">
            <a:xfrm>
              <a:off x="627063" y="3439213"/>
              <a:ext cx="397065" cy="397065"/>
            </a:xfrm>
            <a:prstGeom prst="rect">
              <a:avLst/>
            </a:prstGeom>
            <a:solidFill>
              <a:srgbClr val="92929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22" name="Rechteck 21">
            <a:extLst>
              <a:ext uri="{FF2B5EF4-FFF2-40B4-BE49-F238E27FC236}">
                <a16:creationId xmlns:a16="http://schemas.microsoft.com/office/drawing/2014/main" id="{54B75558-1839-4BB2-87E1-E5A430515DF9}"/>
              </a:ext>
            </a:extLst>
          </p:cNvPr>
          <p:cNvSpPr/>
          <p:nvPr/>
        </p:nvSpPr>
        <p:spPr bwMode="auto">
          <a:xfrm>
            <a:off x="857249" y="4581697"/>
            <a:ext cx="10858497" cy="6480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24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Strive to meet the overall goals of the various involved roles, but allow freedom on *how* to achieve them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(e.g. mostly automated with final sanity check vs. manual). Create wins for them.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64EA1CB-CEFB-44F2-B5FC-EA7D14BA22FB}"/>
              </a:ext>
            </a:extLst>
          </p:cNvPr>
          <p:cNvGrpSpPr/>
          <p:nvPr/>
        </p:nvGrpSpPr>
        <p:grpSpPr>
          <a:xfrm>
            <a:off x="627063" y="4581697"/>
            <a:ext cx="397065" cy="588171"/>
            <a:chOff x="627063" y="4442531"/>
            <a:chExt cx="397065" cy="588171"/>
          </a:xfrm>
        </p:grpSpPr>
        <p:sp>
          <p:nvSpPr>
            <p:cNvPr id="21" name="Rechtwinkliges Dreieck 20">
              <a:extLst>
                <a:ext uri="{FF2B5EF4-FFF2-40B4-BE49-F238E27FC236}">
                  <a16:creationId xmlns:a16="http://schemas.microsoft.com/office/drawing/2014/main" id="{78B4BDA6-5D38-4E14-8BF1-8352D8DF16E4}"/>
                </a:ext>
              </a:extLst>
            </p:cNvPr>
            <p:cNvSpPr/>
            <p:nvPr/>
          </p:nvSpPr>
          <p:spPr bwMode="auto">
            <a:xfrm rot="5400000" flipV="1">
              <a:off x="646605" y="4820056"/>
              <a:ext cx="191105" cy="230188"/>
            </a:xfrm>
            <a:prstGeom prst="rtTriangle">
              <a:avLst/>
            </a:prstGeom>
            <a:solidFill>
              <a:srgbClr val="1B1B1B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28B2620-6C8B-4091-AC28-2BDB031B8261}"/>
                </a:ext>
              </a:extLst>
            </p:cNvPr>
            <p:cNvSpPr/>
            <p:nvPr/>
          </p:nvSpPr>
          <p:spPr bwMode="auto">
            <a:xfrm>
              <a:off x="627063" y="4442531"/>
              <a:ext cx="397065" cy="397065"/>
            </a:xfrm>
            <a:prstGeom prst="rect">
              <a:avLst/>
            </a:prstGeom>
            <a:solidFill>
              <a:srgbClr val="92929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149BC1E7-D5AA-4E60-AF91-010A8895C508}"/>
              </a:ext>
            </a:extLst>
          </p:cNvPr>
          <p:cNvSpPr/>
          <p:nvPr/>
        </p:nvSpPr>
        <p:spPr bwMode="auto">
          <a:xfrm>
            <a:off x="857249" y="5517850"/>
            <a:ext cx="10858497" cy="6480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324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Arial"/>
                <a:ea typeface="ＭＳ Ｐゴシック"/>
                <a:cs typeface="Arial"/>
              </a:rPr>
              <a:t>Accept that approaches will not show the results you expect – remember it is a complex environment with only emerging practices. So: Probe-Sense-Respond 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D05535-4035-4D8F-9D84-91E1E9DF9835}"/>
              </a:ext>
            </a:extLst>
          </p:cNvPr>
          <p:cNvGrpSpPr/>
          <p:nvPr/>
        </p:nvGrpSpPr>
        <p:grpSpPr>
          <a:xfrm>
            <a:off x="627063" y="5517850"/>
            <a:ext cx="397065" cy="588172"/>
            <a:chOff x="627063" y="5445850"/>
            <a:chExt cx="397065" cy="588172"/>
          </a:xfrm>
        </p:grpSpPr>
        <p:sp>
          <p:nvSpPr>
            <p:cNvPr id="25" name="Rechtwinkliges Dreieck 24">
              <a:extLst>
                <a:ext uri="{FF2B5EF4-FFF2-40B4-BE49-F238E27FC236}">
                  <a16:creationId xmlns:a16="http://schemas.microsoft.com/office/drawing/2014/main" id="{D929C492-754C-4EE1-A68D-7722CFAA9431}"/>
                </a:ext>
              </a:extLst>
            </p:cNvPr>
            <p:cNvSpPr/>
            <p:nvPr/>
          </p:nvSpPr>
          <p:spPr bwMode="auto">
            <a:xfrm rot="5400000" flipV="1">
              <a:off x="646605" y="5823376"/>
              <a:ext cx="191105" cy="230188"/>
            </a:xfrm>
            <a:prstGeom prst="rtTriangle">
              <a:avLst/>
            </a:prstGeom>
            <a:solidFill>
              <a:srgbClr val="1B1B1B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4F3A4D29-C856-4590-8ADF-6521E66B52E7}"/>
                </a:ext>
              </a:extLst>
            </p:cNvPr>
            <p:cNvSpPr/>
            <p:nvPr/>
          </p:nvSpPr>
          <p:spPr bwMode="auto">
            <a:xfrm>
              <a:off x="627063" y="5445850"/>
              <a:ext cx="397065" cy="397065"/>
            </a:xfrm>
            <a:prstGeom prst="rect">
              <a:avLst/>
            </a:prstGeom>
            <a:solidFill>
              <a:srgbClr val="92929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5</a:t>
              </a:r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09B49F4F-C539-4654-B3E6-F75B655FD2A9}"/>
              </a:ext>
            </a:extLst>
          </p:cNvPr>
          <p:cNvSpPr txBox="1">
            <a:spLocks/>
          </p:cNvSpPr>
          <p:nvPr/>
        </p:nvSpPr>
        <p:spPr>
          <a:xfrm>
            <a:off x="627063" y="200327"/>
            <a:ext cx="9212557" cy="8331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583" rtl="0" eaLnBrk="1" latinLnBrk="0" hangingPunct="1">
              <a:spcBef>
                <a:spcPct val="0"/>
              </a:spcBef>
              <a:buNone/>
              <a:defRPr sz="2801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Takeaways</a:t>
            </a:r>
          </a:p>
          <a:p>
            <a:pPr fontAlgn="auto">
              <a:spcAft>
                <a:spcPts val="0"/>
              </a:spcAft>
            </a:pPr>
            <a:r>
              <a:rPr lang="en-US" sz="2800" dirty="0"/>
              <a:t>DevOps is not about a destination, it’s about the journey</a:t>
            </a:r>
            <a:endParaRPr lang="en-US" sz="2800" dirty="0">
              <a:cs typeface="Calibri"/>
            </a:endParaRP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85B8A27D-CBC7-4F23-939F-E7428F60D39D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1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</p:spTree>
    <p:extLst>
      <p:ext uri="{BB962C8B-B14F-4D97-AF65-F5344CB8AC3E}">
        <p14:creationId xmlns:p14="http://schemas.microsoft.com/office/powerpoint/2010/main" val="305521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020DCD1-1050-4A67-8339-C577DBD0E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redits</a:t>
            </a:r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9AAE14C-1714-49F9-AEAA-EC654AC7BC1D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experts</a:t>
            </a:r>
            <a:r>
              <a:rPr lang="de-DE" dirty="0"/>
              <a:t> </a:t>
            </a:r>
            <a:r>
              <a:rPr lang="de-DE" dirty="0" err="1"/>
              <a:t>involv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re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:</a:t>
            </a:r>
          </a:p>
          <a:p>
            <a:r>
              <a:rPr lang="de-DE" b="0" dirty="0"/>
              <a:t>Frances </a:t>
            </a:r>
            <a:r>
              <a:rPr lang="de-DE" b="0" dirty="0" err="1"/>
              <a:t>Paulisch</a:t>
            </a:r>
            <a:endParaRPr lang="de-DE" b="0" dirty="0"/>
          </a:p>
          <a:p>
            <a:r>
              <a:rPr lang="de-DE" b="0" dirty="0"/>
              <a:t>Chris Drexler</a:t>
            </a:r>
          </a:p>
          <a:p>
            <a:r>
              <a:rPr lang="de-DE" b="0" dirty="0"/>
              <a:t>Dave </a:t>
            </a:r>
            <a:r>
              <a:rPr lang="de-DE" b="0" dirty="0" err="1"/>
              <a:t>Malgiaritta</a:t>
            </a:r>
            <a:endParaRPr lang="de-DE" b="0" dirty="0"/>
          </a:p>
          <a:p>
            <a:r>
              <a:rPr lang="de-DE" b="0" dirty="0"/>
              <a:t>Jochen Michel</a:t>
            </a:r>
          </a:p>
          <a:p>
            <a:endParaRPr lang="de-DE" dirty="0"/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ED61C19F-CE09-42F1-9BDF-2F3E21D84E6B}"/>
              </a:ext>
            </a:extLst>
          </p:cNvPr>
          <p:cNvSpPr txBox="1">
            <a:spLocks noGrp="1"/>
          </p:cNvSpPr>
          <p:nvPr>
            <p:ph sz="quarter" idx="24"/>
          </p:nvPr>
        </p:nvSpPr>
        <p:spPr>
          <a:xfrm>
            <a:off x="541338" y="1620838"/>
            <a:ext cx="4527550" cy="2519362"/>
          </a:xfrm>
          <a:prstGeom prst="rect">
            <a:avLst/>
          </a:prstGeom>
        </p:spPr>
        <p:txBody>
          <a:bodyPr vert="horz" lIns="0" tIns="0" rIns="0" bIns="144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iemens Healthineers</a:t>
            </a:r>
          </a:p>
          <a:p>
            <a:pPr lvl="1"/>
            <a:r>
              <a:rPr lang="en-GB" dirty="0"/>
              <a:t>SHS DI CT R&amp;D ISA</a:t>
            </a:r>
          </a:p>
          <a:p>
            <a:pPr lvl="1"/>
            <a:r>
              <a:rPr lang="en-GB" dirty="0"/>
              <a:t>Siemens Healthcare GmbH</a:t>
            </a:r>
          </a:p>
          <a:p>
            <a:pPr lvl="1"/>
            <a:r>
              <a:rPr lang="en-GB" dirty="0" err="1"/>
              <a:t>Siemensstr</a:t>
            </a:r>
            <a:r>
              <a:rPr lang="en-GB" dirty="0"/>
              <a:t>. 3</a:t>
            </a:r>
          </a:p>
          <a:p>
            <a:pPr lvl="1"/>
            <a:r>
              <a:rPr lang="en-GB" dirty="0"/>
              <a:t>91301 </a:t>
            </a:r>
            <a:r>
              <a:rPr lang="en-GB" dirty="0" err="1"/>
              <a:t>Forchheim</a:t>
            </a:r>
            <a:r>
              <a:rPr lang="en-GB" dirty="0"/>
              <a:t>, Germany</a:t>
            </a:r>
          </a:p>
          <a:p>
            <a:pPr lvl="1"/>
            <a:r>
              <a:rPr lang="en-GB" dirty="0"/>
              <a:t>siemens-healthineers.com</a:t>
            </a:r>
          </a:p>
        </p:txBody>
      </p:sp>
      <p:cxnSp>
        <p:nvCxnSpPr>
          <p:cNvPr id="10" name="Line top left">
            <a:extLst>
              <a:ext uri="{FF2B5EF4-FFF2-40B4-BE49-F238E27FC236}">
                <a16:creationId xmlns:a16="http://schemas.microsoft.com/office/drawing/2014/main" id="{1CDB0931-5263-41EC-BDF4-7FAB5DFF8B44}"/>
              </a:ext>
            </a:extLst>
          </p:cNvPr>
          <p:cNvCxnSpPr/>
          <p:nvPr/>
        </p:nvCxnSpPr>
        <p:spPr>
          <a:xfrm>
            <a:off x="539750" y="1620000"/>
            <a:ext cx="451800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ne buttom left">
            <a:extLst>
              <a:ext uri="{FF2B5EF4-FFF2-40B4-BE49-F238E27FC236}">
                <a16:creationId xmlns:a16="http://schemas.microsoft.com/office/drawing/2014/main" id="{27F760E9-2F70-478A-8721-4180A2C546C0}"/>
              </a:ext>
            </a:extLst>
          </p:cNvPr>
          <p:cNvCxnSpPr/>
          <p:nvPr/>
        </p:nvCxnSpPr>
        <p:spPr>
          <a:xfrm>
            <a:off x="539750" y="4140000"/>
            <a:ext cx="451800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ne top right">
            <a:extLst>
              <a:ext uri="{FF2B5EF4-FFF2-40B4-BE49-F238E27FC236}">
                <a16:creationId xmlns:a16="http://schemas.microsoft.com/office/drawing/2014/main" id="{08C2F93D-98CF-440C-87EB-4D0A02494835}"/>
              </a:ext>
            </a:extLst>
          </p:cNvPr>
          <p:cNvCxnSpPr/>
          <p:nvPr/>
        </p:nvCxnSpPr>
        <p:spPr>
          <a:xfrm>
            <a:off x="5237163" y="1620000"/>
            <a:ext cx="451800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 buttom right">
            <a:extLst>
              <a:ext uri="{FF2B5EF4-FFF2-40B4-BE49-F238E27FC236}">
                <a16:creationId xmlns:a16="http://schemas.microsoft.com/office/drawing/2014/main" id="{D65ABBF1-F558-4D0B-A7C8-5B4BA599CB1E}"/>
              </a:ext>
            </a:extLst>
          </p:cNvPr>
          <p:cNvCxnSpPr/>
          <p:nvPr/>
        </p:nvCxnSpPr>
        <p:spPr>
          <a:xfrm>
            <a:off x="5237163" y="4140000"/>
            <a:ext cx="451800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F781C013-F2B9-4C54-9D39-88EF8639754C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1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</p:spTree>
    <p:extLst>
      <p:ext uri="{BB962C8B-B14F-4D97-AF65-F5344CB8AC3E}">
        <p14:creationId xmlns:p14="http://schemas.microsoft.com/office/powerpoint/2010/main" val="90505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6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46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0AFAC4B4-6D98-4336-A411-71EACD3BFF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879" y="0"/>
            <a:ext cx="158787" cy="1587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1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 dirty="0"/>
              <a:t>Siemens Healthineers (numbers prior to the Varian merger)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541268" y="6296400"/>
            <a:ext cx="4518000" cy="36008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dirty="0"/>
              <a:t>1) Revenue FY 2020</a:t>
            </a:r>
            <a:br>
              <a:rPr lang="en-GB" dirty="0"/>
            </a:br>
            <a:r>
              <a:rPr lang="en-GB" dirty="0"/>
              <a:t>2) AdvaMedDX, “A Policy Primer on Diagnostics”, June 2011, p. 3 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C563AEE-1FBC-6D47-A31A-3BBFAF394091}"/>
              </a:ext>
            </a:extLst>
          </p:cNvPr>
          <p:cNvGrpSpPr/>
          <p:nvPr/>
        </p:nvGrpSpPr>
        <p:grpSpPr>
          <a:xfrm>
            <a:off x="610581" y="1445974"/>
            <a:ext cx="10752477" cy="4852832"/>
            <a:chOff x="928834" y="1530425"/>
            <a:chExt cx="10749989" cy="4851709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A1E8DF8-0B39-B942-9A50-F76C48DCDEA3}"/>
                </a:ext>
              </a:extLst>
            </p:cNvPr>
            <p:cNvGrpSpPr/>
            <p:nvPr/>
          </p:nvGrpSpPr>
          <p:grpSpPr>
            <a:xfrm flipH="1">
              <a:off x="2077439" y="2134258"/>
              <a:ext cx="4831595" cy="3337028"/>
              <a:chOff x="5484595" y="2289944"/>
              <a:chExt cx="4831595" cy="3337028"/>
            </a:xfrm>
          </p:grpSpPr>
          <p:cxnSp>
            <p:nvCxnSpPr>
              <p:cNvPr id="58" name="Gerade Verbindung 24">
                <a:extLst>
                  <a:ext uri="{FF2B5EF4-FFF2-40B4-BE49-F238E27FC236}">
                    <a16:creationId xmlns:a16="http://schemas.microsoft.com/office/drawing/2014/main" id="{761F273D-384E-FF44-959C-CB7A3885DC5B}"/>
                  </a:ext>
                </a:extLst>
              </p:cNvPr>
              <p:cNvCxnSpPr/>
              <p:nvPr/>
            </p:nvCxnSpPr>
            <p:spPr bwMode="gray">
              <a:xfrm flipH="1" flipV="1">
                <a:off x="6325170" y="4075731"/>
                <a:ext cx="1327352" cy="1551241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24">
                <a:extLst>
                  <a:ext uri="{FF2B5EF4-FFF2-40B4-BE49-F238E27FC236}">
                    <a16:creationId xmlns:a16="http://schemas.microsoft.com/office/drawing/2014/main" id="{02D549D2-9A65-BE46-AB24-970BD871CEE9}"/>
                  </a:ext>
                </a:extLst>
              </p:cNvPr>
              <p:cNvCxnSpPr/>
              <p:nvPr/>
            </p:nvCxnSpPr>
            <p:spPr bwMode="gray">
              <a:xfrm flipH="1">
                <a:off x="6618595" y="2289944"/>
                <a:ext cx="2029146" cy="1529397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49">
                <a:extLst>
                  <a:ext uri="{FF2B5EF4-FFF2-40B4-BE49-F238E27FC236}">
                    <a16:creationId xmlns:a16="http://schemas.microsoft.com/office/drawing/2014/main" id="{9BF2A56C-B2E5-1442-BD11-BEED6FB15C51}"/>
                  </a:ext>
                </a:extLst>
              </p:cNvPr>
              <p:cNvCxnSpPr/>
              <p:nvPr/>
            </p:nvCxnSpPr>
            <p:spPr bwMode="gray">
              <a:xfrm flipH="1" flipV="1">
                <a:off x="5484595" y="4187010"/>
                <a:ext cx="3874854" cy="1156712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47">
                <a:extLst>
                  <a:ext uri="{FF2B5EF4-FFF2-40B4-BE49-F238E27FC236}">
                    <a16:creationId xmlns:a16="http://schemas.microsoft.com/office/drawing/2014/main" id="{8FF24946-D19D-1248-B2DD-F01B1230BE1C}"/>
                  </a:ext>
                </a:extLst>
              </p:cNvPr>
              <p:cNvCxnSpPr/>
              <p:nvPr/>
            </p:nvCxnSpPr>
            <p:spPr bwMode="gray">
              <a:xfrm flipH="1" flipV="1">
                <a:off x="6280721" y="3998190"/>
                <a:ext cx="4035469" cy="278260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 Verbindung 42">
                <a:extLst>
                  <a:ext uri="{FF2B5EF4-FFF2-40B4-BE49-F238E27FC236}">
                    <a16:creationId xmlns:a16="http://schemas.microsoft.com/office/drawing/2014/main" id="{DF3EDA50-285A-0C40-A947-13A34C8B6DFE}"/>
                  </a:ext>
                </a:extLst>
              </p:cNvPr>
              <p:cNvCxnSpPr/>
              <p:nvPr/>
            </p:nvCxnSpPr>
            <p:spPr bwMode="gray">
              <a:xfrm flipV="1">
                <a:off x="6375174" y="3121476"/>
                <a:ext cx="3705451" cy="903183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CC91A760-B54F-CF41-907D-CD390FE40F94}"/>
                </a:ext>
              </a:extLst>
            </p:cNvPr>
            <p:cNvGrpSpPr/>
            <p:nvPr/>
          </p:nvGrpSpPr>
          <p:grpSpPr>
            <a:xfrm>
              <a:off x="5332195" y="2137544"/>
              <a:ext cx="4831595" cy="3337028"/>
              <a:chOff x="5332195" y="2137544"/>
              <a:chExt cx="4831595" cy="3337028"/>
            </a:xfrm>
          </p:grpSpPr>
          <p:cxnSp>
            <p:nvCxnSpPr>
              <p:cNvPr id="63" name="Gerade Verbindung 24">
                <a:extLst>
                  <a:ext uri="{FF2B5EF4-FFF2-40B4-BE49-F238E27FC236}">
                    <a16:creationId xmlns:a16="http://schemas.microsoft.com/office/drawing/2014/main" id="{05F32259-7673-4034-A890-1CCA119E1DB2}"/>
                  </a:ext>
                </a:extLst>
              </p:cNvPr>
              <p:cNvCxnSpPr/>
              <p:nvPr/>
            </p:nvCxnSpPr>
            <p:spPr bwMode="gray">
              <a:xfrm flipH="1" flipV="1">
                <a:off x="6172770" y="3923331"/>
                <a:ext cx="1327352" cy="1551241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24">
                <a:extLst>
                  <a:ext uri="{FF2B5EF4-FFF2-40B4-BE49-F238E27FC236}">
                    <a16:creationId xmlns:a16="http://schemas.microsoft.com/office/drawing/2014/main" id="{DB235186-295F-4902-A5A2-4BAE906123CF}"/>
                  </a:ext>
                </a:extLst>
              </p:cNvPr>
              <p:cNvCxnSpPr/>
              <p:nvPr/>
            </p:nvCxnSpPr>
            <p:spPr bwMode="gray">
              <a:xfrm flipH="1">
                <a:off x="6466195" y="2137544"/>
                <a:ext cx="2029146" cy="1529397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 Verbindung 49">
                <a:extLst>
                  <a:ext uri="{FF2B5EF4-FFF2-40B4-BE49-F238E27FC236}">
                    <a16:creationId xmlns:a16="http://schemas.microsoft.com/office/drawing/2014/main" id="{A1B8A315-DB37-40F8-B5F5-820D2013EC0F}"/>
                  </a:ext>
                </a:extLst>
              </p:cNvPr>
              <p:cNvCxnSpPr/>
              <p:nvPr/>
            </p:nvCxnSpPr>
            <p:spPr bwMode="gray">
              <a:xfrm flipH="1" flipV="1">
                <a:off x="5332195" y="4034610"/>
                <a:ext cx="3874854" cy="1156712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 Verbindung 47">
                <a:extLst>
                  <a:ext uri="{FF2B5EF4-FFF2-40B4-BE49-F238E27FC236}">
                    <a16:creationId xmlns:a16="http://schemas.microsoft.com/office/drawing/2014/main" id="{678288C3-4240-4AC0-9663-96C0E3AF9DB8}"/>
                  </a:ext>
                </a:extLst>
              </p:cNvPr>
              <p:cNvCxnSpPr/>
              <p:nvPr/>
            </p:nvCxnSpPr>
            <p:spPr bwMode="gray">
              <a:xfrm flipH="1" flipV="1">
                <a:off x="6128321" y="3845790"/>
                <a:ext cx="4035469" cy="278260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Gerade Verbindung 42">
                <a:extLst>
                  <a:ext uri="{FF2B5EF4-FFF2-40B4-BE49-F238E27FC236}">
                    <a16:creationId xmlns:a16="http://schemas.microsoft.com/office/drawing/2014/main" id="{EE6FEB9A-DC42-4AD7-B56A-235BFB656AFF}"/>
                  </a:ext>
                </a:extLst>
              </p:cNvPr>
              <p:cNvCxnSpPr/>
              <p:nvPr/>
            </p:nvCxnSpPr>
            <p:spPr bwMode="gray">
              <a:xfrm flipV="1">
                <a:off x="6222774" y="2969076"/>
                <a:ext cx="3705451" cy="903183"/>
              </a:xfrm>
              <a:prstGeom prst="line">
                <a:avLst/>
              </a:prstGeom>
              <a:ln w="19050">
                <a:solidFill>
                  <a:srgbClr val="1B1B1B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129">
              <a:extLst>
                <a:ext uri="{FF2B5EF4-FFF2-40B4-BE49-F238E27FC236}">
                  <a16:creationId xmlns:a16="http://schemas.microsoft.com/office/drawing/2014/main" id="{585CFFF1-A6BB-466E-AD43-63B231621A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009426" y="4969294"/>
              <a:ext cx="1498495" cy="1022981"/>
              <a:chOff x="7344955" y="4864520"/>
              <a:chExt cx="1502014" cy="1023218"/>
            </a:xfrm>
          </p:grpSpPr>
          <p:sp>
            <p:nvSpPr>
              <p:cNvPr id="80" name="Rechteck 57">
                <a:extLst>
                  <a:ext uri="{FF2B5EF4-FFF2-40B4-BE49-F238E27FC236}">
                    <a16:creationId xmlns:a16="http://schemas.microsoft.com/office/drawing/2014/main" id="{F9A64944-710B-465A-B7C5-7A530981D490}"/>
                  </a:ext>
                </a:extLst>
              </p:cNvPr>
              <p:cNvSpPr/>
              <p:nvPr/>
            </p:nvSpPr>
            <p:spPr bwMode="gray">
              <a:xfrm>
                <a:off x="7344955" y="5213707"/>
                <a:ext cx="1502014" cy="674031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algn="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of global top 100</a:t>
                </a:r>
              </a:p>
              <a:p>
                <a:pPr algn="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providers partner</a:t>
                </a:r>
              </a:p>
              <a:p>
                <a:pPr algn="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with us</a:t>
                </a:r>
              </a:p>
            </p:txBody>
          </p:sp>
          <p:sp>
            <p:nvSpPr>
              <p:cNvPr id="81" name="Rechteck 57">
                <a:extLst>
                  <a:ext uri="{FF2B5EF4-FFF2-40B4-BE49-F238E27FC236}">
                    <a16:creationId xmlns:a16="http://schemas.microsoft.com/office/drawing/2014/main" id="{367FBE9C-577B-41CD-ABB4-485BA0962C2D}"/>
                  </a:ext>
                </a:extLst>
              </p:cNvPr>
              <p:cNvSpPr/>
              <p:nvPr/>
            </p:nvSpPr>
            <p:spPr bwMode="gray">
              <a:xfrm>
                <a:off x="7853665" y="4864520"/>
                <a:ext cx="993304" cy="413479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algn="r" defTabSz="1086911">
                  <a:lnSpc>
                    <a:spcPct val="70000"/>
                  </a:lnSpc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&gt;90%</a:t>
                </a:r>
              </a:p>
            </p:txBody>
          </p:sp>
        </p:grpSp>
        <p:grpSp>
          <p:nvGrpSpPr>
            <p:cNvPr id="82" name="Group 136">
              <a:extLst>
                <a:ext uri="{FF2B5EF4-FFF2-40B4-BE49-F238E27FC236}">
                  <a16:creationId xmlns:a16="http://schemas.microsoft.com/office/drawing/2014/main" id="{F034CADA-7D97-4161-8E36-19718320AECC}"/>
                </a:ext>
              </a:extLst>
            </p:cNvPr>
            <p:cNvGrpSpPr/>
            <p:nvPr/>
          </p:nvGrpSpPr>
          <p:grpSpPr bwMode="gray">
            <a:xfrm>
              <a:off x="8234430" y="1530425"/>
              <a:ext cx="1549992" cy="987905"/>
              <a:chOff x="10624293" y="3970853"/>
              <a:chExt cx="1553632" cy="988136"/>
            </a:xfrm>
          </p:grpSpPr>
          <p:sp>
            <p:nvSpPr>
              <p:cNvPr id="83" name="Rechteck 51">
                <a:extLst>
                  <a:ext uri="{FF2B5EF4-FFF2-40B4-BE49-F238E27FC236}">
                    <a16:creationId xmlns:a16="http://schemas.microsoft.com/office/drawing/2014/main" id="{85CADE1A-52D0-492F-8B8F-1B9D4F7AD974}"/>
                  </a:ext>
                </a:extLst>
              </p:cNvPr>
              <p:cNvSpPr/>
              <p:nvPr/>
            </p:nvSpPr>
            <p:spPr bwMode="gray">
              <a:xfrm>
                <a:off x="11039664" y="4284957"/>
                <a:ext cx="1138261" cy="674032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algn="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patient </a:t>
                </a:r>
              </a:p>
              <a:p>
                <a:pPr algn="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touch points </a:t>
                </a:r>
                <a:b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</a:b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every hour</a:t>
                </a:r>
                <a:endParaRPr lang="en-US" sz="1400" baseline="30000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84" name="Rechteck 51">
                <a:extLst>
                  <a:ext uri="{FF2B5EF4-FFF2-40B4-BE49-F238E27FC236}">
                    <a16:creationId xmlns:a16="http://schemas.microsoft.com/office/drawing/2014/main" id="{02148D42-38D9-43BB-B55F-014A0520BDFB}"/>
                  </a:ext>
                </a:extLst>
              </p:cNvPr>
              <p:cNvSpPr/>
              <p:nvPr/>
            </p:nvSpPr>
            <p:spPr bwMode="gray">
              <a:xfrm>
                <a:off x="10624293" y="3970853"/>
                <a:ext cx="1553632" cy="445636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algn="r" defTabSz="1086911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  <a:ea typeface="+mn-ea"/>
                  </a:rPr>
                  <a:t>~240,000</a:t>
                </a:r>
                <a:endParaRPr lang="en-US" sz="1200" baseline="30000" dirty="0">
                  <a:solidFill>
                    <a:srgbClr val="EC6602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86" name="Group 154">
              <a:extLst>
                <a:ext uri="{FF2B5EF4-FFF2-40B4-BE49-F238E27FC236}">
                  <a16:creationId xmlns:a16="http://schemas.microsoft.com/office/drawing/2014/main" id="{3C5BB11A-58FB-4752-84B2-8BC9E2E649D5}"/>
                </a:ext>
              </a:extLst>
            </p:cNvPr>
            <p:cNvGrpSpPr/>
            <p:nvPr/>
          </p:nvGrpSpPr>
          <p:grpSpPr bwMode="gray">
            <a:xfrm>
              <a:off x="947056" y="2536168"/>
              <a:ext cx="1396536" cy="692928"/>
              <a:chOff x="3062159" y="5526242"/>
              <a:chExt cx="1399816" cy="693090"/>
            </a:xfrm>
          </p:grpSpPr>
          <p:sp>
            <p:nvSpPr>
              <p:cNvPr id="87" name="Rechteck 17">
                <a:extLst>
                  <a:ext uri="{FF2B5EF4-FFF2-40B4-BE49-F238E27FC236}">
                    <a16:creationId xmlns:a16="http://schemas.microsoft.com/office/drawing/2014/main" id="{9265A7FB-B54D-4417-B1C9-8042126D0E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62159" y="5933034"/>
                <a:ext cx="916822" cy="286298"/>
              </a:xfrm>
              <a:prstGeom prst="rect">
                <a:avLst/>
              </a:prstGeom>
              <a:noFill/>
            </p:spPr>
            <p:txBody>
              <a:bodyPr wrap="none" anchor="t" anchorCtr="0">
                <a:spAutoFit/>
              </a:bodyPr>
              <a:lstStyle/>
              <a:p>
                <a:pPr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Revenue</a:t>
                </a:r>
                <a:r>
                  <a:rPr lang="en-US" sz="1400" baseline="30000" dirty="0">
                    <a:solidFill>
                      <a:srgbClr val="000000"/>
                    </a:solidFill>
                    <a:latin typeface="Calibri"/>
                    <a:ea typeface="+mn-ea"/>
                  </a:rPr>
                  <a:t>1)</a:t>
                </a:r>
                <a:endParaRPr lang="en-US" sz="1400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88" name="Rechteck 17">
                <a:extLst>
                  <a:ext uri="{FF2B5EF4-FFF2-40B4-BE49-F238E27FC236}">
                    <a16:creationId xmlns:a16="http://schemas.microsoft.com/office/drawing/2014/main" id="{69425BDC-1C60-42CE-A21E-99AC9EBDA9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62159" y="5526242"/>
                <a:ext cx="1399816" cy="445739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defTabSz="1086911">
                  <a:lnSpc>
                    <a:spcPct val="80000"/>
                  </a:lnSpc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€14.5bn</a:t>
                </a:r>
              </a:p>
            </p:txBody>
          </p:sp>
          <p:sp>
            <p:nvSpPr>
              <p:cNvPr id="89" name="Rechteck 17">
                <a:extLst>
                  <a:ext uri="{FF2B5EF4-FFF2-40B4-BE49-F238E27FC236}">
                    <a16:creationId xmlns:a16="http://schemas.microsoft.com/office/drawing/2014/main" id="{71A28507-7A06-42F4-B6C0-C81D5F49891C}"/>
                  </a:ext>
                </a:extLst>
              </p:cNvPr>
              <p:cNvSpPr/>
              <p:nvPr/>
            </p:nvSpPr>
            <p:spPr bwMode="gray">
              <a:xfrm>
                <a:off x="3669486" y="5813978"/>
                <a:ext cx="185165" cy="243841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defTabSz="1086911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910041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90" name="Group 157">
              <a:extLst>
                <a:ext uri="{FF2B5EF4-FFF2-40B4-BE49-F238E27FC236}">
                  <a16:creationId xmlns:a16="http://schemas.microsoft.com/office/drawing/2014/main" id="{493A11CF-2940-4B87-9346-9F0814C6DF29}"/>
                </a:ext>
              </a:extLst>
            </p:cNvPr>
            <p:cNvGrpSpPr/>
            <p:nvPr/>
          </p:nvGrpSpPr>
          <p:grpSpPr bwMode="gray">
            <a:xfrm>
              <a:off x="9858258" y="2137544"/>
              <a:ext cx="1459090" cy="1310012"/>
              <a:chOff x="846281" y="4319095"/>
              <a:chExt cx="1462516" cy="1310319"/>
            </a:xfrm>
          </p:grpSpPr>
          <p:sp>
            <p:nvSpPr>
              <p:cNvPr id="91" name="Rechteck 15">
                <a:extLst>
                  <a:ext uri="{FF2B5EF4-FFF2-40B4-BE49-F238E27FC236}">
                    <a16:creationId xmlns:a16="http://schemas.microsoft.com/office/drawing/2014/main" id="{66F5FA6A-5B83-4B82-8A2C-5B20208467A2}"/>
                  </a:ext>
                </a:extLst>
              </p:cNvPr>
              <p:cNvSpPr/>
              <p:nvPr/>
            </p:nvSpPr>
            <p:spPr bwMode="gray">
              <a:xfrm>
                <a:off x="1102441" y="5149282"/>
                <a:ext cx="1206356" cy="480132"/>
              </a:xfrm>
              <a:prstGeom prst="rect">
                <a:avLst/>
              </a:prstGeom>
              <a:noFill/>
            </p:spPr>
            <p:txBody>
              <a:bodyPr wrap="none" anchor="t" anchorCtr="0">
                <a:spAutoFit/>
              </a:bodyPr>
              <a:lstStyle/>
              <a:p>
                <a:pPr algn="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in developing </a:t>
                </a:r>
              </a:p>
              <a:p>
                <a:pPr algn="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countries</a:t>
                </a:r>
                <a:endParaRPr lang="en-US" sz="1400" baseline="30000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92" name="Rechteck 15">
                <a:extLst>
                  <a:ext uri="{FF2B5EF4-FFF2-40B4-BE49-F238E27FC236}">
                    <a16:creationId xmlns:a16="http://schemas.microsoft.com/office/drawing/2014/main" id="{3A2B44CD-08E2-4C8C-8F17-B6B63BF39A46}"/>
                  </a:ext>
                </a:extLst>
              </p:cNvPr>
              <p:cNvSpPr/>
              <p:nvPr/>
            </p:nvSpPr>
            <p:spPr bwMode="gray">
              <a:xfrm>
                <a:off x="1093761" y="4526635"/>
                <a:ext cx="1215036" cy="715107"/>
              </a:xfrm>
              <a:prstGeom prst="rect">
                <a:avLst/>
              </a:prstGeom>
              <a:noFill/>
            </p:spPr>
            <p:txBody>
              <a:bodyPr wrap="none" anchor="t" anchorCtr="0">
                <a:spAutoFit/>
              </a:bodyPr>
              <a:lstStyle/>
              <a:p>
                <a:pPr algn="r" defTabSz="1086911" fontAlgn="auto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&gt;1.4bn</a:t>
                </a:r>
                <a:br>
                  <a:rPr lang="en-US" sz="2801" b="1" dirty="0">
                    <a:solidFill>
                      <a:srgbClr val="EC6602"/>
                    </a:solidFill>
                    <a:latin typeface="Calibri"/>
                  </a:rPr>
                </a:b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people</a:t>
                </a:r>
              </a:p>
            </p:txBody>
          </p:sp>
          <p:sp>
            <p:nvSpPr>
              <p:cNvPr id="93" name="Rechteck 15">
                <a:extLst>
                  <a:ext uri="{FF2B5EF4-FFF2-40B4-BE49-F238E27FC236}">
                    <a16:creationId xmlns:a16="http://schemas.microsoft.com/office/drawing/2014/main" id="{9E640947-857E-40D5-9D40-8EC6E7EE3D6E}"/>
                  </a:ext>
                </a:extLst>
              </p:cNvPr>
              <p:cNvSpPr/>
              <p:nvPr/>
            </p:nvSpPr>
            <p:spPr bwMode="gray">
              <a:xfrm>
                <a:off x="846281" y="4319095"/>
                <a:ext cx="1462516" cy="286233"/>
              </a:xfrm>
              <a:prstGeom prst="rect">
                <a:avLst/>
              </a:prstGeom>
              <a:noFill/>
            </p:spPr>
            <p:txBody>
              <a:bodyPr wrap="none" anchor="t" anchorCtr="0">
                <a:spAutoFit/>
              </a:bodyPr>
              <a:lstStyle/>
              <a:p>
                <a:pPr algn="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Access to care for</a:t>
                </a:r>
              </a:p>
            </p:txBody>
          </p:sp>
        </p:grpSp>
        <p:grpSp>
          <p:nvGrpSpPr>
            <p:cNvPr id="95" name="Group 168">
              <a:extLst>
                <a:ext uri="{FF2B5EF4-FFF2-40B4-BE49-F238E27FC236}">
                  <a16:creationId xmlns:a16="http://schemas.microsoft.com/office/drawing/2014/main" id="{435B2B8C-F241-44D5-B00B-61BE90F28E67}"/>
                </a:ext>
              </a:extLst>
            </p:cNvPr>
            <p:cNvGrpSpPr/>
            <p:nvPr/>
          </p:nvGrpSpPr>
          <p:grpSpPr bwMode="gray">
            <a:xfrm>
              <a:off x="1644925" y="4962556"/>
              <a:ext cx="1370888" cy="929115"/>
              <a:chOff x="929345" y="3413427"/>
              <a:chExt cx="1374102" cy="929332"/>
            </a:xfrm>
          </p:grpSpPr>
          <p:sp>
            <p:nvSpPr>
              <p:cNvPr id="96" name="Rechteck 12">
                <a:extLst>
                  <a:ext uri="{FF2B5EF4-FFF2-40B4-BE49-F238E27FC236}">
                    <a16:creationId xmlns:a16="http://schemas.microsoft.com/office/drawing/2014/main" id="{21A13BDC-0681-40CA-8C56-29C6C1FC4C5E}"/>
                  </a:ext>
                </a:extLst>
              </p:cNvPr>
              <p:cNvSpPr/>
              <p:nvPr/>
            </p:nvSpPr>
            <p:spPr bwMode="gray">
              <a:xfrm>
                <a:off x="929345" y="3862627"/>
                <a:ext cx="1125625" cy="480132"/>
              </a:xfrm>
              <a:prstGeom prst="rect">
                <a:avLst/>
              </a:prstGeom>
              <a:noFill/>
              <a:ln w="28575">
                <a:noFill/>
              </a:ln>
            </p:spPr>
            <p:txBody>
              <a:bodyPr wrap="none" anchor="t" anchorCtr="0">
                <a:spAutoFit/>
              </a:bodyPr>
              <a:lstStyle/>
              <a:p>
                <a:pPr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highly skilled</a:t>
                </a:r>
              </a:p>
              <a:p>
                <a:pPr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employees</a:t>
                </a:r>
              </a:p>
            </p:txBody>
          </p:sp>
          <p:sp>
            <p:nvSpPr>
              <p:cNvPr id="97" name="Rechteck 12">
                <a:extLst>
                  <a:ext uri="{FF2B5EF4-FFF2-40B4-BE49-F238E27FC236}">
                    <a16:creationId xmlns:a16="http://schemas.microsoft.com/office/drawing/2014/main" id="{221C868D-2C90-4993-B422-18B1CA9BEE73}"/>
                  </a:ext>
                </a:extLst>
              </p:cNvPr>
              <p:cNvSpPr/>
              <p:nvPr/>
            </p:nvSpPr>
            <p:spPr bwMode="gray">
              <a:xfrm>
                <a:off x="929345" y="3413427"/>
                <a:ext cx="1374102" cy="445739"/>
              </a:xfrm>
              <a:prstGeom prst="rect">
                <a:avLst/>
              </a:prstGeom>
              <a:noFill/>
              <a:ln w="28575">
                <a:noFill/>
              </a:ln>
            </p:spPr>
            <p:txBody>
              <a:bodyPr wrap="none" anchor="t" anchorCtr="0">
                <a:spAutoFit/>
              </a:bodyPr>
              <a:lstStyle/>
              <a:p>
                <a:pPr defTabSz="1086911">
                  <a:lnSpc>
                    <a:spcPct val="80000"/>
                  </a:lnSpc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~54,000</a:t>
                </a:r>
              </a:p>
            </p:txBody>
          </p:sp>
        </p:grpSp>
        <p:grpSp>
          <p:nvGrpSpPr>
            <p:cNvPr id="99" name="Group 199">
              <a:extLst>
                <a:ext uri="{FF2B5EF4-FFF2-40B4-BE49-F238E27FC236}">
                  <a16:creationId xmlns:a16="http://schemas.microsoft.com/office/drawing/2014/main" id="{D0DED590-F734-4BDA-BC02-87F04B835839}"/>
                </a:ext>
              </a:extLst>
            </p:cNvPr>
            <p:cNvGrpSpPr/>
            <p:nvPr/>
          </p:nvGrpSpPr>
          <p:grpSpPr bwMode="gray">
            <a:xfrm>
              <a:off x="3570163" y="5581403"/>
              <a:ext cx="1701547" cy="800731"/>
              <a:chOff x="1953214" y="2023725"/>
              <a:chExt cx="1705542" cy="800916"/>
            </a:xfrm>
          </p:grpSpPr>
          <p:sp>
            <p:nvSpPr>
              <p:cNvPr id="100" name="Rechteck 23">
                <a:extLst>
                  <a:ext uri="{FF2B5EF4-FFF2-40B4-BE49-F238E27FC236}">
                    <a16:creationId xmlns:a16="http://schemas.microsoft.com/office/drawing/2014/main" id="{5EF685A9-1407-41A6-A8CA-39118786D787}"/>
                  </a:ext>
                </a:extLst>
              </p:cNvPr>
              <p:cNvSpPr/>
              <p:nvPr/>
            </p:nvSpPr>
            <p:spPr bwMode="gray">
              <a:xfrm>
                <a:off x="1953214" y="2344510"/>
                <a:ext cx="1705542" cy="480131"/>
              </a:xfrm>
              <a:prstGeom prst="rect">
                <a:avLst/>
              </a:prstGeom>
              <a:noFill/>
            </p:spPr>
            <p:txBody>
              <a:bodyPr wrap="none" anchor="t" anchorCtr="0">
                <a:spAutoFit/>
              </a:bodyPr>
              <a:lstStyle/>
              <a:p>
                <a:pPr defTabSz="1086911">
                  <a:lnSpc>
                    <a:spcPct val="90000"/>
                  </a:lnSpc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</a:rPr>
                  <a:t>IPRs, thereof 13,500 </a:t>
                </a:r>
                <a:br>
                  <a:rPr lang="en-US" sz="1400" dirty="0">
                    <a:solidFill>
                      <a:srgbClr val="000000"/>
                    </a:solidFill>
                    <a:latin typeface="Calibri"/>
                  </a:rPr>
                </a:br>
                <a:r>
                  <a:rPr lang="en-US" sz="1400" dirty="0">
                    <a:solidFill>
                      <a:srgbClr val="000000"/>
                    </a:solidFill>
                    <a:latin typeface="Calibri"/>
                  </a:rPr>
                  <a:t>granted patents</a:t>
                </a:r>
                <a:endParaRPr lang="en-US" sz="1400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101" name="Rechteck 23">
                <a:extLst>
                  <a:ext uri="{FF2B5EF4-FFF2-40B4-BE49-F238E27FC236}">
                    <a16:creationId xmlns:a16="http://schemas.microsoft.com/office/drawing/2014/main" id="{95170327-93B1-4731-8A2D-948B9DC6E8D6}"/>
                  </a:ext>
                </a:extLst>
              </p:cNvPr>
              <p:cNvSpPr/>
              <p:nvPr/>
            </p:nvSpPr>
            <p:spPr bwMode="gray">
              <a:xfrm>
                <a:off x="1953214" y="2023725"/>
                <a:ext cx="1374107" cy="445738"/>
              </a:xfrm>
              <a:prstGeom prst="rect">
                <a:avLst/>
              </a:prstGeom>
              <a:noFill/>
            </p:spPr>
            <p:txBody>
              <a:bodyPr wrap="none" anchor="t" anchorCtr="0">
                <a:spAutoFit/>
              </a:bodyPr>
              <a:lstStyle/>
              <a:p>
                <a:pPr defTabSz="1086911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18,500+</a:t>
                </a:r>
              </a:p>
            </p:txBody>
          </p:sp>
        </p:grpSp>
        <p:grpSp>
          <p:nvGrpSpPr>
            <p:cNvPr id="102" name="Group 171">
              <a:extLst>
                <a:ext uri="{FF2B5EF4-FFF2-40B4-BE49-F238E27FC236}">
                  <a16:creationId xmlns:a16="http://schemas.microsoft.com/office/drawing/2014/main" id="{05A39EB2-D271-4024-A140-54CCC9B6BD2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398525" y="1530425"/>
              <a:ext cx="1272079" cy="1185757"/>
              <a:chOff x="2391128" y="3112044"/>
              <a:chExt cx="1275061" cy="1186036"/>
            </a:xfrm>
          </p:grpSpPr>
          <p:sp>
            <p:nvSpPr>
              <p:cNvPr id="103" name="Rechteck 44">
                <a:extLst>
                  <a:ext uri="{FF2B5EF4-FFF2-40B4-BE49-F238E27FC236}">
                    <a16:creationId xmlns:a16="http://schemas.microsoft.com/office/drawing/2014/main" id="{8A6E236D-28C1-4C78-9254-D936E057243A}"/>
                  </a:ext>
                </a:extLst>
              </p:cNvPr>
              <p:cNvSpPr/>
              <p:nvPr/>
            </p:nvSpPr>
            <p:spPr bwMode="gray">
              <a:xfrm>
                <a:off x="2391128" y="3817947"/>
                <a:ext cx="1204172" cy="480133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in majority of </a:t>
                </a:r>
              </a:p>
              <a:p>
                <a:pPr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businesses</a:t>
                </a:r>
              </a:p>
            </p:txBody>
          </p:sp>
          <p:sp>
            <p:nvSpPr>
              <p:cNvPr id="104" name="Rechteck 44">
                <a:extLst>
                  <a:ext uri="{FF2B5EF4-FFF2-40B4-BE49-F238E27FC236}">
                    <a16:creationId xmlns:a16="http://schemas.microsoft.com/office/drawing/2014/main" id="{AEAFDF80-8669-4E6C-81AC-E494746416F0}"/>
                  </a:ext>
                </a:extLst>
              </p:cNvPr>
              <p:cNvSpPr/>
              <p:nvPr/>
            </p:nvSpPr>
            <p:spPr bwMode="gray">
              <a:xfrm>
                <a:off x="2391128" y="3112044"/>
                <a:ext cx="1275061" cy="790531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defTabSz="1086911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Market</a:t>
                </a:r>
                <a:br>
                  <a:rPr lang="en-US" sz="2801" b="1" dirty="0">
                    <a:solidFill>
                      <a:srgbClr val="EC6602"/>
                    </a:solidFill>
                    <a:latin typeface="Calibri"/>
                  </a:rPr>
                </a:b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leader</a:t>
                </a:r>
              </a:p>
            </p:txBody>
          </p:sp>
        </p:grpSp>
        <p:grpSp>
          <p:nvGrpSpPr>
            <p:cNvPr id="105" name="Group 176">
              <a:extLst>
                <a:ext uri="{FF2B5EF4-FFF2-40B4-BE49-F238E27FC236}">
                  <a16:creationId xmlns:a16="http://schemas.microsoft.com/office/drawing/2014/main" id="{1AC84DD9-4F5A-43AD-A5D0-02BC40000089}"/>
                </a:ext>
              </a:extLst>
            </p:cNvPr>
            <p:cNvGrpSpPr/>
            <p:nvPr/>
          </p:nvGrpSpPr>
          <p:grpSpPr bwMode="gray">
            <a:xfrm>
              <a:off x="928834" y="3713357"/>
              <a:ext cx="1180626" cy="828303"/>
              <a:chOff x="3407494" y="1569110"/>
              <a:chExt cx="1183394" cy="828495"/>
            </a:xfrm>
          </p:grpSpPr>
          <p:sp>
            <p:nvSpPr>
              <p:cNvPr id="106" name="Rechteck 55">
                <a:extLst>
                  <a:ext uri="{FF2B5EF4-FFF2-40B4-BE49-F238E27FC236}">
                    <a16:creationId xmlns:a16="http://schemas.microsoft.com/office/drawing/2014/main" id="{9295B2D8-C958-4DCB-8775-8F08304F4754}"/>
                  </a:ext>
                </a:extLst>
              </p:cNvPr>
              <p:cNvSpPr/>
              <p:nvPr/>
            </p:nvSpPr>
            <p:spPr bwMode="gray">
              <a:xfrm>
                <a:off x="3407494" y="1917363"/>
                <a:ext cx="1183394" cy="480242"/>
              </a:xfrm>
              <a:prstGeom prst="rect">
                <a:avLst/>
              </a:prstGeom>
            </p:spPr>
            <p:txBody>
              <a:bodyPr wrap="square" lIns="0" rIns="0" anchor="t" anchorCtr="0">
                <a:spAutoFit/>
              </a:bodyPr>
              <a:lstStyle/>
              <a:p>
                <a:pPr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spc="-30" dirty="0">
                    <a:solidFill>
                      <a:srgbClr val="000000"/>
                    </a:solidFill>
                    <a:latin typeface="Calibri"/>
                    <a:ea typeface="+mn-ea"/>
                  </a:rPr>
                  <a:t>countries with</a:t>
                </a:r>
                <a:br>
                  <a:rPr lang="en-US" sz="1400" spc="-30" dirty="0">
                    <a:solidFill>
                      <a:srgbClr val="000000"/>
                    </a:solidFill>
                    <a:latin typeface="Calibri"/>
                    <a:ea typeface="+mn-ea"/>
                  </a:rPr>
                </a:br>
                <a:r>
                  <a:rPr lang="en-US" sz="1400" spc="-30" dirty="0">
                    <a:solidFill>
                      <a:srgbClr val="000000"/>
                    </a:solidFill>
                    <a:latin typeface="Calibri"/>
                    <a:ea typeface="+mn-ea"/>
                  </a:rPr>
                  <a:t>direct presence</a:t>
                </a:r>
              </a:p>
            </p:txBody>
          </p:sp>
          <p:sp>
            <p:nvSpPr>
              <p:cNvPr id="108" name="Rechteck 55">
                <a:extLst>
                  <a:ext uri="{FF2B5EF4-FFF2-40B4-BE49-F238E27FC236}">
                    <a16:creationId xmlns:a16="http://schemas.microsoft.com/office/drawing/2014/main" id="{108695AE-E1B5-42C5-A18C-70C37962A497}"/>
                  </a:ext>
                </a:extLst>
              </p:cNvPr>
              <p:cNvSpPr/>
              <p:nvPr/>
            </p:nvSpPr>
            <p:spPr bwMode="gray">
              <a:xfrm>
                <a:off x="3407494" y="1569110"/>
                <a:ext cx="546299" cy="445738"/>
              </a:xfrm>
              <a:prstGeom prst="rect">
                <a:avLst/>
              </a:prstGeom>
            </p:spPr>
            <p:txBody>
              <a:bodyPr wrap="none" lIns="0" rIns="0" anchor="t" anchorCtr="0">
                <a:spAutoFit/>
              </a:bodyPr>
              <a:lstStyle/>
              <a:p>
                <a:pPr defTabSz="1086911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&gt;70</a:t>
                </a:r>
              </a:p>
            </p:txBody>
          </p:sp>
        </p:grpSp>
        <p:grpSp>
          <p:nvGrpSpPr>
            <p:cNvPr id="110" name="Group 151">
              <a:extLst>
                <a:ext uri="{FF2B5EF4-FFF2-40B4-BE49-F238E27FC236}">
                  <a16:creationId xmlns:a16="http://schemas.microsoft.com/office/drawing/2014/main" id="{4F0EC097-9F7C-47FF-A5E2-F7441A8EDC78}"/>
                </a:ext>
              </a:extLst>
            </p:cNvPr>
            <p:cNvGrpSpPr/>
            <p:nvPr/>
          </p:nvGrpSpPr>
          <p:grpSpPr bwMode="gray">
            <a:xfrm>
              <a:off x="10090770" y="3504270"/>
              <a:ext cx="1588053" cy="1401485"/>
              <a:chOff x="2138426" y="2068359"/>
              <a:chExt cx="1591782" cy="1401810"/>
            </a:xfrm>
          </p:grpSpPr>
          <p:sp>
            <p:nvSpPr>
              <p:cNvPr id="113" name="Rechteck 20">
                <a:extLst>
                  <a:ext uri="{FF2B5EF4-FFF2-40B4-BE49-F238E27FC236}">
                    <a16:creationId xmlns:a16="http://schemas.microsoft.com/office/drawing/2014/main" id="{E737FDA5-1C0B-443D-A382-02BD95B8C983}"/>
                  </a:ext>
                </a:extLst>
              </p:cNvPr>
              <p:cNvSpPr/>
              <p:nvPr/>
            </p:nvSpPr>
            <p:spPr bwMode="gray">
              <a:xfrm>
                <a:off x="2138426" y="2408340"/>
                <a:ext cx="1591782" cy="1061829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algn="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of critical clinical </a:t>
                </a:r>
                <a:b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</a:b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decisions are </a:t>
                </a:r>
                <a:b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</a:b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influenced by the </a:t>
                </a:r>
                <a:b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</a:b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type of technology </a:t>
                </a:r>
                <a:b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</a:b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we provide</a:t>
                </a:r>
                <a:r>
                  <a:rPr lang="en-US" sz="1400" baseline="30000" dirty="0">
                    <a:solidFill>
                      <a:srgbClr val="000000"/>
                    </a:solidFill>
                    <a:latin typeface="Calibri"/>
                    <a:ea typeface="+mn-ea"/>
                  </a:rPr>
                  <a:t>2)</a:t>
                </a:r>
              </a:p>
            </p:txBody>
          </p:sp>
          <p:sp>
            <p:nvSpPr>
              <p:cNvPr id="115" name="Rechteck 20">
                <a:extLst>
                  <a:ext uri="{FF2B5EF4-FFF2-40B4-BE49-F238E27FC236}">
                    <a16:creationId xmlns:a16="http://schemas.microsoft.com/office/drawing/2014/main" id="{A05C9A13-05A5-4CCE-A02A-AE7569733E5B}"/>
                  </a:ext>
                </a:extLst>
              </p:cNvPr>
              <p:cNvSpPr/>
              <p:nvPr/>
            </p:nvSpPr>
            <p:spPr bwMode="gray">
              <a:xfrm>
                <a:off x="2736904" y="2068359"/>
                <a:ext cx="993304" cy="445866"/>
              </a:xfrm>
              <a:prstGeom prst="rect">
                <a:avLst/>
              </a:prstGeom>
            </p:spPr>
            <p:txBody>
              <a:bodyPr wrap="none" anchor="t" anchorCtr="0">
                <a:spAutoFit/>
              </a:bodyPr>
              <a:lstStyle/>
              <a:p>
                <a:pPr algn="r" defTabSz="1086911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  <a:ea typeface="+mn-ea"/>
                  </a:rPr>
                  <a:t>&gt;70%</a:t>
                </a:r>
                <a:endParaRPr lang="en-US" sz="2801" baseline="30000" dirty="0">
                  <a:solidFill>
                    <a:srgbClr val="EC6602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7" name="Gruppieren 6"/>
            <p:cNvGrpSpPr/>
            <p:nvPr/>
          </p:nvGrpSpPr>
          <p:grpSpPr>
            <a:xfrm>
              <a:off x="7260463" y="5554191"/>
              <a:ext cx="1553337" cy="650809"/>
              <a:chOff x="7592903" y="5471059"/>
              <a:chExt cx="1553337" cy="650809"/>
            </a:xfrm>
          </p:grpSpPr>
          <p:sp>
            <p:nvSpPr>
              <p:cNvPr id="117" name="Rechteck 46">
                <a:extLst>
                  <a:ext uri="{FF2B5EF4-FFF2-40B4-BE49-F238E27FC236}">
                    <a16:creationId xmlns:a16="http://schemas.microsoft.com/office/drawing/2014/main" id="{D9933C78-6067-40E7-8321-129E4BFDCD33}"/>
                  </a:ext>
                </a:extLst>
              </p:cNvPr>
              <p:cNvSpPr/>
              <p:nvPr/>
            </p:nvSpPr>
            <p:spPr bwMode="gray">
              <a:xfrm>
                <a:off x="7965036" y="5835702"/>
                <a:ext cx="1181204" cy="286166"/>
              </a:xfrm>
              <a:prstGeom prst="rect">
                <a:avLst/>
              </a:prstGeom>
            </p:spPr>
            <p:txBody>
              <a:bodyPr wrap="none" lIns="91315" tIns="45658" rIns="91315" bIns="45658" anchor="t" anchorCtr="0">
                <a:spAutoFit/>
              </a:bodyPr>
              <a:lstStyle/>
              <a:p>
                <a:pPr algn="ctr" defTabSz="1086911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rgbClr val="000000"/>
                    </a:solidFill>
                    <a:latin typeface="Calibri"/>
                    <a:ea typeface="+mn-ea"/>
                  </a:rPr>
                  <a:t>installed base</a:t>
                </a:r>
              </a:p>
            </p:txBody>
          </p:sp>
          <p:sp>
            <p:nvSpPr>
              <p:cNvPr id="118" name="Rechteck 46">
                <a:extLst>
                  <a:ext uri="{FF2B5EF4-FFF2-40B4-BE49-F238E27FC236}">
                    <a16:creationId xmlns:a16="http://schemas.microsoft.com/office/drawing/2014/main" id="{0D488C1F-8798-4F9D-9EA7-EFEDC7F067A9}"/>
                  </a:ext>
                </a:extLst>
              </p:cNvPr>
              <p:cNvSpPr/>
              <p:nvPr/>
            </p:nvSpPr>
            <p:spPr bwMode="gray">
              <a:xfrm>
                <a:off x="7592903" y="5471059"/>
                <a:ext cx="1553337" cy="445487"/>
              </a:xfrm>
              <a:prstGeom prst="rect">
                <a:avLst/>
              </a:prstGeom>
            </p:spPr>
            <p:txBody>
              <a:bodyPr wrap="none" lIns="91315" tIns="45658" rIns="91315" bIns="45658" anchor="t" anchorCtr="0">
                <a:spAutoFit/>
              </a:bodyPr>
              <a:lstStyle/>
              <a:p>
                <a:pPr algn="r" defTabSz="1086911">
                  <a:lnSpc>
                    <a:spcPct val="80000"/>
                  </a:lnSpc>
                  <a:defRPr/>
                </a:pPr>
                <a:r>
                  <a:rPr lang="en-US" sz="2801" b="1" dirty="0">
                    <a:solidFill>
                      <a:srgbClr val="EC6602"/>
                    </a:solidFill>
                    <a:latin typeface="Calibri"/>
                  </a:rPr>
                  <a:t>~600,000</a:t>
                </a:r>
              </a:p>
            </p:txBody>
          </p:sp>
        </p:grpSp>
      </p:grpSp>
      <p:sp>
        <p:nvSpPr>
          <p:cNvPr id="119" name="Foliennummernplatzhalter 4">
            <a:extLst>
              <a:ext uri="{FF2B5EF4-FFF2-40B4-BE49-F238E27FC236}">
                <a16:creationId xmlns:a16="http://schemas.microsoft.com/office/drawing/2014/main" id="{F66A8B39-CF40-49D5-8935-D1A333FEDD8F}"/>
              </a:ext>
            </a:extLst>
          </p:cNvPr>
          <p:cNvSpPr txBox="1">
            <a:spLocks/>
          </p:cNvSpPr>
          <p:nvPr/>
        </p:nvSpPr>
        <p:spPr bwMode="gray">
          <a:xfrm>
            <a:off x="11363058" y="6341939"/>
            <a:ext cx="280951" cy="144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 b="1"/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  <a:defRPr/>
            </a:pPr>
            <a:fld id="{5FA2C36E-DC06-4909-89EC-32EA0059C5E3}" type="slidenum">
              <a:rPr lang="en-US" b="0">
                <a:solidFill>
                  <a:srgbClr val="000000"/>
                </a:solidFill>
                <a:latin typeface="Calibri"/>
                <a:ea typeface="+mn-ea"/>
              </a:rPr>
              <a:pPr defTabSz="914583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b="0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pic>
        <p:nvPicPr>
          <p:cNvPr id="51" name="Inhaltsplatzhalter 10">
            <a:extLst>
              <a:ext uri="{FF2B5EF4-FFF2-40B4-BE49-F238E27FC236}">
                <a16:creationId xmlns:a16="http://schemas.microsoft.com/office/drawing/2014/main" id="{50AE0C7D-C086-4D23-B181-677CFA04AF4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0950" y="2221353"/>
            <a:ext cx="3086940" cy="3122211"/>
          </a:xfrm>
          <a:prstGeom prst="ellipse">
            <a:avLst/>
          </a:prstGeom>
          <a:noFill/>
          <a:ln>
            <a:noFill/>
          </a:ln>
        </p:spPr>
      </p:pic>
      <p:sp>
        <p:nvSpPr>
          <p:cNvPr id="55" name="Footer Placeholder 5">
            <a:extLst>
              <a:ext uri="{FF2B5EF4-FFF2-40B4-BE49-F238E27FC236}">
                <a16:creationId xmlns:a16="http://schemas.microsoft.com/office/drawing/2014/main" id="{CA284063-B2C5-40D3-B05E-49E590A6B52F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</p:spTree>
    <p:extLst>
      <p:ext uri="{BB962C8B-B14F-4D97-AF65-F5344CB8AC3E}">
        <p14:creationId xmlns:p14="http://schemas.microsoft.com/office/powerpoint/2010/main" val="2970689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Ellipse 53"/>
          <p:cNvSpPr/>
          <p:nvPr/>
        </p:nvSpPr>
        <p:spPr>
          <a:xfrm rot="2280000">
            <a:off x="3825135" y="1437746"/>
            <a:ext cx="4525847" cy="4525847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1905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endParaRPr lang="de-DE" sz="1000" b="1">
              <a:solidFill>
                <a:srgbClr val="404040"/>
              </a:solidFill>
              <a:latin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3005" y="219650"/>
            <a:ext cx="9212557" cy="833106"/>
          </a:xfrm>
        </p:spPr>
        <p:txBody>
          <a:bodyPr/>
          <a:lstStyle/>
          <a:p>
            <a:r>
              <a:rPr lang="en-US" dirty="0"/>
              <a:t>Innovating CT throughout a strong portfoli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553005" y="6298806"/>
            <a:ext cx="9014532" cy="360083"/>
          </a:xfrm>
        </p:spPr>
        <p:txBody>
          <a:bodyPr/>
          <a:lstStyle/>
          <a:p>
            <a:pPr marL="228646" indent="-228646">
              <a:buAutoNum type="arabicPlain"/>
            </a:pPr>
            <a:r>
              <a:rPr lang="en-US" dirty="0"/>
              <a:t>For research use only. Not for clinical use.</a:t>
            </a:r>
          </a:p>
          <a:p>
            <a:pPr marL="228646" indent="-228646">
              <a:buFont typeface="Arial" panose="020B0604020202020204" pitchFamily="34" charset="0"/>
              <a:buAutoNum type="arabicPlain"/>
            </a:pPr>
            <a:r>
              <a:rPr lang="de-DE" dirty="0"/>
              <a:t>SOMATOM </a:t>
            </a:r>
            <a:r>
              <a:rPr lang="de-DE" dirty="0" err="1"/>
              <a:t>On.sit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pending</a:t>
            </a:r>
            <a:r>
              <a:rPr lang="de-DE" dirty="0"/>
              <a:t> 510(k) </a:t>
            </a:r>
            <a:r>
              <a:rPr lang="de-DE" dirty="0" err="1"/>
              <a:t>clearance</a:t>
            </a:r>
            <a:r>
              <a:rPr lang="de-DE" dirty="0"/>
              <a:t>, </a:t>
            </a:r>
            <a:r>
              <a:rPr lang="en-US" dirty="0"/>
              <a:t>and is not yet commercially available in the United States.		</a:t>
            </a:r>
          </a:p>
        </p:txBody>
      </p:sp>
      <p:sp>
        <p:nvSpPr>
          <p:cNvPr id="7" name="Ellipse 11"/>
          <p:cNvSpPr/>
          <p:nvPr/>
        </p:nvSpPr>
        <p:spPr>
          <a:xfrm>
            <a:off x="4120376" y="1701202"/>
            <a:ext cx="3935365" cy="3983942"/>
          </a:xfrm>
          <a:prstGeom prst="ellipse">
            <a:avLst/>
          </a:prstGeom>
          <a:solidFill>
            <a:srgbClr val="EC660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endParaRPr lang="de-DE" sz="1000" b="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TextBox 5"/>
          <p:cNvSpPr txBox="1">
            <a:spLocks noChangeAspect="1"/>
          </p:cNvSpPr>
          <p:nvPr/>
        </p:nvSpPr>
        <p:spPr bwMode="gray">
          <a:xfrm>
            <a:off x="4319392" y="1884006"/>
            <a:ext cx="3604830" cy="3604828"/>
          </a:xfrm>
          <a:prstGeom prst="rect">
            <a:avLst/>
          </a:prstGeom>
        </p:spPr>
        <p:txBody>
          <a:bodyPr spcFirstLastPara="1" vert="horz" wrap="none" lIns="0" tIns="0" rIns="0" bIns="0" numCol="1" rtlCol="0">
            <a:prstTxWarp prst="textArchUp">
              <a:avLst>
                <a:gd name="adj" fmla="val 5925768"/>
              </a:avLst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Calibri"/>
              </a:rPr>
              <a:t>Artificial Intelligence with the AI-Rad Companion</a:t>
            </a:r>
          </a:p>
        </p:txBody>
      </p:sp>
      <p:sp>
        <p:nvSpPr>
          <p:cNvPr id="9" name="TextBox 5"/>
          <p:cNvSpPr txBox="1">
            <a:spLocks noChangeAspect="1"/>
          </p:cNvSpPr>
          <p:nvPr/>
        </p:nvSpPr>
        <p:spPr bwMode="gray">
          <a:xfrm>
            <a:off x="4266832" y="1892306"/>
            <a:ext cx="3657390" cy="3657389"/>
          </a:xfrm>
          <a:prstGeom prst="rect">
            <a:avLst/>
          </a:prstGeom>
        </p:spPr>
        <p:txBody>
          <a:bodyPr spcFirstLastPara="1" vert="horz" wrap="square" lIns="0" tIns="0" rIns="0" bIns="0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latin typeface="Calibri"/>
              </a:rPr>
              <a:t>Low Dose			  	Optimized Workflows</a:t>
            </a:r>
            <a:r>
              <a:rPr lang="en-US" sz="1400" dirty="0">
                <a:solidFill>
                  <a:srgbClr val="FFFFFF"/>
                </a:solidFill>
                <a:latin typeface="Calibri"/>
              </a:rPr>
              <a:t> </a:t>
            </a:r>
            <a:endParaRPr lang="en-US" sz="1400" baseline="300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0" name="Grafik 1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22851" y="1674257"/>
            <a:ext cx="840812" cy="891717"/>
          </a:xfrm>
          <a:prstGeom prst="rect">
            <a:avLst/>
          </a:prstGeom>
        </p:spPr>
      </p:pic>
      <p:pic>
        <p:nvPicPr>
          <p:cNvPr id="11" name="Picture 20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73994" y="1681797"/>
            <a:ext cx="928073" cy="905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Ellipse 13"/>
          <p:cNvSpPr/>
          <p:nvPr/>
        </p:nvSpPr>
        <p:spPr>
          <a:xfrm>
            <a:off x="4411327" y="2016442"/>
            <a:ext cx="3353462" cy="3353462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endParaRPr lang="de-DE" sz="1000" b="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529898" y="3204556"/>
            <a:ext cx="1616228" cy="526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 err="1">
                <a:solidFill>
                  <a:srgbClr val="000000"/>
                </a:solidFill>
                <a:latin typeface="Calibri"/>
                <a:ea typeface="+mn-ea"/>
              </a:rPr>
              <a:t>go.Top</a:t>
            </a:r>
            <a:endParaRPr lang="de-DE" sz="1400" baseline="30000" dirty="0">
              <a:solidFill>
                <a:srgbClr val="000000"/>
              </a:solidFill>
              <a:latin typeface="Calibri"/>
              <a:ea typeface="+mn-ea"/>
            </a:endParaRPr>
          </a:p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solidFill>
                  <a:srgbClr val="000000"/>
                </a:solidFill>
                <a:latin typeface="Calibri"/>
                <a:ea typeface="+mn-ea"/>
              </a:rPr>
              <a:t>with</a:t>
            </a:r>
            <a:r>
              <a:rPr lang="de-DE" sz="1000" dirty="0">
                <a:solidFill>
                  <a:srgbClr val="000000"/>
                </a:solidFill>
                <a:latin typeface="Calibri"/>
                <a:ea typeface="+mn-ea"/>
              </a:rPr>
              <a:t> myExam Companion</a:t>
            </a:r>
          </a:p>
        </p:txBody>
      </p:sp>
      <p:sp>
        <p:nvSpPr>
          <p:cNvPr id="18" name="Rechteck 17"/>
          <p:cNvSpPr/>
          <p:nvPr/>
        </p:nvSpPr>
        <p:spPr>
          <a:xfrm>
            <a:off x="3233462" y="5511184"/>
            <a:ext cx="2242295" cy="526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 err="1">
                <a:solidFill>
                  <a:srgbClr val="000000"/>
                </a:solidFill>
                <a:latin typeface="Calibri"/>
                <a:ea typeface="+mn-ea"/>
              </a:rPr>
              <a:t>go.Now</a:t>
            </a:r>
            <a:endParaRPr lang="de-DE" sz="1400" dirty="0">
              <a:solidFill>
                <a:srgbClr val="000000"/>
              </a:solidFill>
              <a:latin typeface="Calibri"/>
              <a:ea typeface="+mn-ea"/>
            </a:endParaRPr>
          </a:p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solidFill>
                  <a:srgbClr val="000000"/>
                </a:solidFill>
                <a:latin typeface="Calibri"/>
                <a:ea typeface="+mn-ea"/>
              </a:rPr>
              <a:t>with</a:t>
            </a:r>
            <a:r>
              <a:rPr lang="de-DE" sz="1000" dirty="0">
                <a:solidFill>
                  <a:srgbClr val="000000"/>
                </a:solidFill>
                <a:latin typeface="Calibri"/>
                <a:ea typeface="+mn-ea"/>
              </a:rPr>
              <a:t> myExam Companion</a:t>
            </a:r>
          </a:p>
        </p:txBody>
      </p:sp>
      <p:sp>
        <p:nvSpPr>
          <p:cNvPr id="19" name="Rechteck 18"/>
          <p:cNvSpPr/>
          <p:nvPr/>
        </p:nvSpPr>
        <p:spPr>
          <a:xfrm>
            <a:off x="7955793" y="2579632"/>
            <a:ext cx="1486262" cy="387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>
                <a:solidFill>
                  <a:srgbClr val="000000"/>
                </a:solidFill>
                <a:latin typeface="Calibri"/>
                <a:ea typeface="+mn-ea"/>
              </a:rPr>
              <a:t>Force</a:t>
            </a:r>
            <a:r>
              <a:rPr lang="de-DE" sz="1400" baseline="30000" dirty="0">
                <a:solidFill>
                  <a:srgbClr val="000000"/>
                </a:solidFill>
                <a:latin typeface="Calibri"/>
                <a:ea typeface="+mn-ea"/>
              </a:rPr>
              <a:t> </a:t>
            </a:r>
            <a:endParaRPr lang="de-DE" sz="1400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9706209" y="2588802"/>
            <a:ext cx="962547" cy="387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>
                <a:solidFill>
                  <a:srgbClr val="000000"/>
                </a:solidFill>
                <a:latin typeface="Calibri"/>
                <a:ea typeface="+mn-ea"/>
              </a:rPr>
              <a:t>Drive</a:t>
            </a:r>
          </a:p>
        </p:txBody>
      </p:sp>
      <p:sp>
        <p:nvSpPr>
          <p:cNvPr id="21" name="Rechteck 20"/>
          <p:cNvSpPr/>
          <p:nvPr/>
        </p:nvSpPr>
        <p:spPr>
          <a:xfrm>
            <a:off x="8318513" y="4843550"/>
            <a:ext cx="1486262" cy="387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>
                <a:solidFill>
                  <a:srgbClr val="000000"/>
                </a:solidFill>
                <a:latin typeface="Calibri"/>
                <a:ea typeface="+mn-ea"/>
              </a:rPr>
              <a:t>Edge Plus</a:t>
            </a:r>
          </a:p>
        </p:txBody>
      </p:sp>
      <p:sp>
        <p:nvSpPr>
          <p:cNvPr id="23" name="TextBox 5"/>
          <p:cNvSpPr txBox="1">
            <a:spLocks noChangeAspect="1"/>
          </p:cNvSpPr>
          <p:nvPr/>
        </p:nvSpPr>
        <p:spPr bwMode="gray">
          <a:xfrm>
            <a:off x="3951966" y="1499364"/>
            <a:ext cx="4269928" cy="4342637"/>
          </a:xfrm>
          <a:prstGeom prst="rect">
            <a:avLst/>
          </a:prstGeom>
        </p:spPr>
        <p:txBody>
          <a:bodyPr spcFirstLastPara="1" vert="horz" wrap="square" lIns="0" tIns="0" rIns="0" bIns="0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rgbClr val="404040"/>
                </a:solidFill>
                <a:latin typeface="Calibri"/>
              </a:rPr>
              <a:t>UpTime</a:t>
            </a:r>
            <a:r>
              <a:rPr lang="en-US" sz="1200" dirty="0">
                <a:solidFill>
                  <a:srgbClr val="404040"/>
                </a:solidFill>
                <a:latin typeface="Calibri"/>
              </a:rPr>
              <a:t> Services  •  UpSpeed Services  •  UpSkill Services  •  </a:t>
            </a:r>
            <a:r>
              <a:rPr lang="en-US" sz="1200" dirty="0" err="1">
                <a:solidFill>
                  <a:srgbClr val="404040"/>
                </a:solidFill>
                <a:latin typeface="Calibri"/>
              </a:rPr>
              <a:t>UpLift</a:t>
            </a:r>
            <a:r>
              <a:rPr lang="en-US" sz="1200" dirty="0">
                <a:solidFill>
                  <a:srgbClr val="404040"/>
                </a:solidFill>
                <a:latin typeface="Calibri"/>
              </a:rPr>
              <a:t> Services</a:t>
            </a:r>
          </a:p>
        </p:txBody>
      </p:sp>
      <p:pic>
        <p:nvPicPr>
          <p:cNvPr id="25" name="Bild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00937" y="5479984"/>
            <a:ext cx="685302" cy="672738"/>
          </a:xfrm>
          <a:prstGeom prst="rect">
            <a:avLst/>
          </a:prstGeom>
        </p:spPr>
      </p:pic>
      <p:grpSp>
        <p:nvGrpSpPr>
          <p:cNvPr id="30" name="Gruppieren 29"/>
          <p:cNvGrpSpPr/>
          <p:nvPr/>
        </p:nvGrpSpPr>
        <p:grpSpPr>
          <a:xfrm>
            <a:off x="4599253" y="2196109"/>
            <a:ext cx="2999681" cy="2457894"/>
            <a:chOff x="4585312" y="2195600"/>
            <a:chExt cx="2998987" cy="2457325"/>
          </a:xfrm>
        </p:grpSpPr>
        <p:sp>
          <p:nvSpPr>
            <p:cNvPr id="31" name="TextBox 5"/>
            <p:cNvSpPr txBox="1">
              <a:spLocks/>
            </p:cNvSpPr>
            <p:nvPr/>
          </p:nvSpPr>
          <p:spPr bwMode="gray">
            <a:xfrm>
              <a:off x="5453333" y="2195600"/>
              <a:ext cx="1233544" cy="18466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i="1" dirty="0">
                  <a:solidFill>
                    <a:srgbClr val="FFFFFF"/>
                  </a:solidFill>
                  <a:latin typeface="Calibri"/>
                </a:rPr>
                <a:t>syngo.</a:t>
              </a:r>
              <a:r>
                <a:rPr lang="en-US" sz="1200" b="1" dirty="0">
                  <a:solidFill>
                    <a:srgbClr val="FFFFFF"/>
                  </a:solidFill>
                  <a:latin typeface="Calibri"/>
                </a:rPr>
                <a:t>via Frontier</a:t>
              </a:r>
              <a:r>
                <a:rPr lang="en-US" sz="1200" b="1" baseline="30000" dirty="0">
                  <a:solidFill>
                    <a:srgbClr val="FFFFFF"/>
                  </a:solidFill>
                  <a:latin typeface="Calibri"/>
                </a:rPr>
                <a:t>1)</a:t>
              </a:r>
            </a:p>
          </p:txBody>
        </p:sp>
        <p:sp>
          <p:nvSpPr>
            <p:cNvPr id="32" name="TextBox 5"/>
            <p:cNvSpPr txBox="1">
              <a:spLocks/>
            </p:cNvSpPr>
            <p:nvPr/>
          </p:nvSpPr>
          <p:spPr bwMode="gray">
            <a:xfrm>
              <a:off x="4979667" y="4189864"/>
              <a:ext cx="601960" cy="18466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FFFFFF"/>
                  </a:solidFill>
                  <a:latin typeface="Calibri"/>
                </a:rPr>
                <a:t>Oncology</a:t>
              </a:r>
            </a:p>
          </p:txBody>
        </p:sp>
        <p:sp>
          <p:nvSpPr>
            <p:cNvPr id="33" name="TextBox 5"/>
            <p:cNvSpPr txBox="1">
              <a:spLocks/>
            </p:cNvSpPr>
            <p:nvPr/>
          </p:nvSpPr>
          <p:spPr bwMode="gray">
            <a:xfrm>
              <a:off x="5766168" y="4468259"/>
              <a:ext cx="622863" cy="18466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FFFFFF"/>
                  </a:solidFill>
                  <a:latin typeface="Calibri"/>
                </a:rPr>
                <a:t>Pediatrics</a:t>
              </a:r>
            </a:p>
          </p:txBody>
        </p:sp>
        <p:sp>
          <p:nvSpPr>
            <p:cNvPr id="34" name="TextBox 5"/>
            <p:cNvSpPr txBox="1">
              <a:spLocks/>
            </p:cNvSpPr>
            <p:nvPr/>
          </p:nvSpPr>
          <p:spPr bwMode="gray">
            <a:xfrm>
              <a:off x="6539569" y="2607988"/>
              <a:ext cx="764440" cy="18466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FFFFFF"/>
                  </a:solidFill>
                  <a:latin typeface="Calibri"/>
                </a:rPr>
                <a:t>Dual Energy</a:t>
              </a:r>
            </a:p>
          </p:txBody>
        </p:sp>
        <p:sp>
          <p:nvSpPr>
            <p:cNvPr id="35" name="TextBox 5"/>
            <p:cNvSpPr txBox="1">
              <a:spLocks/>
            </p:cNvSpPr>
            <p:nvPr/>
          </p:nvSpPr>
          <p:spPr bwMode="gray">
            <a:xfrm>
              <a:off x="4863017" y="2607988"/>
              <a:ext cx="690509" cy="18466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FFFFFF"/>
                  </a:solidFill>
                  <a:latin typeface="Calibri"/>
                </a:rPr>
                <a:t>Acute Care</a:t>
              </a:r>
            </a:p>
          </p:txBody>
        </p:sp>
        <p:sp>
          <p:nvSpPr>
            <p:cNvPr id="37" name="TextBox 5"/>
            <p:cNvSpPr txBox="1">
              <a:spLocks/>
            </p:cNvSpPr>
            <p:nvPr/>
          </p:nvSpPr>
          <p:spPr bwMode="gray">
            <a:xfrm>
              <a:off x="4585312" y="3422806"/>
              <a:ext cx="664990" cy="18466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FFFFFF"/>
                  </a:solidFill>
                  <a:latin typeface="Calibri"/>
                </a:rPr>
                <a:t>Neurology</a:t>
              </a:r>
            </a:p>
          </p:txBody>
        </p:sp>
        <p:sp>
          <p:nvSpPr>
            <p:cNvPr id="38" name="TextBox 5"/>
            <p:cNvSpPr txBox="1">
              <a:spLocks/>
            </p:cNvSpPr>
            <p:nvPr/>
          </p:nvSpPr>
          <p:spPr bwMode="gray">
            <a:xfrm>
              <a:off x="6484530" y="4194684"/>
              <a:ext cx="795154" cy="18466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FFFFFF"/>
                  </a:solidFill>
                  <a:latin typeface="Calibri"/>
                </a:rPr>
                <a:t>Intervention</a:t>
              </a:r>
            </a:p>
          </p:txBody>
        </p:sp>
        <p:pic>
          <p:nvPicPr>
            <p:cNvPr id="44" name="Picture 3"/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866681" y="2814843"/>
              <a:ext cx="685130" cy="508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TextBox 5"/>
            <p:cNvSpPr txBox="1">
              <a:spLocks/>
            </p:cNvSpPr>
            <p:nvPr/>
          </p:nvSpPr>
          <p:spPr bwMode="gray">
            <a:xfrm>
              <a:off x="6901676" y="3422806"/>
              <a:ext cx="682623" cy="18466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FFFFFF"/>
                  </a:solidFill>
                  <a:latin typeface="Calibri"/>
                </a:rPr>
                <a:t>Cardiology</a:t>
              </a:r>
            </a:p>
          </p:txBody>
        </p:sp>
      </p:grpSp>
      <p:sp>
        <p:nvSpPr>
          <p:cNvPr id="48" name="Freeform 70"/>
          <p:cNvSpPr>
            <a:spLocks/>
          </p:cNvSpPr>
          <p:nvPr/>
        </p:nvSpPr>
        <p:spPr bwMode="auto">
          <a:xfrm>
            <a:off x="5542861" y="3156725"/>
            <a:ext cx="1079750" cy="1079750"/>
          </a:xfrm>
          <a:custGeom>
            <a:avLst/>
            <a:gdLst>
              <a:gd name="T0" fmla="*/ 1359 w 1360"/>
              <a:gd name="T1" fmla="*/ 715 h 1360"/>
              <a:gd name="T2" fmla="*/ 1346 w 1360"/>
              <a:gd name="T3" fmla="*/ 817 h 1360"/>
              <a:gd name="T4" fmla="*/ 1319 w 1360"/>
              <a:gd name="T5" fmla="*/ 914 h 1360"/>
              <a:gd name="T6" fmla="*/ 1278 w 1360"/>
              <a:gd name="T7" fmla="*/ 1003 h 1360"/>
              <a:gd name="T8" fmla="*/ 1225 w 1360"/>
              <a:gd name="T9" fmla="*/ 1087 h 1360"/>
              <a:gd name="T10" fmla="*/ 1161 w 1360"/>
              <a:gd name="T11" fmla="*/ 1160 h 1360"/>
              <a:gd name="T12" fmla="*/ 1087 w 1360"/>
              <a:gd name="T13" fmla="*/ 1224 h 1360"/>
              <a:gd name="T14" fmla="*/ 1004 w 1360"/>
              <a:gd name="T15" fmla="*/ 1278 h 1360"/>
              <a:gd name="T16" fmla="*/ 914 w 1360"/>
              <a:gd name="T17" fmla="*/ 1318 h 1360"/>
              <a:gd name="T18" fmla="*/ 817 w 1360"/>
              <a:gd name="T19" fmla="*/ 1345 h 1360"/>
              <a:gd name="T20" fmla="*/ 715 w 1360"/>
              <a:gd name="T21" fmla="*/ 1359 h 1360"/>
              <a:gd name="T22" fmla="*/ 645 w 1360"/>
              <a:gd name="T23" fmla="*/ 1359 h 1360"/>
              <a:gd name="T24" fmla="*/ 543 w 1360"/>
              <a:gd name="T25" fmla="*/ 1345 h 1360"/>
              <a:gd name="T26" fmla="*/ 446 w 1360"/>
              <a:gd name="T27" fmla="*/ 1318 h 1360"/>
              <a:gd name="T28" fmla="*/ 357 w 1360"/>
              <a:gd name="T29" fmla="*/ 1278 h 1360"/>
              <a:gd name="T30" fmla="*/ 273 w 1360"/>
              <a:gd name="T31" fmla="*/ 1224 h 1360"/>
              <a:gd name="T32" fmla="*/ 200 w 1360"/>
              <a:gd name="T33" fmla="*/ 1160 h 1360"/>
              <a:gd name="T34" fmla="*/ 136 w 1360"/>
              <a:gd name="T35" fmla="*/ 1087 h 1360"/>
              <a:gd name="T36" fmla="*/ 82 w 1360"/>
              <a:gd name="T37" fmla="*/ 1003 h 1360"/>
              <a:gd name="T38" fmla="*/ 42 w 1360"/>
              <a:gd name="T39" fmla="*/ 914 h 1360"/>
              <a:gd name="T40" fmla="*/ 15 w 1360"/>
              <a:gd name="T41" fmla="*/ 817 h 1360"/>
              <a:gd name="T42" fmla="*/ 1 w 1360"/>
              <a:gd name="T43" fmla="*/ 715 h 1360"/>
              <a:gd name="T44" fmla="*/ 1 w 1360"/>
              <a:gd name="T45" fmla="*/ 645 h 1360"/>
              <a:gd name="T46" fmla="*/ 15 w 1360"/>
              <a:gd name="T47" fmla="*/ 543 h 1360"/>
              <a:gd name="T48" fmla="*/ 42 w 1360"/>
              <a:gd name="T49" fmla="*/ 446 h 1360"/>
              <a:gd name="T50" fmla="*/ 82 w 1360"/>
              <a:gd name="T51" fmla="*/ 356 h 1360"/>
              <a:gd name="T52" fmla="*/ 136 w 1360"/>
              <a:gd name="T53" fmla="*/ 273 h 1360"/>
              <a:gd name="T54" fmla="*/ 200 w 1360"/>
              <a:gd name="T55" fmla="*/ 199 h 1360"/>
              <a:gd name="T56" fmla="*/ 273 w 1360"/>
              <a:gd name="T57" fmla="*/ 135 h 1360"/>
              <a:gd name="T58" fmla="*/ 357 w 1360"/>
              <a:gd name="T59" fmla="*/ 82 h 1360"/>
              <a:gd name="T60" fmla="*/ 446 w 1360"/>
              <a:gd name="T61" fmla="*/ 41 h 1360"/>
              <a:gd name="T62" fmla="*/ 543 w 1360"/>
              <a:gd name="T63" fmla="*/ 14 h 1360"/>
              <a:gd name="T64" fmla="*/ 645 w 1360"/>
              <a:gd name="T65" fmla="*/ 1 h 1360"/>
              <a:gd name="T66" fmla="*/ 715 w 1360"/>
              <a:gd name="T67" fmla="*/ 1 h 1360"/>
              <a:gd name="T68" fmla="*/ 817 w 1360"/>
              <a:gd name="T69" fmla="*/ 14 h 1360"/>
              <a:gd name="T70" fmla="*/ 914 w 1360"/>
              <a:gd name="T71" fmla="*/ 41 h 1360"/>
              <a:gd name="T72" fmla="*/ 1004 w 1360"/>
              <a:gd name="T73" fmla="*/ 82 h 1360"/>
              <a:gd name="T74" fmla="*/ 1087 w 1360"/>
              <a:gd name="T75" fmla="*/ 135 h 1360"/>
              <a:gd name="T76" fmla="*/ 1161 w 1360"/>
              <a:gd name="T77" fmla="*/ 199 h 1360"/>
              <a:gd name="T78" fmla="*/ 1225 w 1360"/>
              <a:gd name="T79" fmla="*/ 273 h 1360"/>
              <a:gd name="T80" fmla="*/ 1278 w 1360"/>
              <a:gd name="T81" fmla="*/ 356 h 1360"/>
              <a:gd name="T82" fmla="*/ 1319 w 1360"/>
              <a:gd name="T83" fmla="*/ 446 h 1360"/>
              <a:gd name="T84" fmla="*/ 1346 w 1360"/>
              <a:gd name="T85" fmla="*/ 543 h 1360"/>
              <a:gd name="T86" fmla="*/ 1359 w 1360"/>
              <a:gd name="T87" fmla="*/ 645 h 1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360" h="1360">
                <a:moveTo>
                  <a:pt x="1360" y="679"/>
                </a:moveTo>
                <a:lnTo>
                  <a:pt x="1360" y="679"/>
                </a:lnTo>
                <a:lnTo>
                  <a:pt x="1359" y="715"/>
                </a:lnTo>
                <a:lnTo>
                  <a:pt x="1357" y="749"/>
                </a:lnTo>
                <a:lnTo>
                  <a:pt x="1353" y="784"/>
                </a:lnTo>
                <a:lnTo>
                  <a:pt x="1346" y="817"/>
                </a:lnTo>
                <a:lnTo>
                  <a:pt x="1339" y="850"/>
                </a:lnTo>
                <a:lnTo>
                  <a:pt x="1329" y="881"/>
                </a:lnTo>
                <a:lnTo>
                  <a:pt x="1319" y="914"/>
                </a:lnTo>
                <a:lnTo>
                  <a:pt x="1306" y="945"/>
                </a:lnTo>
                <a:lnTo>
                  <a:pt x="1293" y="975"/>
                </a:lnTo>
                <a:lnTo>
                  <a:pt x="1278" y="1003"/>
                </a:lnTo>
                <a:lnTo>
                  <a:pt x="1261" y="1032"/>
                </a:lnTo>
                <a:lnTo>
                  <a:pt x="1244" y="1060"/>
                </a:lnTo>
                <a:lnTo>
                  <a:pt x="1225" y="1087"/>
                </a:lnTo>
                <a:lnTo>
                  <a:pt x="1204" y="1112"/>
                </a:lnTo>
                <a:lnTo>
                  <a:pt x="1183" y="1137"/>
                </a:lnTo>
                <a:lnTo>
                  <a:pt x="1161" y="1160"/>
                </a:lnTo>
                <a:lnTo>
                  <a:pt x="1137" y="1183"/>
                </a:lnTo>
                <a:lnTo>
                  <a:pt x="1113" y="1204"/>
                </a:lnTo>
                <a:lnTo>
                  <a:pt x="1087" y="1224"/>
                </a:lnTo>
                <a:lnTo>
                  <a:pt x="1060" y="1243"/>
                </a:lnTo>
                <a:lnTo>
                  <a:pt x="1033" y="1261"/>
                </a:lnTo>
                <a:lnTo>
                  <a:pt x="1004" y="1278"/>
                </a:lnTo>
                <a:lnTo>
                  <a:pt x="975" y="1293"/>
                </a:lnTo>
                <a:lnTo>
                  <a:pt x="945" y="1306"/>
                </a:lnTo>
                <a:lnTo>
                  <a:pt x="914" y="1318"/>
                </a:lnTo>
                <a:lnTo>
                  <a:pt x="882" y="1329"/>
                </a:lnTo>
                <a:lnTo>
                  <a:pt x="850" y="1338"/>
                </a:lnTo>
                <a:lnTo>
                  <a:pt x="817" y="1345"/>
                </a:lnTo>
                <a:lnTo>
                  <a:pt x="784" y="1352"/>
                </a:lnTo>
                <a:lnTo>
                  <a:pt x="750" y="1356"/>
                </a:lnTo>
                <a:lnTo>
                  <a:pt x="715" y="1359"/>
                </a:lnTo>
                <a:lnTo>
                  <a:pt x="681" y="1360"/>
                </a:lnTo>
                <a:lnTo>
                  <a:pt x="681" y="1360"/>
                </a:lnTo>
                <a:lnTo>
                  <a:pt x="645" y="1359"/>
                </a:lnTo>
                <a:lnTo>
                  <a:pt x="611" y="1356"/>
                </a:lnTo>
                <a:lnTo>
                  <a:pt x="576" y="1352"/>
                </a:lnTo>
                <a:lnTo>
                  <a:pt x="543" y="1345"/>
                </a:lnTo>
                <a:lnTo>
                  <a:pt x="510" y="1338"/>
                </a:lnTo>
                <a:lnTo>
                  <a:pt x="479" y="1329"/>
                </a:lnTo>
                <a:lnTo>
                  <a:pt x="446" y="1318"/>
                </a:lnTo>
                <a:lnTo>
                  <a:pt x="415" y="1306"/>
                </a:lnTo>
                <a:lnTo>
                  <a:pt x="386" y="1293"/>
                </a:lnTo>
                <a:lnTo>
                  <a:pt x="357" y="1278"/>
                </a:lnTo>
                <a:lnTo>
                  <a:pt x="328" y="1261"/>
                </a:lnTo>
                <a:lnTo>
                  <a:pt x="300" y="1243"/>
                </a:lnTo>
                <a:lnTo>
                  <a:pt x="273" y="1224"/>
                </a:lnTo>
                <a:lnTo>
                  <a:pt x="248" y="1204"/>
                </a:lnTo>
                <a:lnTo>
                  <a:pt x="223" y="1183"/>
                </a:lnTo>
                <a:lnTo>
                  <a:pt x="200" y="1160"/>
                </a:lnTo>
                <a:lnTo>
                  <a:pt x="177" y="1137"/>
                </a:lnTo>
                <a:lnTo>
                  <a:pt x="156" y="1112"/>
                </a:lnTo>
                <a:lnTo>
                  <a:pt x="136" y="1087"/>
                </a:lnTo>
                <a:lnTo>
                  <a:pt x="117" y="1060"/>
                </a:lnTo>
                <a:lnTo>
                  <a:pt x="99" y="1032"/>
                </a:lnTo>
                <a:lnTo>
                  <a:pt x="82" y="1003"/>
                </a:lnTo>
                <a:lnTo>
                  <a:pt x="67" y="975"/>
                </a:lnTo>
                <a:lnTo>
                  <a:pt x="54" y="945"/>
                </a:lnTo>
                <a:lnTo>
                  <a:pt x="42" y="914"/>
                </a:lnTo>
                <a:lnTo>
                  <a:pt x="31" y="881"/>
                </a:lnTo>
                <a:lnTo>
                  <a:pt x="22" y="850"/>
                </a:lnTo>
                <a:lnTo>
                  <a:pt x="15" y="817"/>
                </a:lnTo>
                <a:lnTo>
                  <a:pt x="8" y="784"/>
                </a:lnTo>
                <a:lnTo>
                  <a:pt x="4" y="749"/>
                </a:lnTo>
                <a:lnTo>
                  <a:pt x="1" y="715"/>
                </a:lnTo>
                <a:lnTo>
                  <a:pt x="0" y="679"/>
                </a:lnTo>
                <a:lnTo>
                  <a:pt x="0" y="679"/>
                </a:lnTo>
                <a:lnTo>
                  <a:pt x="1" y="645"/>
                </a:lnTo>
                <a:lnTo>
                  <a:pt x="4" y="610"/>
                </a:lnTo>
                <a:lnTo>
                  <a:pt x="8" y="576"/>
                </a:lnTo>
                <a:lnTo>
                  <a:pt x="15" y="543"/>
                </a:lnTo>
                <a:lnTo>
                  <a:pt x="22" y="510"/>
                </a:lnTo>
                <a:lnTo>
                  <a:pt x="31" y="478"/>
                </a:lnTo>
                <a:lnTo>
                  <a:pt x="42" y="446"/>
                </a:lnTo>
                <a:lnTo>
                  <a:pt x="54" y="415"/>
                </a:lnTo>
                <a:lnTo>
                  <a:pt x="67" y="385"/>
                </a:lnTo>
                <a:lnTo>
                  <a:pt x="82" y="356"/>
                </a:lnTo>
                <a:lnTo>
                  <a:pt x="99" y="327"/>
                </a:lnTo>
                <a:lnTo>
                  <a:pt x="117" y="300"/>
                </a:lnTo>
                <a:lnTo>
                  <a:pt x="136" y="273"/>
                </a:lnTo>
                <a:lnTo>
                  <a:pt x="156" y="247"/>
                </a:lnTo>
                <a:lnTo>
                  <a:pt x="177" y="223"/>
                </a:lnTo>
                <a:lnTo>
                  <a:pt x="200" y="199"/>
                </a:lnTo>
                <a:lnTo>
                  <a:pt x="223" y="177"/>
                </a:lnTo>
                <a:lnTo>
                  <a:pt x="248" y="156"/>
                </a:lnTo>
                <a:lnTo>
                  <a:pt x="273" y="135"/>
                </a:lnTo>
                <a:lnTo>
                  <a:pt x="300" y="116"/>
                </a:lnTo>
                <a:lnTo>
                  <a:pt x="328" y="99"/>
                </a:lnTo>
                <a:lnTo>
                  <a:pt x="357" y="82"/>
                </a:lnTo>
                <a:lnTo>
                  <a:pt x="386" y="67"/>
                </a:lnTo>
                <a:lnTo>
                  <a:pt x="415" y="54"/>
                </a:lnTo>
                <a:lnTo>
                  <a:pt x="446" y="41"/>
                </a:lnTo>
                <a:lnTo>
                  <a:pt x="479" y="31"/>
                </a:lnTo>
                <a:lnTo>
                  <a:pt x="510" y="21"/>
                </a:lnTo>
                <a:lnTo>
                  <a:pt x="543" y="14"/>
                </a:lnTo>
                <a:lnTo>
                  <a:pt x="576" y="7"/>
                </a:lnTo>
                <a:lnTo>
                  <a:pt x="611" y="3"/>
                </a:lnTo>
                <a:lnTo>
                  <a:pt x="645" y="1"/>
                </a:lnTo>
                <a:lnTo>
                  <a:pt x="681" y="0"/>
                </a:lnTo>
                <a:lnTo>
                  <a:pt x="681" y="0"/>
                </a:lnTo>
                <a:lnTo>
                  <a:pt x="715" y="1"/>
                </a:lnTo>
                <a:lnTo>
                  <a:pt x="750" y="3"/>
                </a:lnTo>
                <a:lnTo>
                  <a:pt x="784" y="7"/>
                </a:lnTo>
                <a:lnTo>
                  <a:pt x="817" y="14"/>
                </a:lnTo>
                <a:lnTo>
                  <a:pt x="850" y="21"/>
                </a:lnTo>
                <a:lnTo>
                  <a:pt x="882" y="31"/>
                </a:lnTo>
                <a:lnTo>
                  <a:pt x="914" y="41"/>
                </a:lnTo>
                <a:lnTo>
                  <a:pt x="945" y="54"/>
                </a:lnTo>
                <a:lnTo>
                  <a:pt x="975" y="67"/>
                </a:lnTo>
                <a:lnTo>
                  <a:pt x="1004" y="82"/>
                </a:lnTo>
                <a:lnTo>
                  <a:pt x="1033" y="99"/>
                </a:lnTo>
                <a:lnTo>
                  <a:pt x="1060" y="116"/>
                </a:lnTo>
                <a:lnTo>
                  <a:pt x="1087" y="135"/>
                </a:lnTo>
                <a:lnTo>
                  <a:pt x="1113" y="156"/>
                </a:lnTo>
                <a:lnTo>
                  <a:pt x="1137" y="177"/>
                </a:lnTo>
                <a:lnTo>
                  <a:pt x="1161" y="199"/>
                </a:lnTo>
                <a:lnTo>
                  <a:pt x="1183" y="223"/>
                </a:lnTo>
                <a:lnTo>
                  <a:pt x="1204" y="247"/>
                </a:lnTo>
                <a:lnTo>
                  <a:pt x="1225" y="273"/>
                </a:lnTo>
                <a:lnTo>
                  <a:pt x="1244" y="300"/>
                </a:lnTo>
                <a:lnTo>
                  <a:pt x="1261" y="327"/>
                </a:lnTo>
                <a:lnTo>
                  <a:pt x="1278" y="356"/>
                </a:lnTo>
                <a:lnTo>
                  <a:pt x="1293" y="385"/>
                </a:lnTo>
                <a:lnTo>
                  <a:pt x="1306" y="415"/>
                </a:lnTo>
                <a:lnTo>
                  <a:pt x="1319" y="446"/>
                </a:lnTo>
                <a:lnTo>
                  <a:pt x="1329" y="478"/>
                </a:lnTo>
                <a:lnTo>
                  <a:pt x="1339" y="510"/>
                </a:lnTo>
                <a:lnTo>
                  <a:pt x="1346" y="543"/>
                </a:lnTo>
                <a:lnTo>
                  <a:pt x="1353" y="576"/>
                </a:lnTo>
                <a:lnTo>
                  <a:pt x="1357" y="610"/>
                </a:lnTo>
                <a:lnTo>
                  <a:pt x="1359" y="645"/>
                </a:lnTo>
                <a:lnTo>
                  <a:pt x="1360" y="679"/>
                </a:lnTo>
                <a:lnTo>
                  <a:pt x="1360" y="679"/>
                </a:lnTo>
                <a:close/>
              </a:path>
            </a:pathLst>
          </a:custGeom>
          <a:solidFill>
            <a:schemeClr val="bg1"/>
          </a:solidFill>
          <a:ln w="66675"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49" name="TextBox 71"/>
          <p:cNvSpPr txBox="1"/>
          <p:nvPr/>
        </p:nvSpPr>
        <p:spPr>
          <a:xfrm>
            <a:off x="5654735" y="3295155"/>
            <a:ext cx="881343" cy="3078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i="1" dirty="0">
                <a:solidFill>
                  <a:srgbClr val="000000"/>
                </a:solidFill>
                <a:latin typeface="Calibri"/>
                <a:ea typeface="+mn-ea"/>
              </a:rPr>
              <a:t>syngo</a:t>
            </a: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.via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6B000169-3B31-4696-A92F-D04769B5A6FE}"/>
              </a:ext>
            </a:extLst>
          </p:cNvPr>
          <p:cNvSpPr/>
          <p:nvPr/>
        </p:nvSpPr>
        <p:spPr>
          <a:xfrm>
            <a:off x="7673531" y="5710788"/>
            <a:ext cx="1486262" cy="387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>
                <a:solidFill>
                  <a:srgbClr val="000000"/>
                </a:solidFill>
                <a:latin typeface="Calibri"/>
                <a:ea typeface="+mn-ea"/>
              </a:rPr>
              <a:t>Definition Edge</a:t>
            </a:r>
          </a:p>
        </p:txBody>
      </p:sp>
      <p:grpSp>
        <p:nvGrpSpPr>
          <p:cNvPr id="62" name="Gruppieren 17">
            <a:extLst>
              <a:ext uri="{FF2B5EF4-FFF2-40B4-BE49-F238E27FC236}">
                <a16:creationId xmlns:a16="http://schemas.microsoft.com/office/drawing/2014/main" id="{A907AD12-D50F-4D04-8FCC-8EDA584D262E}"/>
              </a:ext>
            </a:extLst>
          </p:cNvPr>
          <p:cNvGrpSpPr/>
          <p:nvPr/>
        </p:nvGrpSpPr>
        <p:grpSpPr>
          <a:xfrm>
            <a:off x="9240897" y="5452303"/>
            <a:ext cx="834904" cy="776687"/>
            <a:chOff x="8986171" y="5306668"/>
            <a:chExt cx="1173514" cy="1098462"/>
          </a:xfrm>
        </p:grpSpPr>
        <p:pic>
          <p:nvPicPr>
            <p:cNvPr id="63" name="Bild 65">
              <a:extLst>
                <a:ext uri="{FF2B5EF4-FFF2-40B4-BE49-F238E27FC236}">
                  <a16:creationId xmlns:a16="http://schemas.microsoft.com/office/drawing/2014/main" id="{0CDC37C0-FD41-4466-907B-ACFF251D77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986171" y="5306668"/>
              <a:ext cx="1173514" cy="1098462"/>
            </a:xfrm>
            <a:prstGeom prst="rect">
              <a:avLst/>
            </a:prstGeom>
          </p:spPr>
        </p:pic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66C3EE7C-CFE8-46F5-96A1-967FB2CB52B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445287" y="5325985"/>
              <a:ext cx="210558" cy="66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" name="Group 78">
            <a:extLst>
              <a:ext uri="{FF2B5EF4-FFF2-40B4-BE49-F238E27FC236}">
                <a16:creationId xmlns:a16="http://schemas.microsoft.com/office/drawing/2014/main" id="{043D22E5-7618-463B-B2DC-6CBB41A0C598}"/>
              </a:ext>
            </a:extLst>
          </p:cNvPr>
          <p:cNvGrpSpPr/>
          <p:nvPr/>
        </p:nvGrpSpPr>
        <p:grpSpPr>
          <a:xfrm>
            <a:off x="701365" y="2600494"/>
            <a:ext cx="2903994" cy="332782"/>
            <a:chOff x="540000" y="1561375"/>
            <a:chExt cx="3208497" cy="332705"/>
          </a:xfrm>
        </p:grpSpPr>
        <p:sp>
          <p:nvSpPr>
            <p:cNvPr id="66" name="Rechteck 59">
              <a:extLst>
                <a:ext uri="{FF2B5EF4-FFF2-40B4-BE49-F238E27FC236}">
                  <a16:creationId xmlns:a16="http://schemas.microsoft.com/office/drawing/2014/main" id="{68D1E833-3688-4D23-84F1-CF07A54616C8}"/>
                </a:ext>
              </a:extLst>
            </p:cNvPr>
            <p:cNvSpPr/>
            <p:nvPr/>
          </p:nvSpPr>
          <p:spPr>
            <a:xfrm>
              <a:off x="1731164" y="1561375"/>
              <a:ext cx="1923847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914583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kern="0" dirty="0">
                  <a:solidFill>
                    <a:srgbClr val="EC6602"/>
                  </a:solidFill>
                  <a:latin typeface="Calibri"/>
                  <a:ea typeface="+mn-ea"/>
                </a:rPr>
                <a:t>Single Source CT</a:t>
              </a:r>
            </a:p>
          </p:txBody>
        </p:sp>
        <p:cxnSp>
          <p:nvCxnSpPr>
            <p:cNvPr id="67" name="Gerade Verbindung 74">
              <a:extLst>
                <a:ext uri="{FF2B5EF4-FFF2-40B4-BE49-F238E27FC236}">
                  <a16:creationId xmlns:a16="http://schemas.microsoft.com/office/drawing/2014/main" id="{B9F0F8F3-FE0C-4875-9B01-30099EC12EA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0000" y="1882907"/>
              <a:ext cx="3208497" cy="11173"/>
            </a:xfrm>
            <a:prstGeom prst="line">
              <a:avLst/>
            </a:prstGeom>
            <a:ln w="31750" cap="rnd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FD7CFF4-C551-4FE9-8AC5-D5943337F207}"/>
              </a:ext>
            </a:extLst>
          </p:cNvPr>
          <p:cNvGrpSpPr/>
          <p:nvPr/>
        </p:nvGrpSpPr>
        <p:grpSpPr>
          <a:xfrm>
            <a:off x="7874044" y="1240436"/>
            <a:ext cx="3241576" cy="437144"/>
            <a:chOff x="7859345" y="1240148"/>
            <a:chExt cx="3240826" cy="437043"/>
          </a:xfrm>
        </p:grpSpPr>
        <p:cxnSp>
          <p:nvCxnSpPr>
            <p:cNvPr id="69" name="Gerade Verbindung 74">
              <a:extLst>
                <a:ext uri="{FF2B5EF4-FFF2-40B4-BE49-F238E27FC236}">
                  <a16:creationId xmlns:a16="http://schemas.microsoft.com/office/drawing/2014/main" id="{68FEA16E-C866-4B1C-B526-270920A8406C}"/>
                </a:ext>
              </a:extLst>
            </p:cNvPr>
            <p:cNvCxnSpPr>
              <a:cxnSpLocks/>
            </p:cNvCxnSpPr>
            <p:nvPr/>
          </p:nvCxnSpPr>
          <p:spPr>
            <a:xfrm>
              <a:off x="7975907" y="1632479"/>
              <a:ext cx="3124264" cy="752"/>
            </a:xfrm>
            <a:prstGeom prst="line">
              <a:avLst/>
            </a:prstGeom>
            <a:ln w="31750" cap="rnd">
              <a:solidFill>
                <a:srgbClr val="009999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51E02843-D362-4342-A1E9-094ADA97752D}"/>
                </a:ext>
              </a:extLst>
            </p:cNvPr>
            <p:cNvSpPr/>
            <p:nvPr/>
          </p:nvSpPr>
          <p:spPr>
            <a:xfrm>
              <a:off x="7859345" y="1240148"/>
              <a:ext cx="1775679" cy="4370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583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000" b="1" dirty="0">
                  <a:solidFill>
                    <a:srgbClr val="009999"/>
                  </a:solidFill>
                  <a:latin typeface="Calibri"/>
                  <a:ea typeface="+mn-ea"/>
                </a:rPr>
                <a:t>Dual Source CT</a:t>
              </a:r>
            </a:p>
          </p:txBody>
        </p:sp>
      </p:grpSp>
      <p:pic>
        <p:nvPicPr>
          <p:cNvPr id="24" name="Picture 2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45999" y="4438743"/>
            <a:ext cx="958016" cy="1012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5" name="Group 78">
            <a:extLst>
              <a:ext uri="{FF2B5EF4-FFF2-40B4-BE49-F238E27FC236}">
                <a16:creationId xmlns:a16="http://schemas.microsoft.com/office/drawing/2014/main" id="{0F36F266-A6D5-4F01-BC91-6BDE36E3E5DB}"/>
              </a:ext>
            </a:extLst>
          </p:cNvPr>
          <p:cNvGrpSpPr/>
          <p:nvPr/>
        </p:nvGrpSpPr>
        <p:grpSpPr>
          <a:xfrm>
            <a:off x="8605406" y="2997128"/>
            <a:ext cx="2997564" cy="315351"/>
            <a:chOff x="635431" y="1578802"/>
            <a:chExt cx="3113066" cy="315278"/>
          </a:xfrm>
        </p:grpSpPr>
        <p:sp>
          <p:nvSpPr>
            <p:cNvPr id="86" name="Rechteck 59">
              <a:extLst>
                <a:ext uri="{FF2B5EF4-FFF2-40B4-BE49-F238E27FC236}">
                  <a16:creationId xmlns:a16="http://schemas.microsoft.com/office/drawing/2014/main" id="{C0DD6F60-D591-4F27-BAF9-01B035D8130B}"/>
                </a:ext>
              </a:extLst>
            </p:cNvPr>
            <p:cNvSpPr/>
            <p:nvPr/>
          </p:nvSpPr>
          <p:spPr>
            <a:xfrm>
              <a:off x="635431" y="1578802"/>
              <a:ext cx="1868302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914583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kern="0" dirty="0">
                  <a:solidFill>
                    <a:srgbClr val="EC6602"/>
                  </a:solidFill>
                  <a:latin typeface="Calibri"/>
                  <a:ea typeface="+mn-ea"/>
                </a:rPr>
                <a:t>Single Source CT</a:t>
              </a:r>
            </a:p>
          </p:txBody>
        </p:sp>
        <p:cxnSp>
          <p:nvCxnSpPr>
            <p:cNvPr id="87" name="Gerade Verbindung 74">
              <a:extLst>
                <a:ext uri="{FF2B5EF4-FFF2-40B4-BE49-F238E27FC236}">
                  <a16:creationId xmlns:a16="http://schemas.microsoft.com/office/drawing/2014/main" id="{4A2FFB02-A551-487E-A774-E9B83C46F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53551" y="1882908"/>
              <a:ext cx="3094946" cy="11172"/>
            </a:xfrm>
            <a:prstGeom prst="line">
              <a:avLst/>
            </a:prstGeom>
            <a:ln w="31750" cap="rnd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9" name="Picture 7">
            <a:extLst>
              <a:ext uri="{FF2B5EF4-FFF2-40B4-BE49-F238E27FC236}">
                <a16:creationId xmlns:a16="http://schemas.microsoft.com/office/drawing/2014/main" id="{A706905F-ED9C-428A-A06D-849C914727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34821" y="2831622"/>
            <a:ext cx="616695" cy="49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>
            <a:extLst>
              <a:ext uri="{FF2B5EF4-FFF2-40B4-BE49-F238E27FC236}">
                <a16:creationId xmlns:a16="http://schemas.microsoft.com/office/drawing/2014/main" id="{BA4D7CB2-B88A-4416-AC33-BE76EC912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3669" y="4394354"/>
            <a:ext cx="547198" cy="54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5">
            <a:extLst>
              <a:ext uri="{FF2B5EF4-FFF2-40B4-BE49-F238E27FC236}">
                <a16:creationId xmlns:a16="http://schemas.microsoft.com/office/drawing/2014/main" id="{1282CD99-EE79-4075-A0A7-6DD982F847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27229" y="4678241"/>
            <a:ext cx="727970" cy="592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4">
            <a:extLst>
              <a:ext uri="{FF2B5EF4-FFF2-40B4-BE49-F238E27FC236}">
                <a16:creationId xmlns:a16="http://schemas.microsoft.com/office/drawing/2014/main" id="{7EE37416-F5C7-4D32-B51C-2A1FF67089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40419" y="3618565"/>
            <a:ext cx="635493" cy="599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">
            <a:extLst>
              <a:ext uri="{FF2B5EF4-FFF2-40B4-BE49-F238E27FC236}">
                <a16:creationId xmlns:a16="http://schemas.microsoft.com/office/drawing/2014/main" id="{7D64E64B-EAEE-4F22-86CF-9564DFEFC1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735805" y="3598065"/>
            <a:ext cx="404449" cy="527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5">
            <a:extLst>
              <a:ext uri="{FF2B5EF4-FFF2-40B4-BE49-F238E27FC236}">
                <a16:creationId xmlns:a16="http://schemas.microsoft.com/office/drawing/2014/main" id="{9F2B011C-B60E-4D2C-91F3-D5D41A8604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4157" y="4370367"/>
            <a:ext cx="850258" cy="746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F65C449E-A200-4731-BA83-B50AD1F5F111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8340" y="2415530"/>
            <a:ext cx="733545" cy="547545"/>
          </a:xfrm>
          <a:prstGeom prst="rect">
            <a:avLst/>
          </a:prstGeom>
        </p:spPr>
      </p:pic>
      <p:sp>
        <p:nvSpPr>
          <p:cNvPr id="71" name="Rechteck 70">
            <a:extLst>
              <a:ext uri="{FF2B5EF4-FFF2-40B4-BE49-F238E27FC236}">
                <a16:creationId xmlns:a16="http://schemas.microsoft.com/office/drawing/2014/main" id="{523473FD-E46E-4BA7-B03B-AEAAFE0D2CF2}"/>
              </a:ext>
            </a:extLst>
          </p:cNvPr>
          <p:cNvSpPr/>
          <p:nvPr/>
        </p:nvSpPr>
        <p:spPr>
          <a:xfrm>
            <a:off x="8384000" y="3772471"/>
            <a:ext cx="1772718" cy="526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 err="1">
                <a:solidFill>
                  <a:srgbClr val="000000"/>
                </a:solidFill>
                <a:latin typeface="Calibri"/>
                <a:ea typeface="+mn-ea"/>
              </a:rPr>
              <a:t>X.cite</a:t>
            </a:r>
            <a:endParaRPr lang="de-DE" sz="1400" baseline="30000" dirty="0">
              <a:solidFill>
                <a:srgbClr val="000000"/>
              </a:solidFill>
              <a:latin typeface="Calibri"/>
              <a:ea typeface="+mn-ea"/>
            </a:endParaRPr>
          </a:p>
          <a:p>
            <a:pPr algn="r"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solidFill>
                  <a:srgbClr val="000000"/>
                </a:solidFill>
                <a:latin typeface="Calibri"/>
                <a:ea typeface="+mn-ea"/>
              </a:rPr>
              <a:t>with</a:t>
            </a:r>
            <a:r>
              <a:rPr lang="de-DE" sz="1000" dirty="0">
                <a:solidFill>
                  <a:srgbClr val="000000"/>
                </a:solidFill>
                <a:latin typeface="Calibri"/>
                <a:ea typeface="+mn-ea"/>
              </a:rPr>
              <a:t> myExam Companion</a:t>
            </a:r>
          </a:p>
        </p:txBody>
      </p:sp>
      <p:sp>
        <p:nvSpPr>
          <p:cNvPr id="82" name="TextBox 5">
            <a:extLst>
              <a:ext uri="{FF2B5EF4-FFF2-40B4-BE49-F238E27FC236}">
                <a16:creationId xmlns:a16="http://schemas.microsoft.com/office/drawing/2014/main" id="{CAA10177-86AA-4267-A00B-8DD5EA450EDD}"/>
              </a:ext>
            </a:extLst>
          </p:cNvPr>
          <p:cNvSpPr txBox="1">
            <a:spLocks noChangeAspect="1"/>
          </p:cNvSpPr>
          <p:nvPr/>
        </p:nvSpPr>
        <p:spPr bwMode="gray">
          <a:xfrm rot="150966">
            <a:off x="4307217" y="1575904"/>
            <a:ext cx="3604830" cy="4228484"/>
          </a:xfrm>
          <a:prstGeom prst="rect">
            <a:avLst/>
          </a:prstGeom>
        </p:spPr>
        <p:txBody>
          <a:bodyPr spcFirstLastPara="1" vert="horz" wrap="none" lIns="0" tIns="0" rIns="0" bIns="0" numCol="1" rtlCol="0">
            <a:prstTxWarp prst="textArchUp">
              <a:avLst>
                <a:gd name="adj" fmla="val 5925768"/>
              </a:avLst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EC6602"/>
                </a:solidFill>
                <a:latin typeface="Calibri"/>
              </a:rPr>
              <a:t>ecolin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B34562F-D3FC-4216-A574-9A7DDB8556B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734415" y="3544893"/>
            <a:ext cx="790683" cy="621744"/>
          </a:xfrm>
          <a:prstGeom prst="ellipse">
            <a:avLst/>
          </a:prstGeom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852E706-9CC1-41C5-9D78-1B096C234E7A}"/>
              </a:ext>
            </a:extLst>
          </p:cNvPr>
          <p:cNvGrpSpPr/>
          <p:nvPr/>
        </p:nvGrpSpPr>
        <p:grpSpPr>
          <a:xfrm>
            <a:off x="9800475" y="3079143"/>
            <a:ext cx="1868189" cy="1694481"/>
            <a:chOff x="9785330" y="3078430"/>
            <a:chExt cx="1867757" cy="1694089"/>
          </a:xfrm>
        </p:grpSpPr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2CCF7E6B-D168-4D06-9834-FC1251691B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85330" y="3078430"/>
              <a:ext cx="1694089" cy="1694089"/>
            </a:xfrm>
            <a:prstGeom prst="rect">
              <a:avLst/>
            </a:prstGeom>
          </p:spPr>
        </p:pic>
        <p:sp>
          <p:nvSpPr>
            <p:cNvPr id="76" name="Abgerundetes Rechteck 49">
              <a:extLst>
                <a:ext uri="{FF2B5EF4-FFF2-40B4-BE49-F238E27FC236}">
                  <a16:creationId xmlns:a16="http://schemas.microsoft.com/office/drawing/2014/main" id="{306C9644-BD85-4061-A01E-69D89C1258D3}"/>
                </a:ext>
              </a:extLst>
            </p:cNvPr>
            <p:cNvSpPr/>
            <p:nvPr/>
          </p:nvSpPr>
          <p:spPr>
            <a:xfrm>
              <a:off x="11113087" y="3684906"/>
              <a:ext cx="540000" cy="18510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200" b="1" dirty="0">
                  <a:solidFill>
                    <a:srgbClr val="FFFFFF"/>
                  </a:solidFill>
                  <a:latin typeface="Calibri"/>
                </a:rPr>
                <a:t>NEW</a:t>
              </a:r>
            </a:p>
          </p:txBody>
        </p:sp>
        <p:pic>
          <p:nvPicPr>
            <p:cNvPr id="91" name="Picture 22">
              <a:extLst>
                <a:ext uri="{FF2B5EF4-FFF2-40B4-BE49-F238E27FC236}">
                  <a16:creationId xmlns:a16="http://schemas.microsoft.com/office/drawing/2014/main" id="{49CDCB64-74FD-4A7B-8878-50160792410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5549"/>
            <a:stretch/>
          </p:blipFill>
          <p:spPr bwMode="auto">
            <a:xfrm>
              <a:off x="10493028" y="3354877"/>
              <a:ext cx="264112" cy="252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BDC25B6-4DBB-407C-8312-D1903D3A38C0}"/>
              </a:ext>
            </a:extLst>
          </p:cNvPr>
          <p:cNvGrpSpPr/>
          <p:nvPr/>
        </p:nvGrpSpPr>
        <p:grpSpPr>
          <a:xfrm>
            <a:off x="668297" y="3000274"/>
            <a:ext cx="856405" cy="980223"/>
            <a:chOff x="1082536" y="3337116"/>
            <a:chExt cx="856207" cy="979996"/>
          </a:xfrm>
        </p:grpSpPr>
        <p:pic>
          <p:nvPicPr>
            <p:cNvPr id="59" name="Picture 17">
              <a:extLst>
                <a:ext uri="{FF2B5EF4-FFF2-40B4-BE49-F238E27FC236}">
                  <a16:creationId xmlns:a16="http://schemas.microsoft.com/office/drawing/2014/main" id="{D4734050-8236-4C8A-A0AF-514F2A7905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2536" y="3460905"/>
              <a:ext cx="856207" cy="8562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4" name="Picture 22">
              <a:extLst>
                <a:ext uri="{FF2B5EF4-FFF2-40B4-BE49-F238E27FC236}">
                  <a16:creationId xmlns:a16="http://schemas.microsoft.com/office/drawing/2014/main" id="{671C96C8-0E51-4F66-A0D9-F578DCBA8C4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93914" y="3337116"/>
              <a:ext cx="207663" cy="180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E351FAAB-6E6B-4C7C-85FB-94CD525257A3}"/>
              </a:ext>
            </a:extLst>
          </p:cNvPr>
          <p:cNvGrpSpPr/>
          <p:nvPr/>
        </p:nvGrpSpPr>
        <p:grpSpPr>
          <a:xfrm>
            <a:off x="1123899" y="3809784"/>
            <a:ext cx="856405" cy="980892"/>
            <a:chOff x="1503108" y="4101989"/>
            <a:chExt cx="856207" cy="980665"/>
          </a:xfrm>
        </p:grpSpPr>
        <p:pic>
          <p:nvPicPr>
            <p:cNvPr id="12" name="Picture 15"/>
            <p:cNvPicPr>
              <a:picLocks noChangeAspect="1" noChangeArrowheads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3108" y="4226447"/>
              <a:ext cx="856207" cy="8562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3" name="Picture 22">
              <a:extLst>
                <a:ext uri="{FF2B5EF4-FFF2-40B4-BE49-F238E27FC236}">
                  <a16:creationId xmlns:a16="http://schemas.microsoft.com/office/drawing/2014/main" id="{AC085776-0996-442A-B5CD-566D32A6EC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855603" y="4101989"/>
              <a:ext cx="207663" cy="180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Rechteck 15"/>
          <p:cNvSpPr/>
          <p:nvPr/>
        </p:nvSpPr>
        <p:spPr>
          <a:xfrm>
            <a:off x="2016788" y="4019852"/>
            <a:ext cx="1633940" cy="526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 err="1">
                <a:solidFill>
                  <a:srgbClr val="000000"/>
                </a:solidFill>
                <a:latin typeface="Calibri"/>
                <a:ea typeface="+mn-ea"/>
              </a:rPr>
              <a:t>go.All</a:t>
            </a:r>
            <a:endParaRPr lang="de-DE" sz="1400" dirty="0">
              <a:solidFill>
                <a:srgbClr val="000000"/>
              </a:solidFill>
              <a:latin typeface="Calibri"/>
              <a:ea typeface="+mn-ea"/>
            </a:endParaRPr>
          </a:p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solidFill>
                  <a:srgbClr val="000000"/>
                </a:solidFill>
                <a:latin typeface="Calibri"/>
                <a:ea typeface="+mn-ea"/>
              </a:rPr>
              <a:t>with</a:t>
            </a:r>
            <a:r>
              <a:rPr lang="de-DE" sz="1000" dirty="0">
                <a:solidFill>
                  <a:srgbClr val="000000"/>
                </a:solidFill>
                <a:latin typeface="Calibri"/>
                <a:ea typeface="+mn-ea"/>
              </a:rPr>
              <a:t> myExam Companion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78118" y="4833959"/>
            <a:ext cx="1705123" cy="526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 err="1">
                <a:solidFill>
                  <a:srgbClr val="000000"/>
                </a:solidFill>
                <a:latin typeface="Calibri"/>
                <a:ea typeface="+mn-ea"/>
              </a:rPr>
              <a:t>go.Up</a:t>
            </a:r>
            <a:endParaRPr lang="de-DE" sz="1600" dirty="0">
              <a:solidFill>
                <a:srgbClr val="000000"/>
              </a:solidFill>
              <a:latin typeface="Calibri"/>
              <a:ea typeface="+mn-ea"/>
            </a:endParaRPr>
          </a:p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solidFill>
                  <a:srgbClr val="000000"/>
                </a:solidFill>
                <a:latin typeface="Calibri"/>
                <a:ea typeface="+mn-ea"/>
              </a:rPr>
              <a:t>with</a:t>
            </a:r>
            <a:r>
              <a:rPr lang="de-DE" sz="1000" dirty="0">
                <a:solidFill>
                  <a:srgbClr val="000000"/>
                </a:solidFill>
                <a:latin typeface="Calibri"/>
                <a:ea typeface="+mn-ea"/>
              </a:rPr>
              <a:t> myExam Companion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B06873CC-5FBB-4EE3-83A6-432B31727D5F}"/>
              </a:ext>
            </a:extLst>
          </p:cNvPr>
          <p:cNvGrpSpPr/>
          <p:nvPr/>
        </p:nvGrpSpPr>
        <p:grpSpPr>
          <a:xfrm>
            <a:off x="1708813" y="4629904"/>
            <a:ext cx="705513" cy="899439"/>
            <a:chOff x="1903737" y="4934619"/>
            <a:chExt cx="705350" cy="899231"/>
          </a:xfrm>
        </p:grpSpPr>
        <p:pic>
          <p:nvPicPr>
            <p:cNvPr id="29" name="Bild 6"/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903737" y="5123798"/>
              <a:ext cx="705350" cy="710052"/>
            </a:xfrm>
            <a:prstGeom prst="rect">
              <a:avLst/>
            </a:prstGeom>
          </p:spPr>
        </p:pic>
        <p:pic>
          <p:nvPicPr>
            <p:cNvPr id="92" name="Picture 22">
              <a:extLst>
                <a:ext uri="{FF2B5EF4-FFF2-40B4-BE49-F238E27FC236}">
                  <a16:creationId xmlns:a16="http://schemas.microsoft.com/office/drawing/2014/main" id="{026918D6-F488-4102-A02E-69D765327D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110985" y="4934619"/>
              <a:ext cx="264112" cy="180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B154A2D-1264-4FED-900C-080D7FF5E7A3}"/>
              </a:ext>
            </a:extLst>
          </p:cNvPr>
          <p:cNvGrpSpPr/>
          <p:nvPr/>
        </p:nvGrpSpPr>
        <p:grpSpPr>
          <a:xfrm>
            <a:off x="1368140" y="1333669"/>
            <a:ext cx="2902405" cy="305340"/>
            <a:chOff x="1354947" y="1333360"/>
            <a:chExt cx="2901733" cy="305269"/>
          </a:xfrm>
        </p:grpSpPr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FD6565DB-16A4-420C-86F1-23957D2DCE70}"/>
                </a:ext>
              </a:extLst>
            </p:cNvPr>
            <p:cNvSpPr/>
            <p:nvPr/>
          </p:nvSpPr>
          <p:spPr>
            <a:xfrm>
              <a:off x="2567115" y="1333360"/>
              <a:ext cx="1689565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 defTabSz="914583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kern="0" dirty="0">
                  <a:solidFill>
                    <a:srgbClr val="EC6602"/>
                  </a:solidFill>
                  <a:latin typeface="Calibri"/>
                  <a:ea typeface="+mn-ea"/>
                </a:rPr>
                <a:t>Mobile Head CT</a:t>
              </a:r>
            </a:p>
          </p:txBody>
        </p:sp>
        <p:cxnSp>
          <p:nvCxnSpPr>
            <p:cNvPr id="73" name="Gerade Verbindung 74">
              <a:extLst>
                <a:ext uri="{FF2B5EF4-FFF2-40B4-BE49-F238E27FC236}">
                  <a16:creationId xmlns:a16="http://schemas.microsoft.com/office/drawing/2014/main" id="{F53A2DC7-F56F-4DE6-B02A-69BAF20C52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54947" y="1638629"/>
              <a:ext cx="2901733" cy="0"/>
            </a:xfrm>
            <a:prstGeom prst="line">
              <a:avLst/>
            </a:prstGeom>
            <a:ln w="31750" cap="rnd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Rechteck 73">
            <a:extLst>
              <a:ext uri="{FF2B5EF4-FFF2-40B4-BE49-F238E27FC236}">
                <a16:creationId xmlns:a16="http://schemas.microsoft.com/office/drawing/2014/main" id="{61E01ED7-6E35-49C7-BBBB-1580D986B7D9}"/>
              </a:ext>
            </a:extLst>
          </p:cNvPr>
          <p:cNvSpPr/>
          <p:nvPr/>
        </p:nvSpPr>
        <p:spPr>
          <a:xfrm>
            <a:off x="2234891" y="1807165"/>
            <a:ext cx="2005891" cy="526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  <a:t>SOMATOM</a:t>
            </a:r>
            <a:br>
              <a:rPr lang="de-DE" sz="1400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de-DE" sz="1400" dirty="0" err="1">
                <a:solidFill>
                  <a:srgbClr val="000000"/>
                </a:solidFill>
                <a:latin typeface="Calibri"/>
                <a:ea typeface="+mn-ea"/>
              </a:rPr>
              <a:t>On.site</a:t>
            </a:r>
            <a:r>
              <a:rPr lang="de-DE" sz="1400" baseline="30000" dirty="0">
                <a:solidFill>
                  <a:srgbClr val="000000"/>
                </a:solidFill>
                <a:latin typeface="Calibri"/>
                <a:ea typeface="+mn-ea"/>
              </a:rPr>
              <a:t>2</a:t>
            </a:r>
          </a:p>
          <a:p>
            <a:pPr defTabSz="91458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err="1">
                <a:solidFill>
                  <a:srgbClr val="000000"/>
                </a:solidFill>
                <a:latin typeface="Calibri"/>
                <a:ea typeface="+mn-ea"/>
              </a:rPr>
              <a:t>with</a:t>
            </a:r>
            <a:r>
              <a:rPr lang="de-DE" sz="1000" dirty="0">
                <a:solidFill>
                  <a:srgbClr val="000000"/>
                </a:solidFill>
                <a:latin typeface="Calibri"/>
                <a:ea typeface="+mn-ea"/>
              </a:rPr>
              <a:t> myExam Companion</a:t>
            </a:r>
          </a:p>
        </p:txBody>
      </p:sp>
      <p:pic>
        <p:nvPicPr>
          <p:cNvPr id="75" name="Grafik 74">
            <a:extLst>
              <a:ext uri="{FF2B5EF4-FFF2-40B4-BE49-F238E27FC236}">
                <a16:creationId xmlns:a16="http://schemas.microsoft.com/office/drawing/2014/main" id="{2BB6B748-27F6-4A41-9E2B-7518776588C6}"/>
              </a:ext>
            </a:extLst>
          </p:cNvPr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522" y="1189701"/>
            <a:ext cx="1565949" cy="1565949"/>
          </a:xfrm>
          <a:prstGeom prst="rect">
            <a:avLst/>
          </a:prstGeom>
          <a:ln w="31750" cap="rnd">
            <a:noFill/>
            <a:prstDash val="sysDot"/>
          </a:ln>
        </p:spPr>
      </p:pic>
      <p:sp>
        <p:nvSpPr>
          <p:cNvPr id="77" name="Abgerundetes Rechteck 49">
            <a:extLst>
              <a:ext uri="{FF2B5EF4-FFF2-40B4-BE49-F238E27FC236}">
                <a16:creationId xmlns:a16="http://schemas.microsoft.com/office/drawing/2014/main" id="{72B3FE4C-A5AA-4BC1-BB58-45F1AF445F82}"/>
              </a:ext>
            </a:extLst>
          </p:cNvPr>
          <p:cNvSpPr/>
          <p:nvPr/>
        </p:nvSpPr>
        <p:spPr>
          <a:xfrm>
            <a:off x="853102" y="1791431"/>
            <a:ext cx="540125" cy="18515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solidFill>
                  <a:srgbClr val="FFFFFF"/>
                </a:solidFill>
                <a:latin typeface="Calibri"/>
              </a:rPr>
              <a:t>NEW</a:t>
            </a:r>
          </a:p>
        </p:txBody>
      </p:sp>
      <p:sp>
        <p:nvSpPr>
          <p:cNvPr id="81" name="Footer Placeholder 5">
            <a:extLst>
              <a:ext uri="{FF2B5EF4-FFF2-40B4-BE49-F238E27FC236}">
                <a16:creationId xmlns:a16="http://schemas.microsoft.com/office/drawing/2014/main" id="{189F41D1-2311-40B6-8936-12CD54EE674F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CBB1CF3-3260-4A67-AF95-BB27C706480A}"/>
              </a:ext>
            </a:extLst>
          </p:cNvPr>
          <p:cNvSpPr/>
          <p:nvPr/>
        </p:nvSpPr>
        <p:spPr>
          <a:xfrm>
            <a:off x="7657501" y="4546272"/>
            <a:ext cx="3945469" cy="1701546"/>
          </a:xfrm>
          <a:custGeom>
            <a:avLst/>
            <a:gdLst>
              <a:gd name="connsiteX0" fmla="*/ 0 w 3284457"/>
              <a:gd name="connsiteY0" fmla="*/ 0 h 1679512"/>
              <a:gd name="connsiteX1" fmla="*/ 3284457 w 3284457"/>
              <a:gd name="connsiteY1" fmla="*/ 0 h 1679512"/>
              <a:gd name="connsiteX2" fmla="*/ 3284457 w 3284457"/>
              <a:gd name="connsiteY2" fmla="*/ 1679512 h 1679512"/>
              <a:gd name="connsiteX3" fmla="*/ 0 w 3284457"/>
              <a:gd name="connsiteY3" fmla="*/ 1679512 h 1679512"/>
              <a:gd name="connsiteX4" fmla="*/ 0 w 3284457"/>
              <a:gd name="connsiteY4" fmla="*/ 0 h 1679512"/>
              <a:gd name="connsiteX0" fmla="*/ 661012 w 3945469"/>
              <a:gd name="connsiteY0" fmla="*/ 0 h 1701546"/>
              <a:gd name="connsiteX1" fmla="*/ 3945469 w 3945469"/>
              <a:gd name="connsiteY1" fmla="*/ 0 h 1701546"/>
              <a:gd name="connsiteX2" fmla="*/ 3945469 w 3945469"/>
              <a:gd name="connsiteY2" fmla="*/ 1679512 h 1701546"/>
              <a:gd name="connsiteX3" fmla="*/ 0 w 3945469"/>
              <a:gd name="connsiteY3" fmla="*/ 1701546 h 1701546"/>
              <a:gd name="connsiteX4" fmla="*/ 661012 w 3945469"/>
              <a:gd name="connsiteY4" fmla="*/ 0 h 1701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5469" h="1701546">
                <a:moveTo>
                  <a:pt x="661012" y="0"/>
                </a:moveTo>
                <a:lnTo>
                  <a:pt x="3945469" y="0"/>
                </a:lnTo>
                <a:lnTo>
                  <a:pt x="3945469" y="1679512"/>
                </a:lnTo>
                <a:lnTo>
                  <a:pt x="0" y="1701546"/>
                </a:lnTo>
                <a:lnTo>
                  <a:pt x="661012" y="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4" name="Rectangle 25">
            <a:extLst>
              <a:ext uri="{FF2B5EF4-FFF2-40B4-BE49-F238E27FC236}">
                <a16:creationId xmlns:a16="http://schemas.microsoft.com/office/drawing/2014/main" id="{0477F954-635C-4B72-9080-12C202884CAC}"/>
              </a:ext>
            </a:extLst>
          </p:cNvPr>
          <p:cNvSpPr/>
          <p:nvPr/>
        </p:nvSpPr>
        <p:spPr>
          <a:xfrm flipV="1">
            <a:off x="7820045" y="1635280"/>
            <a:ext cx="3945469" cy="1370527"/>
          </a:xfrm>
          <a:custGeom>
            <a:avLst/>
            <a:gdLst>
              <a:gd name="connsiteX0" fmla="*/ 0 w 3284457"/>
              <a:gd name="connsiteY0" fmla="*/ 0 h 1679512"/>
              <a:gd name="connsiteX1" fmla="*/ 3284457 w 3284457"/>
              <a:gd name="connsiteY1" fmla="*/ 0 h 1679512"/>
              <a:gd name="connsiteX2" fmla="*/ 3284457 w 3284457"/>
              <a:gd name="connsiteY2" fmla="*/ 1679512 h 1679512"/>
              <a:gd name="connsiteX3" fmla="*/ 0 w 3284457"/>
              <a:gd name="connsiteY3" fmla="*/ 1679512 h 1679512"/>
              <a:gd name="connsiteX4" fmla="*/ 0 w 3284457"/>
              <a:gd name="connsiteY4" fmla="*/ 0 h 1679512"/>
              <a:gd name="connsiteX0" fmla="*/ 661012 w 3945469"/>
              <a:gd name="connsiteY0" fmla="*/ 0 h 1701546"/>
              <a:gd name="connsiteX1" fmla="*/ 3945469 w 3945469"/>
              <a:gd name="connsiteY1" fmla="*/ 0 h 1701546"/>
              <a:gd name="connsiteX2" fmla="*/ 3945469 w 3945469"/>
              <a:gd name="connsiteY2" fmla="*/ 1679512 h 1701546"/>
              <a:gd name="connsiteX3" fmla="*/ 0 w 3945469"/>
              <a:gd name="connsiteY3" fmla="*/ 1701546 h 1701546"/>
              <a:gd name="connsiteX4" fmla="*/ 661012 w 3945469"/>
              <a:gd name="connsiteY4" fmla="*/ 0 h 1701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5469" h="1701546">
                <a:moveTo>
                  <a:pt x="661012" y="0"/>
                </a:moveTo>
                <a:lnTo>
                  <a:pt x="3945469" y="0"/>
                </a:lnTo>
                <a:lnTo>
                  <a:pt x="3945469" y="1679512"/>
                </a:lnTo>
                <a:lnTo>
                  <a:pt x="0" y="1701546"/>
                </a:lnTo>
                <a:lnTo>
                  <a:pt x="661012" y="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6B4809C-08DE-43EE-82BD-F7E65558AF4C}"/>
              </a:ext>
            </a:extLst>
          </p:cNvPr>
          <p:cNvSpPr/>
          <p:nvPr/>
        </p:nvSpPr>
        <p:spPr>
          <a:xfrm>
            <a:off x="3650728" y="1189701"/>
            <a:ext cx="4785028" cy="4963021"/>
          </a:xfrm>
          <a:prstGeom prst="ellipse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830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84" grpId="0" animBg="1"/>
      <p:bldP spid="4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3B867-A015-4EB3-B4A5-3B94191CF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68" y="219650"/>
            <a:ext cx="9941337" cy="833106"/>
          </a:xfrm>
        </p:spPr>
        <p:txBody>
          <a:bodyPr/>
          <a:lstStyle/>
          <a:p>
            <a:r>
              <a:rPr lang="de-DE" sz="2800" dirty="0"/>
              <a:t>The environment</a:t>
            </a:r>
            <a:br>
              <a:rPr lang="de-DE" sz="2800" dirty="0"/>
            </a:br>
            <a:r>
              <a:rPr lang="de-DE" sz="2800" dirty="0"/>
              <a:t>Cyber-</a:t>
            </a:r>
            <a:r>
              <a:rPr lang="de-DE" sz="2800" dirty="0" err="1"/>
              <a:t>physical</a:t>
            </a:r>
            <a:r>
              <a:rPr lang="de-DE" sz="2800" dirty="0"/>
              <a:t> </a:t>
            </a:r>
            <a:r>
              <a:rPr lang="de-DE" sz="2800" dirty="0" err="1"/>
              <a:t>system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systems</a:t>
            </a:r>
            <a:r>
              <a:rPr lang="de-DE" sz="2800" dirty="0"/>
              <a:t>: </a:t>
            </a:r>
            <a:r>
              <a:rPr lang="de-DE" sz="2800" dirty="0" err="1"/>
              <a:t>Computed</a:t>
            </a:r>
            <a:r>
              <a:rPr lang="de-DE" sz="2800" dirty="0"/>
              <a:t> </a:t>
            </a:r>
            <a:r>
              <a:rPr lang="de-DE" sz="2800" dirty="0" err="1"/>
              <a:t>Tomography</a:t>
            </a:r>
            <a:r>
              <a:rPr lang="de-DE" sz="2800" dirty="0"/>
              <a:t> </a:t>
            </a:r>
            <a:r>
              <a:rPr lang="de-DE" sz="2800" dirty="0" err="1"/>
              <a:t>scanner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A2265B-B727-45DE-871D-A4E5098A73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3004" y="1623977"/>
            <a:ext cx="5000071" cy="4571883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Challenges</a:t>
            </a:r>
          </a:p>
          <a:p>
            <a:pPr lvl="0"/>
            <a:r>
              <a:rPr lang="en-US" sz="1600" dirty="0">
                <a:solidFill>
                  <a:schemeClr val="tx1"/>
                </a:solidFill>
              </a:rPr>
              <a:t>Growing complexity </a:t>
            </a:r>
            <a:r>
              <a:rPr lang="en-US" sz="1600" b="0" dirty="0">
                <a:solidFill>
                  <a:schemeClr val="tx1"/>
                </a:solidFill>
              </a:rPr>
              <a:t>(both product and the organization)</a:t>
            </a:r>
            <a:endParaRPr lang="de-DE" sz="1600" b="0" dirty="0">
              <a:solidFill>
                <a:schemeClr val="tx1"/>
              </a:solidFill>
            </a:endParaRPr>
          </a:p>
          <a:p>
            <a:pPr lvl="0"/>
            <a:r>
              <a:rPr lang="en-US" sz="1600" b="0" dirty="0">
                <a:solidFill>
                  <a:schemeClr val="tx1"/>
                </a:solidFill>
              </a:rPr>
              <a:t>Transforming from a hardware driven to a S</a:t>
            </a:r>
            <a:r>
              <a:rPr lang="en-US" sz="1600" dirty="0">
                <a:solidFill>
                  <a:schemeClr val="tx1"/>
                </a:solidFill>
              </a:rPr>
              <a:t>oftware driven company</a:t>
            </a:r>
            <a:r>
              <a:rPr lang="en-US" sz="1600" b="0" dirty="0">
                <a:solidFill>
                  <a:schemeClr val="tx1"/>
                </a:solidFill>
              </a:rPr>
              <a:t> causing functionality realized in Software to grow rapidly</a:t>
            </a:r>
            <a:endParaRPr lang="de-DE" sz="1600" b="0" dirty="0">
              <a:solidFill>
                <a:schemeClr val="tx1"/>
              </a:solidFill>
            </a:endParaRPr>
          </a:p>
          <a:p>
            <a:pPr lvl="0"/>
            <a:r>
              <a:rPr lang="en-US" sz="1600" b="0" dirty="0">
                <a:solidFill>
                  <a:schemeClr val="tx1"/>
                </a:solidFill>
              </a:rPr>
              <a:t>Systems become increasingly </a:t>
            </a:r>
            <a:r>
              <a:rPr lang="en-US" sz="1600" dirty="0">
                <a:solidFill>
                  <a:schemeClr val="tx1"/>
                </a:solidFill>
              </a:rPr>
              <a:t>interconnected</a:t>
            </a:r>
            <a:r>
              <a:rPr lang="en-US" sz="1600" b="0" dirty="0">
                <a:solidFill>
                  <a:schemeClr val="tx1"/>
                </a:solidFill>
              </a:rPr>
              <a:t>, expanding the </a:t>
            </a:r>
            <a:r>
              <a:rPr lang="en-US" sz="1600" dirty="0">
                <a:solidFill>
                  <a:schemeClr val="tx1"/>
                </a:solidFill>
              </a:rPr>
              <a:t>complexity beyond the boundaries of systems</a:t>
            </a:r>
            <a:endParaRPr lang="de-DE" sz="1600" dirty="0">
              <a:solidFill>
                <a:schemeClr val="tx1"/>
              </a:solidFill>
            </a:endParaRPr>
          </a:p>
          <a:p>
            <a:r>
              <a:rPr lang="en-US" sz="1600" b="0" dirty="0">
                <a:solidFill>
                  <a:schemeClr val="tx1"/>
                </a:solidFill>
              </a:rPr>
              <a:t>Growing compatibility concerns between parts of large, complex systems because various parts move at </a:t>
            </a:r>
            <a:r>
              <a:rPr lang="en-US" sz="1600" dirty="0">
                <a:solidFill>
                  <a:schemeClr val="tx1"/>
                </a:solidFill>
              </a:rPr>
              <a:t>different “pace of change”</a:t>
            </a:r>
            <a:r>
              <a:rPr lang="en-US" sz="1600" b="0" dirty="0">
                <a:solidFill>
                  <a:schemeClr val="tx1"/>
                </a:solidFill>
              </a:rPr>
              <a:t>, especially combining Hardware and Software</a:t>
            </a:r>
          </a:p>
          <a:p>
            <a:r>
              <a:rPr lang="en-US" sz="1600" b="0" dirty="0">
                <a:solidFill>
                  <a:schemeClr val="tx1"/>
                </a:solidFill>
              </a:rPr>
              <a:t>Fast pace of </a:t>
            </a:r>
            <a:r>
              <a:rPr lang="en-US" sz="1600" dirty="0">
                <a:solidFill>
                  <a:schemeClr val="tx1"/>
                </a:solidFill>
              </a:rPr>
              <a:t>change of modern software technologies </a:t>
            </a:r>
            <a:r>
              <a:rPr lang="en-US" sz="1600" b="0" dirty="0">
                <a:solidFill>
                  <a:schemeClr val="tx1"/>
                </a:solidFill>
              </a:rPr>
              <a:t>requires clear separation of concerns</a:t>
            </a:r>
            <a:endParaRPr lang="de-DE" sz="1600" b="0" dirty="0">
              <a:solidFill>
                <a:schemeClr val="tx1"/>
              </a:solidFill>
            </a:endParaRPr>
          </a:p>
          <a:p>
            <a:pPr lvl="0"/>
            <a:r>
              <a:rPr lang="en-US" sz="1600" dirty="0">
                <a:solidFill>
                  <a:schemeClr val="tx1"/>
                </a:solidFill>
              </a:rPr>
              <a:t>Accelerating innovation cycles</a:t>
            </a:r>
            <a:endParaRPr lang="de-DE" sz="1600" dirty="0">
              <a:solidFill>
                <a:schemeClr val="tx1"/>
              </a:solidFill>
            </a:endParaRPr>
          </a:p>
          <a:p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D77152B-8E19-4385-98F9-E7E572CDA93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943" y="1637611"/>
            <a:ext cx="5478808" cy="455681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2CDB51FB-E0D8-4918-A0FC-9C84D1B761F2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</p:spTree>
    <p:extLst>
      <p:ext uri="{BB962C8B-B14F-4D97-AF65-F5344CB8AC3E}">
        <p14:creationId xmlns:p14="http://schemas.microsoft.com/office/powerpoint/2010/main" val="382250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" name="Picture 2">
            <a:extLst>
              <a:ext uri="{FF2B5EF4-FFF2-40B4-BE49-F238E27FC236}">
                <a16:creationId xmlns:a16="http://schemas.microsoft.com/office/drawing/2014/main" id="{F059FEBA-6D20-4E6F-A709-B28E20722B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38762" y1="61397" x2="51466" y2="60294"/>
                        <a14:foregroundMark x1="44300" y1="25000" x2="42671" y2="25000"/>
                        <a14:foregroundMark x1="5537" y1="35662" x2="5537" y2="87868"/>
                        <a14:foregroundMark x1="57329" y1="88235" x2="85342" y2="87132"/>
                        <a14:foregroundMark x1="35179" y1="88235" x2="20847" y2="87500"/>
                        <a14:foregroundMark x1="93485" y1="79779" x2="93485" y2="87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965680" y="4761990"/>
            <a:ext cx="1326317" cy="1177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9" name="Picture 2">
            <a:extLst>
              <a:ext uri="{FF2B5EF4-FFF2-40B4-BE49-F238E27FC236}">
                <a16:creationId xmlns:a16="http://schemas.microsoft.com/office/drawing/2014/main" id="{51071687-02BA-4668-804E-54B11FC849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38762" y1="61397" x2="51466" y2="60294"/>
                        <a14:foregroundMark x1="44300" y1="25000" x2="42671" y2="25000"/>
                        <a14:foregroundMark x1="5537" y1="35662" x2="5537" y2="87868"/>
                        <a14:foregroundMark x1="57329" y1="88235" x2="85342" y2="87132"/>
                        <a14:foregroundMark x1="35179" y1="88235" x2="20847" y2="87500"/>
                        <a14:foregroundMark x1="93485" y1="79779" x2="93485" y2="87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813245" y="4609554"/>
            <a:ext cx="1326317" cy="1177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3E48145-9C22-4C55-9B72-FF76AB14CB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6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3E48145-9C22-4C55-9B72-FF76AB14C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46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4E5515A-B559-41F3-A20B-918FEA15C04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2879" y="0"/>
            <a:ext cx="158787" cy="1587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583" fontAlgn="auto">
              <a:spcBef>
                <a:spcPct val="0"/>
              </a:spcBef>
            </a:pPr>
            <a:endParaRPr lang="en-US" sz="2801" b="1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8212" name="Gruppieren 8211">
            <a:extLst>
              <a:ext uri="{FF2B5EF4-FFF2-40B4-BE49-F238E27FC236}">
                <a16:creationId xmlns:a16="http://schemas.microsoft.com/office/drawing/2014/main" id="{8E20BB10-5334-41CD-9A79-56A749CD5409}"/>
              </a:ext>
            </a:extLst>
          </p:cNvPr>
          <p:cNvGrpSpPr/>
          <p:nvPr/>
        </p:nvGrpSpPr>
        <p:grpSpPr bwMode="gray">
          <a:xfrm>
            <a:off x="5178566" y="1623976"/>
            <a:ext cx="6600462" cy="4573058"/>
            <a:chOff x="5164491" y="1623600"/>
            <a:chExt cx="6598934" cy="4572000"/>
          </a:xfrm>
        </p:grpSpPr>
        <p:sp>
          <p:nvSpPr>
            <p:cNvPr id="333" name="Rechteck 332">
              <a:extLst>
                <a:ext uri="{FF2B5EF4-FFF2-40B4-BE49-F238E27FC236}">
                  <a16:creationId xmlns:a16="http://schemas.microsoft.com/office/drawing/2014/main" id="{90ACDC0A-EC6E-4963-91F9-6EA6F9A0D9DE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1623600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35" name="Rechteck 334">
              <a:extLst>
                <a:ext uri="{FF2B5EF4-FFF2-40B4-BE49-F238E27FC236}">
                  <a16:creationId xmlns:a16="http://schemas.microsoft.com/office/drawing/2014/main" id="{9D763B7B-CA63-4669-98BB-3429845B7525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2011668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36" name="Rechteck 335">
              <a:extLst>
                <a:ext uri="{FF2B5EF4-FFF2-40B4-BE49-F238E27FC236}">
                  <a16:creationId xmlns:a16="http://schemas.microsoft.com/office/drawing/2014/main" id="{D67E0F87-CEEA-4FC4-97F3-AC622D6DBBAF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2399735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37" name="Rechteck 336">
              <a:extLst>
                <a:ext uri="{FF2B5EF4-FFF2-40B4-BE49-F238E27FC236}">
                  <a16:creationId xmlns:a16="http://schemas.microsoft.com/office/drawing/2014/main" id="{B090A424-F71B-4D8C-85C7-EA65AF15C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2787803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38" name="Rechteck 337">
              <a:extLst>
                <a:ext uri="{FF2B5EF4-FFF2-40B4-BE49-F238E27FC236}">
                  <a16:creationId xmlns:a16="http://schemas.microsoft.com/office/drawing/2014/main" id="{E13FF51A-373B-435F-9CD4-6C90C827537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3175871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39" name="Rechteck 338">
              <a:extLst>
                <a:ext uri="{FF2B5EF4-FFF2-40B4-BE49-F238E27FC236}">
                  <a16:creationId xmlns:a16="http://schemas.microsoft.com/office/drawing/2014/main" id="{DFE75632-1BA1-4346-A1E9-872DE824CC0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3563939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40" name="Rechteck 339">
              <a:extLst>
                <a:ext uri="{FF2B5EF4-FFF2-40B4-BE49-F238E27FC236}">
                  <a16:creationId xmlns:a16="http://schemas.microsoft.com/office/drawing/2014/main" id="{089041BB-1E18-4C64-A29A-7236A377BAD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3952006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41" name="Rechteck 340">
              <a:extLst>
                <a:ext uri="{FF2B5EF4-FFF2-40B4-BE49-F238E27FC236}">
                  <a16:creationId xmlns:a16="http://schemas.microsoft.com/office/drawing/2014/main" id="{CA6F112B-435D-4283-B9D2-0875A3A5A5C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4340074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42" name="Rechteck 341">
              <a:extLst>
                <a:ext uri="{FF2B5EF4-FFF2-40B4-BE49-F238E27FC236}">
                  <a16:creationId xmlns:a16="http://schemas.microsoft.com/office/drawing/2014/main" id="{62914AAE-8096-4276-AA3B-4EA84498C1B8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4728142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44" name="Rechteck 343">
              <a:extLst>
                <a:ext uri="{FF2B5EF4-FFF2-40B4-BE49-F238E27FC236}">
                  <a16:creationId xmlns:a16="http://schemas.microsoft.com/office/drawing/2014/main" id="{C784A821-201D-47E6-B082-C4D308495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45993" y="5504278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63" name="Rechteck 362">
              <a:extLst>
                <a:ext uri="{FF2B5EF4-FFF2-40B4-BE49-F238E27FC236}">
                  <a16:creationId xmlns:a16="http://schemas.microsoft.com/office/drawing/2014/main" id="{669549F8-DE2F-4C2B-B2BF-51A728A73355}"/>
                </a:ext>
              </a:extLst>
            </p:cNvPr>
            <p:cNvSpPr>
              <a:spLocks/>
            </p:cNvSpPr>
            <p:nvPr/>
          </p:nvSpPr>
          <p:spPr bwMode="gray">
            <a:xfrm>
              <a:off x="9803021" y="2011668"/>
              <a:ext cx="303255" cy="3032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70" name="Rechteck 369">
              <a:extLst>
                <a:ext uri="{FF2B5EF4-FFF2-40B4-BE49-F238E27FC236}">
                  <a16:creationId xmlns:a16="http://schemas.microsoft.com/office/drawing/2014/main" id="{24C6DFFC-0A55-48D9-9C12-360EFC11D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9803021" y="4728142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72" name="Rechteck 371">
              <a:extLst>
                <a:ext uri="{FF2B5EF4-FFF2-40B4-BE49-F238E27FC236}">
                  <a16:creationId xmlns:a16="http://schemas.microsoft.com/office/drawing/2014/main" id="{5D129C5D-FD6D-478F-9569-59C557711D59}"/>
                </a:ext>
              </a:extLst>
            </p:cNvPr>
            <p:cNvSpPr>
              <a:spLocks/>
            </p:cNvSpPr>
            <p:nvPr/>
          </p:nvSpPr>
          <p:spPr bwMode="gray">
            <a:xfrm>
              <a:off x="9803021" y="5504278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76" name="Rechteck 375">
              <a:extLst>
                <a:ext uri="{FF2B5EF4-FFF2-40B4-BE49-F238E27FC236}">
                  <a16:creationId xmlns:a16="http://schemas.microsoft.com/office/drawing/2014/main" id="{13B258D8-0F4A-4CB2-A57C-ECF624EE96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2011668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77" name="Rechteck 376">
              <a:extLst>
                <a:ext uri="{FF2B5EF4-FFF2-40B4-BE49-F238E27FC236}">
                  <a16:creationId xmlns:a16="http://schemas.microsoft.com/office/drawing/2014/main" id="{357B67EB-F7C4-44C6-A562-C595D5F1AE1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2399735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78" name="Rechteck 377">
              <a:extLst>
                <a:ext uri="{FF2B5EF4-FFF2-40B4-BE49-F238E27FC236}">
                  <a16:creationId xmlns:a16="http://schemas.microsoft.com/office/drawing/2014/main" id="{1999B3C1-FC60-40A0-801A-8774609047C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2787803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79" name="Rechteck 378">
              <a:extLst>
                <a:ext uri="{FF2B5EF4-FFF2-40B4-BE49-F238E27FC236}">
                  <a16:creationId xmlns:a16="http://schemas.microsoft.com/office/drawing/2014/main" id="{F2C8ECD5-66E6-416A-AEE9-D9E1D6B1F64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3175871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80" name="Rechteck 379">
              <a:extLst>
                <a:ext uri="{FF2B5EF4-FFF2-40B4-BE49-F238E27FC236}">
                  <a16:creationId xmlns:a16="http://schemas.microsoft.com/office/drawing/2014/main" id="{A3CF3BF5-D630-4D95-A21F-9523367D2273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3563939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81" name="Rechteck 380">
              <a:extLst>
                <a:ext uri="{FF2B5EF4-FFF2-40B4-BE49-F238E27FC236}">
                  <a16:creationId xmlns:a16="http://schemas.microsoft.com/office/drawing/2014/main" id="{1B3509BA-EA52-45F5-8F92-F258E57BEE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3952006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B5EDEB13-3299-4CED-9185-932543F79E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4728142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84" name="Rechteck 383">
              <a:extLst>
                <a:ext uri="{FF2B5EF4-FFF2-40B4-BE49-F238E27FC236}">
                  <a16:creationId xmlns:a16="http://schemas.microsoft.com/office/drawing/2014/main" id="{65B8F5ED-922C-413B-AB28-53CC772167D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5116210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85" name="Rechteck 384">
              <a:extLst>
                <a:ext uri="{FF2B5EF4-FFF2-40B4-BE49-F238E27FC236}">
                  <a16:creationId xmlns:a16="http://schemas.microsoft.com/office/drawing/2014/main" id="{B2B457F5-28F8-40BE-A6A9-42060B156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5504278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86" name="Rechteck 385">
              <a:extLst>
                <a:ext uri="{FF2B5EF4-FFF2-40B4-BE49-F238E27FC236}">
                  <a16:creationId xmlns:a16="http://schemas.microsoft.com/office/drawing/2014/main" id="{63C99DB7-72AA-4A14-8BF1-5FCE194C7E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76291" y="5892345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87" name="TextBox 39">
              <a:extLst>
                <a:ext uri="{FF2B5EF4-FFF2-40B4-BE49-F238E27FC236}">
                  <a16:creationId xmlns:a16="http://schemas.microsoft.com/office/drawing/2014/main" id="{F7E03A28-B757-4AF6-ACFE-836AEFF2E0D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31526" y="2009407"/>
              <a:ext cx="91187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Wireless</a:t>
              </a:r>
              <a:b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</a:b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Remote Ctrl</a:t>
              </a:r>
            </a:p>
          </p:txBody>
        </p:sp>
        <p:sp>
          <p:nvSpPr>
            <p:cNvPr id="388" name="TextBox 39">
              <a:extLst>
                <a:ext uri="{FF2B5EF4-FFF2-40B4-BE49-F238E27FC236}">
                  <a16:creationId xmlns:a16="http://schemas.microsoft.com/office/drawing/2014/main" id="{EEF1505B-84B1-496E-A745-81500767991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51546" y="2474419"/>
              <a:ext cx="9118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Network Proc.</a:t>
              </a:r>
            </a:p>
          </p:txBody>
        </p:sp>
        <p:sp>
          <p:nvSpPr>
            <p:cNvPr id="389" name="TextBox 39">
              <a:extLst>
                <a:ext uri="{FF2B5EF4-FFF2-40B4-BE49-F238E27FC236}">
                  <a16:creationId xmlns:a16="http://schemas.microsoft.com/office/drawing/2014/main" id="{D23B155D-6139-47D6-9C4D-9C056DC7E8F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51546" y="2862487"/>
              <a:ext cx="9118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Tube Control</a:t>
              </a:r>
            </a:p>
          </p:txBody>
        </p:sp>
        <p:sp>
          <p:nvSpPr>
            <p:cNvPr id="390" name="TextBox 39">
              <a:extLst>
                <a:ext uri="{FF2B5EF4-FFF2-40B4-BE49-F238E27FC236}">
                  <a16:creationId xmlns:a16="http://schemas.microsoft.com/office/drawing/2014/main" id="{053EAB2F-E480-40D5-BF8F-38DDEEBD5F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51546" y="3250555"/>
              <a:ext cx="9118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Detector</a:t>
              </a:r>
            </a:p>
          </p:txBody>
        </p:sp>
        <p:sp>
          <p:nvSpPr>
            <p:cNvPr id="391" name="TextBox 39">
              <a:extLst>
                <a:ext uri="{FF2B5EF4-FFF2-40B4-BE49-F238E27FC236}">
                  <a16:creationId xmlns:a16="http://schemas.microsoft.com/office/drawing/2014/main" id="{1599479D-F509-4DB9-ABF7-406554436A0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51546" y="3638623"/>
              <a:ext cx="9118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Device Module</a:t>
              </a:r>
            </a:p>
          </p:txBody>
        </p:sp>
        <p:sp>
          <p:nvSpPr>
            <p:cNvPr id="392" name="TextBox 39">
              <a:extLst>
                <a:ext uri="{FF2B5EF4-FFF2-40B4-BE49-F238E27FC236}">
                  <a16:creationId xmlns:a16="http://schemas.microsoft.com/office/drawing/2014/main" id="{E043F307-23B3-4757-81BC-A0BD128970D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51546" y="4026691"/>
              <a:ext cx="9118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Power Module</a:t>
              </a:r>
            </a:p>
          </p:txBody>
        </p:sp>
        <p:sp>
          <p:nvSpPr>
            <p:cNvPr id="393" name="TextBox 39">
              <a:extLst>
                <a:ext uri="{FF2B5EF4-FFF2-40B4-BE49-F238E27FC236}">
                  <a16:creationId xmlns:a16="http://schemas.microsoft.com/office/drawing/2014/main" id="{4AB97D0A-8F48-4FBF-A400-12C89829C6C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51546" y="4725881"/>
              <a:ext cx="91187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Generator Control </a:t>
              </a:r>
            </a:p>
          </p:txBody>
        </p:sp>
        <p:sp>
          <p:nvSpPr>
            <p:cNvPr id="394" name="TextBox 39">
              <a:extLst>
                <a:ext uri="{FF2B5EF4-FFF2-40B4-BE49-F238E27FC236}">
                  <a16:creationId xmlns:a16="http://schemas.microsoft.com/office/drawing/2014/main" id="{1D46636E-CA76-4A7A-860A-DB63305AE98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51546" y="5190894"/>
              <a:ext cx="9118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Table Control</a:t>
              </a:r>
            </a:p>
          </p:txBody>
        </p:sp>
        <p:sp>
          <p:nvSpPr>
            <p:cNvPr id="395" name="TextBox 39">
              <a:extLst>
                <a:ext uri="{FF2B5EF4-FFF2-40B4-BE49-F238E27FC236}">
                  <a16:creationId xmlns:a16="http://schemas.microsoft.com/office/drawing/2014/main" id="{AD30BBF6-9C42-48FC-A7E1-7688CA0B139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51546" y="5578961"/>
              <a:ext cx="9118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Motion Ctrl 3</a:t>
              </a:r>
            </a:p>
          </p:txBody>
        </p:sp>
        <p:sp>
          <p:nvSpPr>
            <p:cNvPr id="396" name="TextBox 39">
              <a:extLst>
                <a:ext uri="{FF2B5EF4-FFF2-40B4-BE49-F238E27FC236}">
                  <a16:creationId xmlns:a16="http://schemas.microsoft.com/office/drawing/2014/main" id="{83C16EC9-2A9A-471B-9ABB-B9CA19D99B7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851546" y="5967028"/>
              <a:ext cx="9118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Motion Ctrl 4</a:t>
              </a:r>
            </a:p>
          </p:txBody>
        </p:sp>
        <p:sp>
          <p:nvSpPr>
            <p:cNvPr id="349" name="Rechteck 348">
              <a:extLst>
                <a:ext uri="{FF2B5EF4-FFF2-40B4-BE49-F238E27FC236}">
                  <a16:creationId xmlns:a16="http://schemas.microsoft.com/office/drawing/2014/main" id="{0849CAD4-26DD-46D0-9117-6EE8E9CC626B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9262" y="1623600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0" name="Rechteck 349">
              <a:extLst>
                <a:ext uri="{FF2B5EF4-FFF2-40B4-BE49-F238E27FC236}">
                  <a16:creationId xmlns:a16="http://schemas.microsoft.com/office/drawing/2014/main" id="{D7E1B770-DA0B-4F20-AD01-D52886AB6993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9262" y="2011668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1" name="Rechteck 350">
              <a:extLst>
                <a:ext uri="{FF2B5EF4-FFF2-40B4-BE49-F238E27FC236}">
                  <a16:creationId xmlns:a16="http://schemas.microsoft.com/office/drawing/2014/main" id="{60406B52-2CA6-4132-B60E-A412B8E72447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9262" y="2399735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2" name="Rechteck 351">
              <a:extLst>
                <a:ext uri="{FF2B5EF4-FFF2-40B4-BE49-F238E27FC236}">
                  <a16:creationId xmlns:a16="http://schemas.microsoft.com/office/drawing/2014/main" id="{AC3F17E6-080E-47E7-8D8B-1B4E9AFC019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9262" y="2787803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4" name="Rechteck 353">
              <a:extLst>
                <a:ext uri="{FF2B5EF4-FFF2-40B4-BE49-F238E27FC236}">
                  <a16:creationId xmlns:a16="http://schemas.microsoft.com/office/drawing/2014/main" id="{8B9DA8AC-CDDA-4529-958D-79C38A144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9262" y="3369905"/>
              <a:ext cx="303255" cy="3032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5" name="Rechteck 354">
              <a:extLst>
                <a:ext uri="{FF2B5EF4-FFF2-40B4-BE49-F238E27FC236}">
                  <a16:creationId xmlns:a16="http://schemas.microsoft.com/office/drawing/2014/main" id="{5C78DD75-AEF5-4C07-A3F9-B3875D119FDB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9262" y="3952006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6" name="Rechteck 355">
              <a:extLst>
                <a:ext uri="{FF2B5EF4-FFF2-40B4-BE49-F238E27FC236}">
                  <a16:creationId xmlns:a16="http://schemas.microsoft.com/office/drawing/2014/main" id="{0621B36E-7913-4732-A472-D0F0D67C44F7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9262" y="4340074"/>
              <a:ext cx="303255" cy="303255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7" name="Rechteck 356">
              <a:extLst>
                <a:ext uri="{FF2B5EF4-FFF2-40B4-BE49-F238E27FC236}">
                  <a16:creationId xmlns:a16="http://schemas.microsoft.com/office/drawing/2014/main" id="{93561D22-503C-4C87-B344-51E117B00696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9262" y="4728142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9" name="Rechteck 358">
              <a:extLst>
                <a:ext uri="{FF2B5EF4-FFF2-40B4-BE49-F238E27FC236}">
                  <a16:creationId xmlns:a16="http://schemas.microsoft.com/office/drawing/2014/main" id="{BCF2B68A-992E-4DC2-A3D5-76168B1633D8}"/>
                </a:ext>
              </a:extLst>
            </p:cNvPr>
            <p:cNvSpPr>
              <a:spLocks/>
            </p:cNvSpPr>
            <p:nvPr/>
          </p:nvSpPr>
          <p:spPr bwMode="gray">
            <a:xfrm>
              <a:off x="8219262" y="5504278"/>
              <a:ext cx="303255" cy="3032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400" name="TextBox 39">
              <a:extLst>
                <a:ext uri="{FF2B5EF4-FFF2-40B4-BE49-F238E27FC236}">
                  <a16:creationId xmlns:a16="http://schemas.microsoft.com/office/drawing/2014/main" id="{5D77C7FB-9B27-4E25-9CD2-07CD61B54FD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594518" y="4220723"/>
              <a:ext cx="8384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Motion Ctrl 1/2</a:t>
              </a:r>
            </a:p>
          </p:txBody>
        </p:sp>
        <p:sp>
          <p:nvSpPr>
            <p:cNvPr id="401" name="TextBox 39">
              <a:extLst>
                <a:ext uri="{FF2B5EF4-FFF2-40B4-BE49-F238E27FC236}">
                  <a16:creationId xmlns:a16="http://schemas.microsoft.com/office/drawing/2014/main" id="{DCFF7E5E-A10A-4523-A3AE-489CCFEAB27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594518" y="2862487"/>
              <a:ext cx="6613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Remote Ctrl</a:t>
              </a:r>
            </a:p>
          </p:txBody>
        </p:sp>
        <p:sp>
          <p:nvSpPr>
            <p:cNvPr id="402" name="TextBox 39">
              <a:extLst>
                <a:ext uri="{FF2B5EF4-FFF2-40B4-BE49-F238E27FC236}">
                  <a16:creationId xmlns:a16="http://schemas.microsoft.com/office/drawing/2014/main" id="{BD81DB8B-D760-48DA-A3A9-19385AB1646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594518" y="2474419"/>
              <a:ext cx="6613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Phys Meas.</a:t>
              </a:r>
            </a:p>
          </p:txBody>
        </p:sp>
        <p:sp>
          <p:nvSpPr>
            <p:cNvPr id="403" name="TextBox 39">
              <a:extLst>
                <a:ext uri="{FF2B5EF4-FFF2-40B4-BE49-F238E27FC236}">
                  <a16:creationId xmlns:a16="http://schemas.microsoft.com/office/drawing/2014/main" id="{3E1C5037-AB43-4A3C-A85D-4B46562CA99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594518" y="1699378"/>
              <a:ext cx="6613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Master Ctrl</a:t>
              </a:r>
            </a:p>
          </p:txBody>
        </p:sp>
        <p:cxnSp>
          <p:nvCxnSpPr>
            <p:cNvPr id="406" name="Gerader Verbinder 405">
              <a:extLst>
                <a:ext uri="{FF2B5EF4-FFF2-40B4-BE49-F238E27FC236}">
                  <a16:creationId xmlns:a16="http://schemas.microsoft.com/office/drawing/2014/main" id="{5C868B76-2EAD-4AF6-AFF8-2D341648483A}"/>
                </a:ext>
              </a:extLst>
            </p:cNvPr>
            <p:cNvCxnSpPr>
              <a:stCxn id="333" idx="3"/>
              <a:endCxn id="349" idx="1"/>
            </p:cNvCxnSpPr>
            <p:nvPr/>
          </p:nvCxnSpPr>
          <p:spPr bwMode="gray">
            <a:xfrm>
              <a:off x="7849248" y="1775228"/>
              <a:ext cx="37001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8" name="Gerader Verbinder 407">
              <a:extLst>
                <a:ext uri="{FF2B5EF4-FFF2-40B4-BE49-F238E27FC236}">
                  <a16:creationId xmlns:a16="http://schemas.microsoft.com/office/drawing/2014/main" id="{0AA71954-7312-412A-BA9E-4F938AF8A5C3}"/>
                </a:ext>
              </a:extLst>
            </p:cNvPr>
            <p:cNvCxnSpPr>
              <a:cxnSpLocks/>
              <a:stCxn id="335" idx="3"/>
              <a:endCxn id="350" idx="1"/>
            </p:cNvCxnSpPr>
            <p:nvPr/>
          </p:nvCxnSpPr>
          <p:spPr bwMode="gray">
            <a:xfrm>
              <a:off x="7849248" y="2163296"/>
              <a:ext cx="37001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Gerader Verbinder 408">
              <a:extLst>
                <a:ext uri="{FF2B5EF4-FFF2-40B4-BE49-F238E27FC236}">
                  <a16:creationId xmlns:a16="http://schemas.microsoft.com/office/drawing/2014/main" id="{1B185E5C-1B47-4AC7-8A36-EC2DBAB9C847}"/>
                </a:ext>
              </a:extLst>
            </p:cNvPr>
            <p:cNvCxnSpPr>
              <a:cxnSpLocks/>
              <a:stCxn id="336" idx="3"/>
              <a:endCxn id="351" idx="1"/>
            </p:cNvCxnSpPr>
            <p:nvPr/>
          </p:nvCxnSpPr>
          <p:spPr bwMode="gray">
            <a:xfrm>
              <a:off x="7849248" y="2551363"/>
              <a:ext cx="37001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0" name="Gerader Verbinder 409">
              <a:extLst>
                <a:ext uri="{FF2B5EF4-FFF2-40B4-BE49-F238E27FC236}">
                  <a16:creationId xmlns:a16="http://schemas.microsoft.com/office/drawing/2014/main" id="{DB7DB76F-826D-4E44-B4E2-BA83D3C624FA}"/>
                </a:ext>
              </a:extLst>
            </p:cNvPr>
            <p:cNvCxnSpPr>
              <a:cxnSpLocks/>
              <a:stCxn id="337" idx="3"/>
              <a:endCxn id="352" idx="1"/>
            </p:cNvCxnSpPr>
            <p:nvPr/>
          </p:nvCxnSpPr>
          <p:spPr bwMode="gray">
            <a:xfrm>
              <a:off x="7849248" y="2939431"/>
              <a:ext cx="37001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2" name="Gerader Verbinder 411">
              <a:extLst>
                <a:ext uri="{FF2B5EF4-FFF2-40B4-BE49-F238E27FC236}">
                  <a16:creationId xmlns:a16="http://schemas.microsoft.com/office/drawing/2014/main" id="{7770ABEC-7713-4C1C-B42C-7B3FB9850FB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849248" y="4491701"/>
              <a:ext cx="37001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Gerader Verbinder 412">
              <a:extLst>
                <a:ext uri="{FF2B5EF4-FFF2-40B4-BE49-F238E27FC236}">
                  <a16:creationId xmlns:a16="http://schemas.microsoft.com/office/drawing/2014/main" id="{9C537E8E-8CF5-485B-B5C1-BB44DD9F2DE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849248" y="4879770"/>
              <a:ext cx="37001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4" name="Gerader Verbinder 413">
              <a:extLst>
                <a:ext uri="{FF2B5EF4-FFF2-40B4-BE49-F238E27FC236}">
                  <a16:creationId xmlns:a16="http://schemas.microsoft.com/office/drawing/2014/main" id="{06D5EB05-C9DC-4584-AC14-45C0C994024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849248" y="5655263"/>
              <a:ext cx="37001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5" name="Gerader Verbinder 414">
              <a:extLst>
                <a:ext uri="{FF2B5EF4-FFF2-40B4-BE49-F238E27FC236}">
                  <a16:creationId xmlns:a16="http://schemas.microsoft.com/office/drawing/2014/main" id="{65786FB4-15C3-44B9-9594-0C6CEA5EE238}"/>
                </a:ext>
              </a:extLst>
            </p:cNvPr>
            <p:cNvCxnSpPr>
              <a:cxnSpLocks/>
              <a:stCxn id="350" idx="3"/>
              <a:endCxn id="363" idx="1"/>
            </p:cNvCxnSpPr>
            <p:nvPr/>
          </p:nvCxnSpPr>
          <p:spPr bwMode="gray">
            <a:xfrm>
              <a:off x="8522517" y="2163296"/>
              <a:ext cx="128050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7" name="Gerader Verbinder 416">
              <a:extLst>
                <a:ext uri="{FF2B5EF4-FFF2-40B4-BE49-F238E27FC236}">
                  <a16:creationId xmlns:a16="http://schemas.microsoft.com/office/drawing/2014/main" id="{F8F17664-8613-43E2-8DB6-B47F4E9E2C84}"/>
                </a:ext>
              </a:extLst>
            </p:cNvPr>
            <p:cNvCxnSpPr>
              <a:cxnSpLocks/>
              <a:stCxn id="363" idx="3"/>
              <a:endCxn id="376" idx="1"/>
            </p:cNvCxnSpPr>
            <p:nvPr/>
          </p:nvCxnSpPr>
          <p:spPr bwMode="gray">
            <a:xfrm>
              <a:off x="10106276" y="2163296"/>
              <a:ext cx="370015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0" name="Verbinder: gewinkelt 429">
              <a:extLst>
                <a:ext uri="{FF2B5EF4-FFF2-40B4-BE49-F238E27FC236}">
                  <a16:creationId xmlns:a16="http://schemas.microsoft.com/office/drawing/2014/main" id="{C1C57B31-7BFF-4826-A6BD-6804BABF6180}"/>
                </a:ext>
              </a:extLst>
            </p:cNvPr>
            <p:cNvCxnSpPr>
              <a:stCxn id="338" idx="3"/>
              <a:endCxn id="339" idx="3"/>
            </p:cNvCxnSpPr>
            <p:nvPr/>
          </p:nvCxnSpPr>
          <p:spPr bwMode="gray">
            <a:xfrm>
              <a:off x="7849248" y="3327499"/>
              <a:ext cx="12700" cy="388068"/>
            </a:xfrm>
            <a:prstGeom prst="bentConnector3">
              <a:avLst>
                <a:gd name="adj1" fmla="val 1800000"/>
              </a:avLst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2" name="Gerader Verbinder 431">
              <a:extLst>
                <a:ext uri="{FF2B5EF4-FFF2-40B4-BE49-F238E27FC236}">
                  <a16:creationId xmlns:a16="http://schemas.microsoft.com/office/drawing/2014/main" id="{BFAF9039-F737-4CB9-9352-A61C2A03CA45}"/>
                </a:ext>
              </a:extLst>
            </p:cNvPr>
            <p:cNvCxnSpPr>
              <a:cxnSpLocks/>
              <a:endCxn id="354" idx="1"/>
            </p:cNvCxnSpPr>
            <p:nvPr/>
          </p:nvCxnSpPr>
          <p:spPr bwMode="gray">
            <a:xfrm>
              <a:off x="8084198" y="3521533"/>
              <a:ext cx="13506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Gerader Verbinder 437">
              <a:extLst>
                <a:ext uri="{FF2B5EF4-FFF2-40B4-BE49-F238E27FC236}">
                  <a16:creationId xmlns:a16="http://schemas.microsoft.com/office/drawing/2014/main" id="{593D2603-12D1-4DB0-9B47-A5763BFC494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267950" y="2939430"/>
              <a:ext cx="208341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0" name="Gerader Verbinder 439">
              <a:extLst>
                <a:ext uri="{FF2B5EF4-FFF2-40B4-BE49-F238E27FC236}">
                  <a16:creationId xmlns:a16="http://schemas.microsoft.com/office/drawing/2014/main" id="{A0FF37C8-0CD9-4A35-A9FD-4650B343242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267950" y="3327499"/>
              <a:ext cx="208341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1" name="Gerader Verbinder 440">
              <a:extLst>
                <a:ext uri="{FF2B5EF4-FFF2-40B4-BE49-F238E27FC236}">
                  <a16:creationId xmlns:a16="http://schemas.microsoft.com/office/drawing/2014/main" id="{01A18A9D-F7D6-4D2E-AF04-D36483B2246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267950" y="3715568"/>
              <a:ext cx="208341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2" name="Gerader Verbinder 441">
              <a:extLst>
                <a:ext uri="{FF2B5EF4-FFF2-40B4-BE49-F238E27FC236}">
                  <a16:creationId xmlns:a16="http://schemas.microsoft.com/office/drawing/2014/main" id="{8A40BB25-1E64-4785-B6CD-31DE47624DE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522517" y="3521533"/>
              <a:ext cx="1745433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Gerader Verbinder 444">
              <a:extLst>
                <a:ext uri="{FF2B5EF4-FFF2-40B4-BE49-F238E27FC236}">
                  <a16:creationId xmlns:a16="http://schemas.microsoft.com/office/drawing/2014/main" id="{10FC1295-CB6E-4AAD-83AF-7513CFF2D36E}"/>
                </a:ext>
              </a:extLst>
            </p:cNvPr>
            <p:cNvCxnSpPr>
              <a:cxnSpLocks/>
              <a:stCxn id="357" idx="3"/>
              <a:endCxn id="370" idx="1"/>
            </p:cNvCxnSpPr>
            <p:nvPr/>
          </p:nvCxnSpPr>
          <p:spPr bwMode="gray">
            <a:xfrm>
              <a:off x="8522517" y="4879770"/>
              <a:ext cx="128050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Gerader Verbinder 447">
              <a:extLst>
                <a:ext uri="{FF2B5EF4-FFF2-40B4-BE49-F238E27FC236}">
                  <a16:creationId xmlns:a16="http://schemas.microsoft.com/office/drawing/2014/main" id="{4A900CD4-9716-4E2F-B95E-9BBF89958308}"/>
                </a:ext>
              </a:extLst>
            </p:cNvPr>
            <p:cNvCxnSpPr>
              <a:cxnSpLocks/>
              <a:stCxn id="370" idx="3"/>
              <a:endCxn id="383" idx="1"/>
            </p:cNvCxnSpPr>
            <p:nvPr/>
          </p:nvCxnSpPr>
          <p:spPr bwMode="gray">
            <a:xfrm>
              <a:off x="10106276" y="4879770"/>
              <a:ext cx="370015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5" name="Gerader Verbinder 454">
              <a:extLst>
                <a:ext uri="{FF2B5EF4-FFF2-40B4-BE49-F238E27FC236}">
                  <a16:creationId xmlns:a16="http://schemas.microsoft.com/office/drawing/2014/main" id="{093ABF40-C042-44BD-A338-76FBD9543705}"/>
                </a:ext>
              </a:extLst>
            </p:cNvPr>
            <p:cNvCxnSpPr>
              <a:cxnSpLocks/>
              <a:stCxn id="372" idx="3"/>
              <a:endCxn id="385" idx="1"/>
            </p:cNvCxnSpPr>
            <p:nvPr/>
          </p:nvCxnSpPr>
          <p:spPr bwMode="gray">
            <a:xfrm>
              <a:off x="10106276" y="5655906"/>
              <a:ext cx="370015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8" name="Gerader Verbinder 457">
              <a:extLst>
                <a:ext uri="{FF2B5EF4-FFF2-40B4-BE49-F238E27FC236}">
                  <a16:creationId xmlns:a16="http://schemas.microsoft.com/office/drawing/2014/main" id="{F9E5A3CF-6779-4025-A9D2-A670D985C18E}"/>
                </a:ext>
              </a:extLst>
            </p:cNvPr>
            <p:cNvCxnSpPr>
              <a:cxnSpLocks/>
              <a:stCxn id="359" idx="3"/>
              <a:endCxn id="372" idx="1"/>
            </p:cNvCxnSpPr>
            <p:nvPr/>
          </p:nvCxnSpPr>
          <p:spPr bwMode="gray">
            <a:xfrm>
              <a:off x="8522517" y="5655906"/>
              <a:ext cx="128050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64" name="TextBox 39">
              <a:extLst>
                <a:ext uri="{FF2B5EF4-FFF2-40B4-BE49-F238E27FC236}">
                  <a16:creationId xmlns:a16="http://schemas.microsoft.com/office/drawing/2014/main" id="{49D4F246-FACD-4302-8949-85BF45770A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84714" y="4365974"/>
              <a:ext cx="12034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Embedded Controller</a:t>
              </a:r>
            </a:p>
          </p:txBody>
        </p:sp>
        <p:grpSp>
          <p:nvGrpSpPr>
            <p:cNvPr id="505" name="Gruppieren 504">
              <a:extLst>
                <a:ext uri="{FF2B5EF4-FFF2-40B4-BE49-F238E27FC236}">
                  <a16:creationId xmlns:a16="http://schemas.microsoft.com/office/drawing/2014/main" id="{9A7AB41F-5B78-4204-A20A-EE5537799A2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5968059" y="5339491"/>
              <a:ext cx="552028" cy="522469"/>
              <a:chOff x="4262351" y="4720010"/>
              <a:chExt cx="552028" cy="522469"/>
            </a:xfrm>
          </p:grpSpPr>
          <p:pic>
            <p:nvPicPr>
              <p:cNvPr id="540" name="Picture 211">
                <a:extLst>
                  <a:ext uri="{FF2B5EF4-FFF2-40B4-BE49-F238E27FC236}">
                    <a16:creationId xmlns:a16="http://schemas.microsoft.com/office/drawing/2014/main" id="{ABA340FA-B9B2-43AF-AFE0-11FF1DB76C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4262351" y="4720010"/>
                <a:ext cx="408366" cy="522469"/>
              </a:xfrm>
              <a:prstGeom prst="rect">
                <a:avLst/>
              </a:prstGeom>
            </p:spPr>
          </p:pic>
          <p:grpSp>
            <p:nvGrpSpPr>
              <p:cNvPr id="541" name="SAGD, Siemens, healthineers, evolve">
                <a:extLst>
                  <a:ext uri="{FF2B5EF4-FFF2-40B4-BE49-F238E27FC236}">
                    <a16:creationId xmlns:a16="http://schemas.microsoft.com/office/drawing/2014/main" id="{BE06196F-C4AB-44A6-918F-59873E1D6FA9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4580736" y="4977944"/>
                <a:ext cx="233643" cy="234138"/>
                <a:chOff x="1188" y="1252"/>
                <a:chExt cx="2268" cy="2268"/>
              </a:xfrm>
            </p:grpSpPr>
            <p:sp>
              <p:nvSpPr>
                <p:cNvPr id="542" name="AutoShape 4">
                  <a:extLst>
                    <a:ext uri="{FF2B5EF4-FFF2-40B4-BE49-F238E27FC236}">
                      <a16:creationId xmlns:a16="http://schemas.microsoft.com/office/drawing/2014/main" id="{4B4ACD2E-C467-4B83-96FB-CE3651FA4EC6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1188" y="1252"/>
                  <a:ext cx="2268" cy="22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61" tIns="45731" rIns="91461" bIns="4573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543" name="Freeform 6">
                  <a:extLst>
                    <a:ext uri="{FF2B5EF4-FFF2-40B4-BE49-F238E27FC236}">
                      <a16:creationId xmlns:a16="http://schemas.microsoft.com/office/drawing/2014/main" id="{1CCDD013-F9E0-49A7-B510-F52B34292C7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88" y="1252"/>
                  <a:ext cx="2268" cy="2268"/>
                </a:xfrm>
                <a:custGeom>
                  <a:avLst/>
                  <a:gdLst/>
                  <a:ahLst/>
                  <a:cxnLst>
                    <a:cxn ang="0">
                      <a:pos x="11317" y="6179"/>
                    </a:cxn>
                    <a:cxn ang="0">
                      <a:pos x="11224" y="6813"/>
                    </a:cxn>
                    <a:cxn ang="0">
                      <a:pos x="11064" y="7423"/>
                    </a:cxn>
                    <a:cxn ang="0">
                      <a:pos x="10839" y="8004"/>
                    </a:cxn>
                    <a:cxn ang="0">
                      <a:pos x="10554" y="8552"/>
                    </a:cxn>
                    <a:cxn ang="0">
                      <a:pos x="10213" y="9063"/>
                    </a:cxn>
                    <a:cxn ang="0">
                      <a:pos x="9821" y="9533"/>
                    </a:cxn>
                    <a:cxn ang="0">
                      <a:pos x="9380" y="9958"/>
                    </a:cxn>
                    <a:cxn ang="0">
                      <a:pos x="8896" y="10333"/>
                    </a:cxn>
                    <a:cxn ang="0">
                      <a:pos x="8373" y="10656"/>
                    </a:cxn>
                    <a:cxn ang="0">
                      <a:pos x="7813" y="10921"/>
                    </a:cxn>
                    <a:cxn ang="0">
                      <a:pos x="7222" y="11125"/>
                    </a:cxn>
                    <a:cxn ang="0">
                      <a:pos x="6604" y="11264"/>
                    </a:cxn>
                    <a:cxn ang="0">
                      <a:pos x="5962" y="11333"/>
                    </a:cxn>
                    <a:cxn ang="0">
                      <a:pos x="5378" y="11333"/>
                    </a:cxn>
                    <a:cxn ang="0">
                      <a:pos x="4736" y="11264"/>
                    </a:cxn>
                    <a:cxn ang="0">
                      <a:pos x="4117" y="11125"/>
                    </a:cxn>
                    <a:cxn ang="0">
                      <a:pos x="3526" y="10921"/>
                    </a:cxn>
                    <a:cxn ang="0">
                      <a:pos x="2967" y="10656"/>
                    </a:cxn>
                    <a:cxn ang="0">
                      <a:pos x="2443" y="10333"/>
                    </a:cxn>
                    <a:cxn ang="0">
                      <a:pos x="1959" y="9958"/>
                    </a:cxn>
                    <a:cxn ang="0">
                      <a:pos x="1519" y="9533"/>
                    </a:cxn>
                    <a:cxn ang="0">
                      <a:pos x="1126" y="9063"/>
                    </a:cxn>
                    <a:cxn ang="0">
                      <a:pos x="785" y="8552"/>
                    </a:cxn>
                    <a:cxn ang="0">
                      <a:pos x="501" y="8004"/>
                    </a:cxn>
                    <a:cxn ang="0">
                      <a:pos x="276" y="7423"/>
                    </a:cxn>
                    <a:cxn ang="0">
                      <a:pos x="115" y="6813"/>
                    </a:cxn>
                    <a:cxn ang="0">
                      <a:pos x="22" y="6179"/>
                    </a:cxn>
                    <a:cxn ang="0">
                      <a:pos x="0" y="5596"/>
                    </a:cxn>
                    <a:cxn ang="0">
                      <a:pos x="45" y="4948"/>
                    </a:cxn>
                    <a:cxn ang="0">
                      <a:pos x="161" y="4321"/>
                    </a:cxn>
                    <a:cxn ang="0">
                      <a:pos x="344" y="3720"/>
                    </a:cxn>
                    <a:cxn ang="0">
                      <a:pos x="589" y="3150"/>
                    </a:cxn>
                    <a:cxn ang="0">
                      <a:pos x="893" y="2614"/>
                    </a:cxn>
                    <a:cxn ang="0">
                      <a:pos x="1251" y="2116"/>
                    </a:cxn>
                    <a:cxn ang="0">
                      <a:pos x="1660" y="1661"/>
                    </a:cxn>
                    <a:cxn ang="0">
                      <a:pos x="2116" y="1252"/>
                    </a:cxn>
                    <a:cxn ang="0">
                      <a:pos x="2613" y="893"/>
                    </a:cxn>
                    <a:cxn ang="0">
                      <a:pos x="3150" y="589"/>
                    </a:cxn>
                    <a:cxn ang="0">
                      <a:pos x="3720" y="344"/>
                    </a:cxn>
                    <a:cxn ang="0">
                      <a:pos x="4320" y="162"/>
                    </a:cxn>
                    <a:cxn ang="0">
                      <a:pos x="4947" y="46"/>
                    </a:cxn>
                    <a:cxn ang="0">
                      <a:pos x="5596" y="1"/>
                    </a:cxn>
                    <a:cxn ang="0">
                      <a:pos x="6178" y="23"/>
                    </a:cxn>
                    <a:cxn ang="0">
                      <a:pos x="6813" y="115"/>
                    </a:cxn>
                    <a:cxn ang="0">
                      <a:pos x="7423" y="276"/>
                    </a:cxn>
                    <a:cxn ang="0">
                      <a:pos x="8003" y="501"/>
                    </a:cxn>
                    <a:cxn ang="0">
                      <a:pos x="8551" y="786"/>
                    </a:cxn>
                    <a:cxn ang="0">
                      <a:pos x="9062" y="1126"/>
                    </a:cxn>
                    <a:cxn ang="0">
                      <a:pos x="9532" y="1519"/>
                    </a:cxn>
                    <a:cxn ang="0">
                      <a:pos x="9957" y="1959"/>
                    </a:cxn>
                    <a:cxn ang="0">
                      <a:pos x="10333" y="2443"/>
                    </a:cxn>
                    <a:cxn ang="0">
                      <a:pos x="10655" y="2967"/>
                    </a:cxn>
                    <a:cxn ang="0">
                      <a:pos x="10921" y="3527"/>
                    </a:cxn>
                    <a:cxn ang="0">
                      <a:pos x="11124" y="4118"/>
                    </a:cxn>
                    <a:cxn ang="0">
                      <a:pos x="11263" y="4736"/>
                    </a:cxn>
                    <a:cxn ang="0">
                      <a:pos x="11332" y="5378"/>
                    </a:cxn>
                  </a:cxnLst>
                  <a:rect l="0" t="0" r="r" b="b"/>
                  <a:pathLst>
                    <a:path w="11340" h="11340">
                      <a:moveTo>
                        <a:pt x="11340" y="5671"/>
                      </a:moveTo>
                      <a:lnTo>
                        <a:pt x="11340" y="5671"/>
                      </a:lnTo>
                      <a:lnTo>
                        <a:pt x="11339" y="5744"/>
                      </a:lnTo>
                      <a:lnTo>
                        <a:pt x="11338" y="5817"/>
                      </a:lnTo>
                      <a:lnTo>
                        <a:pt x="11335" y="5890"/>
                      </a:lnTo>
                      <a:lnTo>
                        <a:pt x="11332" y="5962"/>
                      </a:lnTo>
                      <a:lnTo>
                        <a:pt x="11328" y="6035"/>
                      </a:lnTo>
                      <a:lnTo>
                        <a:pt x="11323" y="6107"/>
                      </a:lnTo>
                      <a:lnTo>
                        <a:pt x="11317" y="6179"/>
                      </a:lnTo>
                      <a:lnTo>
                        <a:pt x="11310" y="6250"/>
                      </a:lnTo>
                      <a:lnTo>
                        <a:pt x="11303" y="6322"/>
                      </a:lnTo>
                      <a:lnTo>
                        <a:pt x="11294" y="6393"/>
                      </a:lnTo>
                      <a:lnTo>
                        <a:pt x="11285" y="6464"/>
                      </a:lnTo>
                      <a:lnTo>
                        <a:pt x="11274" y="6534"/>
                      </a:lnTo>
                      <a:lnTo>
                        <a:pt x="11263" y="6604"/>
                      </a:lnTo>
                      <a:lnTo>
                        <a:pt x="11251" y="6674"/>
                      </a:lnTo>
                      <a:lnTo>
                        <a:pt x="11238" y="6744"/>
                      </a:lnTo>
                      <a:lnTo>
                        <a:pt x="11224" y="6813"/>
                      </a:lnTo>
                      <a:lnTo>
                        <a:pt x="11210" y="6882"/>
                      </a:lnTo>
                      <a:lnTo>
                        <a:pt x="11194" y="6951"/>
                      </a:lnTo>
                      <a:lnTo>
                        <a:pt x="11178" y="7019"/>
                      </a:lnTo>
                      <a:lnTo>
                        <a:pt x="11161" y="7088"/>
                      </a:lnTo>
                      <a:lnTo>
                        <a:pt x="11143" y="7155"/>
                      </a:lnTo>
                      <a:lnTo>
                        <a:pt x="11124" y="7223"/>
                      </a:lnTo>
                      <a:lnTo>
                        <a:pt x="11105" y="7290"/>
                      </a:lnTo>
                      <a:lnTo>
                        <a:pt x="11085" y="7357"/>
                      </a:lnTo>
                      <a:lnTo>
                        <a:pt x="11064" y="7423"/>
                      </a:lnTo>
                      <a:lnTo>
                        <a:pt x="11042" y="7489"/>
                      </a:lnTo>
                      <a:lnTo>
                        <a:pt x="11019" y="7555"/>
                      </a:lnTo>
                      <a:lnTo>
                        <a:pt x="10996" y="7620"/>
                      </a:lnTo>
                      <a:lnTo>
                        <a:pt x="10971" y="7685"/>
                      </a:lnTo>
                      <a:lnTo>
                        <a:pt x="10946" y="7749"/>
                      </a:lnTo>
                      <a:lnTo>
                        <a:pt x="10921" y="7814"/>
                      </a:lnTo>
                      <a:lnTo>
                        <a:pt x="10894" y="7877"/>
                      </a:lnTo>
                      <a:lnTo>
                        <a:pt x="10867" y="7941"/>
                      </a:lnTo>
                      <a:lnTo>
                        <a:pt x="10839" y="8004"/>
                      </a:lnTo>
                      <a:lnTo>
                        <a:pt x="10810" y="8066"/>
                      </a:lnTo>
                      <a:lnTo>
                        <a:pt x="10780" y="8129"/>
                      </a:lnTo>
                      <a:lnTo>
                        <a:pt x="10750" y="8190"/>
                      </a:lnTo>
                      <a:lnTo>
                        <a:pt x="10719" y="8252"/>
                      </a:lnTo>
                      <a:lnTo>
                        <a:pt x="10688" y="8313"/>
                      </a:lnTo>
                      <a:lnTo>
                        <a:pt x="10655" y="8373"/>
                      </a:lnTo>
                      <a:lnTo>
                        <a:pt x="10622" y="8433"/>
                      </a:lnTo>
                      <a:lnTo>
                        <a:pt x="10588" y="8493"/>
                      </a:lnTo>
                      <a:lnTo>
                        <a:pt x="10554" y="8552"/>
                      </a:lnTo>
                      <a:lnTo>
                        <a:pt x="10519" y="8610"/>
                      </a:lnTo>
                      <a:lnTo>
                        <a:pt x="10483" y="8669"/>
                      </a:lnTo>
                      <a:lnTo>
                        <a:pt x="10446" y="8726"/>
                      </a:lnTo>
                      <a:lnTo>
                        <a:pt x="10409" y="8784"/>
                      </a:lnTo>
                      <a:lnTo>
                        <a:pt x="10371" y="8840"/>
                      </a:lnTo>
                      <a:lnTo>
                        <a:pt x="10333" y="8897"/>
                      </a:lnTo>
                      <a:lnTo>
                        <a:pt x="10294" y="8953"/>
                      </a:lnTo>
                      <a:lnTo>
                        <a:pt x="10254" y="9008"/>
                      </a:lnTo>
                      <a:lnTo>
                        <a:pt x="10213" y="9063"/>
                      </a:lnTo>
                      <a:lnTo>
                        <a:pt x="10172" y="9117"/>
                      </a:lnTo>
                      <a:lnTo>
                        <a:pt x="10130" y="9171"/>
                      </a:lnTo>
                      <a:lnTo>
                        <a:pt x="10088" y="9224"/>
                      </a:lnTo>
                      <a:lnTo>
                        <a:pt x="10045" y="9277"/>
                      </a:lnTo>
                      <a:lnTo>
                        <a:pt x="10001" y="9329"/>
                      </a:lnTo>
                      <a:lnTo>
                        <a:pt x="9957" y="9381"/>
                      </a:lnTo>
                      <a:lnTo>
                        <a:pt x="9912" y="9432"/>
                      </a:lnTo>
                      <a:lnTo>
                        <a:pt x="9867" y="9483"/>
                      </a:lnTo>
                      <a:lnTo>
                        <a:pt x="9821" y="9533"/>
                      </a:lnTo>
                      <a:lnTo>
                        <a:pt x="9774" y="9582"/>
                      </a:lnTo>
                      <a:lnTo>
                        <a:pt x="9727" y="9631"/>
                      </a:lnTo>
                      <a:lnTo>
                        <a:pt x="9679" y="9680"/>
                      </a:lnTo>
                      <a:lnTo>
                        <a:pt x="9631" y="9727"/>
                      </a:lnTo>
                      <a:lnTo>
                        <a:pt x="9582" y="9775"/>
                      </a:lnTo>
                      <a:lnTo>
                        <a:pt x="9532" y="9821"/>
                      </a:lnTo>
                      <a:lnTo>
                        <a:pt x="9482" y="9867"/>
                      </a:lnTo>
                      <a:lnTo>
                        <a:pt x="9432" y="9913"/>
                      </a:lnTo>
                      <a:lnTo>
                        <a:pt x="9380" y="9958"/>
                      </a:lnTo>
                      <a:lnTo>
                        <a:pt x="9329" y="10002"/>
                      </a:lnTo>
                      <a:lnTo>
                        <a:pt x="9277" y="10046"/>
                      </a:lnTo>
                      <a:lnTo>
                        <a:pt x="9224" y="10089"/>
                      </a:lnTo>
                      <a:lnTo>
                        <a:pt x="9170" y="10131"/>
                      </a:lnTo>
                      <a:lnTo>
                        <a:pt x="9117" y="10173"/>
                      </a:lnTo>
                      <a:lnTo>
                        <a:pt x="9062" y="10214"/>
                      </a:lnTo>
                      <a:lnTo>
                        <a:pt x="9008" y="10254"/>
                      </a:lnTo>
                      <a:lnTo>
                        <a:pt x="8952" y="10294"/>
                      </a:lnTo>
                      <a:lnTo>
                        <a:pt x="8896" y="10333"/>
                      </a:lnTo>
                      <a:lnTo>
                        <a:pt x="8840" y="10372"/>
                      </a:lnTo>
                      <a:lnTo>
                        <a:pt x="8783" y="10410"/>
                      </a:lnTo>
                      <a:lnTo>
                        <a:pt x="8726" y="10447"/>
                      </a:lnTo>
                      <a:lnTo>
                        <a:pt x="8668" y="10484"/>
                      </a:lnTo>
                      <a:lnTo>
                        <a:pt x="8610" y="10519"/>
                      </a:lnTo>
                      <a:lnTo>
                        <a:pt x="8551" y="10555"/>
                      </a:lnTo>
                      <a:lnTo>
                        <a:pt x="8492" y="10589"/>
                      </a:lnTo>
                      <a:lnTo>
                        <a:pt x="8433" y="10623"/>
                      </a:lnTo>
                      <a:lnTo>
                        <a:pt x="8373" y="10656"/>
                      </a:lnTo>
                      <a:lnTo>
                        <a:pt x="8312" y="10688"/>
                      </a:lnTo>
                      <a:lnTo>
                        <a:pt x="8251" y="10720"/>
                      </a:lnTo>
                      <a:lnTo>
                        <a:pt x="8190" y="10751"/>
                      </a:lnTo>
                      <a:lnTo>
                        <a:pt x="8128" y="10781"/>
                      </a:lnTo>
                      <a:lnTo>
                        <a:pt x="8066" y="10811"/>
                      </a:lnTo>
                      <a:lnTo>
                        <a:pt x="8003" y="10839"/>
                      </a:lnTo>
                      <a:lnTo>
                        <a:pt x="7940" y="10867"/>
                      </a:lnTo>
                      <a:lnTo>
                        <a:pt x="7877" y="10895"/>
                      </a:lnTo>
                      <a:lnTo>
                        <a:pt x="7813" y="10921"/>
                      </a:lnTo>
                      <a:lnTo>
                        <a:pt x="7749" y="10947"/>
                      </a:lnTo>
                      <a:lnTo>
                        <a:pt x="7685" y="10972"/>
                      </a:lnTo>
                      <a:lnTo>
                        <a:pt x="7620" y="10996"/>
                      </a:lnTo>
                      <a:lnTo>
                        <a:pt x="7554" y="11020"/>
                      </a:lnTo>
                      <a:lnTo>
                        <a:pt x="7489" y="11042"/>
                      </a:lnTo>
                      <a:lnTo>
                        <a:pt x="7423" y="11064"/>
                      </a:lnTo>
                      <a:lnTo>
                        <a:pt x="7356" y="11085"/>
                      </a:lnTo>
                      <a:lnTo>
                        <a:pt x="7289" y="11106"/>
                      </a:lnTo>
                      <a:lnTo>
                        <a:pt x="7222" y="11125"/>
                      </a:lnTo>
                      <a:lnTo>
                        <a:pt x="7155" y="11144"/>
                      </a:lnTo>
                      <a:lnTo>
                        <a:pt x="7087" y="11162"/>
                      </a:lnTo>
                      <a:lnTo>
                        <a:pt x="7019" y="11179"/>
                      </a:lnTo>
                      <a:lnTo>
                        <a:pt x="6951" y="11195"/>
                      </a:lnTo>
                      <a:lnTo>
                        <a:pt x="6882" y="11210"/>
                      </a:lnTo>
                      <a:lnTo>
                        <a:pt x="6813" y="11225"/>
                      </a:lnTo>
                      <a:lnTo>
                        <a:pt x="6744" y="11239"/>
                      </a:lnTo>
                      <a:lnTo>
                        <a:pt x="6674" y="11252"/>
                      </a:lnTo>
                      <a:lnTo>
                        <a:pt x="6604" y="11264"/>
                      </a:lnTo>
                      <a:lnTo>
                        <a:pt x="6534" y="11275"/>
                      </a:lnTo>
                      <a:lnTo>
                        <a:pt x="6463" y="11285"/>
                      </a:lnTo>
                      <a:lnTo>
                        <a:pt x="6392" y="11295"/>
                      </a:lnTo>
                      <a:lnTo>
                        <a:pt x="6321" y="11303"/>
                      </a:lnTo>
                      <a:lnTo>
                        <a:pt x="6250" y="11311"/>
                      </a:lnTo>
                      <a:lnTo>
                        <a:pt x="6178" y="11318"/>
                      </a:lnTo>
                      <a:lnTo>
                        <a:pt x="6107" y="11324"/>
                      </a:lnTo>
                      <a:lnTo>
                        <a:pt x="6034" y="11329"/>
                      </a:lnTo>
                      <a:lnTo>
                        <a:pt x="5962" y="11333"/>
                      </a:lnTo>
                      <a:lnTo>
                        <a:pt x="5890" y="11336"/>
                      </a:lnTo>
                      <a:lnTo>
                        <a:pt x="5817" y="11338"/>
                      </a:lnTo>
                      <a:lnTo>
                        <a:pt x="5744" y="11340"/>
                      </a:lnTo>
                      <a:lnTo>
                        <a:pt x="5669" y="11340"/>
                      </a:lnTo>
                      <a:lnTo>
                        <a:pt x="5669" y="11340"/>
                      </a:lnTo>
                      <a:lnTo>
                        <a:pt x="5596" y="11340"/>
                      </a:lnTo>
                      <a:lnTo>
                        <a:pt x="5523" y="11338"/>
                      </a:lnTo>
                      <a:lnTo>
                        <a:pt x="5450" y="11336"/>
                      </a:lnTo>
                      <a:lnTo>
                        <a:pt x="5378" y="11333"/>
                      </a:lnTo>
                      <a:lnTo>
                        <a:pt x="5305" y="11329"/>
                      </a:lnTo>
                      <a:lnTo>
                        <a:pt x="5233" y="11324"/>
                      </a:lnTo>
                      <a:lnTo>
                        <a:pt x="5161" y="11318"/>
                      </a:lnTo>
                      <a:lnTo>
                        <a:pt x="5090" y="11311"/>
                      </a:lnTo>
                      <a:lnTo>
                        <a:pt x="5018" y="11303"/>
                      </a:lnTo>
                      <a:lnTo>
                        <a:pt x="4947" y="11295"/>
                      </a:lnTo>
                      <a:lnTo>
                        <a:pt x="4876" y="11285"/>
                      </a:lnTo>
                      <a:lnTo>
                        <a:pt x="4806" y="11275"/>
                      </a:lnTo>
                      <a:lnTo>
                        <a:pt x="4736" y="11264"/>
                      </a:lnTo>
                      <a:lnTo>
                        <a:pt x="4666" y="11252"/>
                      </a:lnTo>
                      <a:lnTo>
                        <a:pt x="4596" y="11239"/>
                      </a:lnTo>
                      <a:lnTo>
                        <a:pt x="4527" y="11225"/>
                      </a:lnTo>
                      <a:lnTo>
                        <a:pt x="4458" y="11210"/>
                      </a:lnTo>
                      <a:lnTo>
                        <a:pt x="4389" y="11195"/>
                      </a:lnTo>
                      <a:lnTo>
                        <a:pt x="4320" y="11179"/>
                      </a:lnTo>
                      <a:lnTo>
                        <a:pt x="4252" y="11162"/>
                      </a:lnTo>
                      <a:lnTo>
                        <a:pt x="4185" y="11144"/>
                      </a:lnTo>
                      <a:lnTo>
                        <a:pt x="4117" y="11125"/>
                      </a:lnTo>
                      <a:lnTo>
                        <a:pt x="4050" y="11106"/>
                      </a:lnTo>
                      <a:lnTo>
                        <a:pt x="3983" y="11085"/>
                      </a:lnTo>
                      <a:lnTo>
                        <a:pt x="3917" y="11064"/>
                      </a:lnTo>
                      <a:lnTo>
                        <a:pt x="3851" y="11042"/>
                      </a:lnTo>
                      <a:lnTo>
                        <a:pt x="3785" y="11020"/>
                      </a:lnTo>
                      <a:lnTo>
                        <a:pt x="3720" y="10996"/>
                      </a:lnTo>
                      <a:lnTo>
                        <a:pt x="3655" y="10972"/>
                      </a:lnTo>
                      <a:lnTo>
                        <a:pt x="3590" y="10947"/>
                      </a:lnTo>
                      <a:lnTo>
                        <a:pt x="3526" y="10921"/>
                      </a:lnTo>
                      <a:lnTo>
                        <a:pt x="3462" y="10895"/>
                      </a:lnTo>
                      <a:lnTo>
                        <a:pt x="3399" y="10867"/>
                      </a:lnTo>
                      <a:lnTo>
                        <a:pt x="3336" y="10839"/>
                      </a:lnTo>
                      <a:lnTo>
                        <a:pt x="3273" y="10811"/>
                      </a:lnTo>
                      <a:lnTo>
                        <a:pt x="3211" y="10781"/>
                      </a:lnTo>
                      <a:lnTo>
                        <a:pt x="3150" y="10751"/>
                      </a:lnTo>
                      <a:lnTo>
                        <a:pt x="3088" y="10720"/>
                      </a:lnTo>
                      <a:lnTo>
                        <a:pt x="3027" y="10688"/>
                      </a:lnTo>
                      <a:lnTo>
                        <a:pt x="2967" y="10656"/>
                      </a:lnTo>
                      <a:lnTo>
                        <a:pt x="2907" y="10623"/>
                      </a:lnTo>
                      <a:lnTo>
                        <a:pt x="2847" y="10589"/>
                      </a:lnTo>
                      <a:lnTo>
                        <a:pt x="2788" y="10555"/>
                      </a:lnTo>
                      <a:lnTo>
                        <a:pt x="2729" y="10519"/>
                      </a:lnTo>
                      <a:lnTo>
                        <a:pt x="2671" y="10484"/>
                      </a:lnTo>
                      <a:lnTo>
                        <a:pt x="2613" y="10447"/>
                      </a:lnTo>
                      <a:lnTo>
                        <a:pt x="2556" y="10410"/>
                      </a:lnTo>
                      <a:lnTo>
                        <a:pt x="2499" y="10372"/>
                      </a:lnTo>
                      <a:lnTo>
                        <a:pt x="2443" y="10333"/>
                      </a:lnTo>
                      <a:lnTo>
                        <a:pt x="2387" y="10294"/>
                      </a:lnTo>
                      <a:lnTo>
                        <a:pt x="2332" y="10254"/>
                      </a:lnTo>
                      <a:lnTo>
                        <a:pt x="2277" y="10214"/>
                      </a:lnTo>
                      <a:lnTo>
                        <a:pt x="2223" y="10173"/>
                      </a:lnTo>
                      <a:lnTo>
                        <a:pt x="2169" y="10131"/>
                      </a:lnTo>
                      <a:lnTo>
                        <a:pt x="2116" y="10089"/>
                      </a:lnTo>
                      <a:lnTo>
                        <a:pt x="2063" y="10046"/>
                      </a:lnTo>
                      <a:lnTo>
                        <a:pt x="2011" y="10002"/>
                      </a:lnTo>
                      <a:lnTo>
                        <a:pt x="1959" y="9958"/>
                      </a:lnTo>
                      <a:lnTo>
                        <a:pt x="1908" y="9913"/>
                      </a:lnTo>
                      <a:lnTo>
                        <a:pt x="1857" y="9867"/>
                      </a:lnTo>
                      <a:lnTo>
                        <a:pt x="1807" y="9821"/>
                      </a:lnTo>
                      <a:lnTo>
                        <a:pt x="1758" y="9775"/>
                      </a:lnTo>
                      <a:lnTo>
                        <a:pt x="1709" y="9727"/>
                      </a:lnTo>
                      <a:lnTo>
                        <a:pt x="1660" y="9680"/>
                      </a:lnTo>
                      <a:lnTo>
                        <a:pt x="1613" y="9631"/>
                      </a:lnTo>
                      <a:lnTo>
                        <a:pt x="1565" y="9582"/>
                      </a:lnTo>
                      <a:lnTo>
                        <a:pt x="1519" y="9533"/>
                      </a:lnTo>
                      <a:lnTo>
                        <a:pt x="1473" y="9483"/>
                      </a:lnTo>
                      <a:lnTo>
                        <a:pt x="1427" y="9432"/>
                      </a:lnTo>
                      <a:lnTo>
                        <a:pt x="1382" y="9381"/>
                      </a:lnTo>
                      <a:lnTo>
                        <a:pt x="1338" y="9329"/>
                      </a:lnTo>
                      <a:lnTo>
                        <a:pt x="1294" y="9277"/>
                      </a:lnTo>
                      <a:lnTo>
                        <a:pt x="1251" y="9224"/>
                      </a:lnTo>
                      <a:lnTo>
                        <a:pt x="1209" y="9171"/>
                      </a:lnTo>
                      <a:lnTo>
                        <a:pt x="1167" y="9117"/>
                      </a:lnTo>
                      <a:lnTo>
                        <a:pt x="1126" y="9063"/>
                      </a:lnTo>
                      <a:lnTo>
                        <a:pt x="1086" y="9008"/>
                      </a:lnTo>
                      <a:lnTo>
                        <a:pt x="1046" y="8953"/>
                      </a:lnTo>
                      <a:lnTo>
                        <a:pt x="1007" y="8897"/>
                      </a:lnTo>
                      <a:lnTo>
                        <a:pt x="968" y="8840"/>
                      </a:lnTo>
                      <a:lnTo>
                        <a:pt x="930" y="8784"/>
                      </a:lnTo>
                      <a:lnTo>
                        <a:pt x="893" y="8726"/>
                      </a:lnTo>
                      <a:lnTo>
                        <a:pt x="856" y="8669"/>
                      </a:lnTo>
                      <a:lnTo>
                        <a:pt x="821" y="8610"/>
                      </a:lnTo>
                      <a:lnTo>
                        <a:pt x="785" y="8552"/>
                      </a:lnTo>
                      <a:lnTo>
                        <a:pt x="751" y="8493"/>
                      </a:lnTo>
                      <a:lnTo>
                        <a:pt x="717" y="8433"/>
                      </a:lnTo>
                      <a:lnTo>
                        <a:pt x="684" y="8373"/>
                      </a:lnTo>
                      <a:lnTo>
                        <a:pt x="652" y="8313"/>
                      </a:lnTo>
                      <a:lnTo>
                        <a:pt x="620" y="8252"/>
                      </a:lnTo>
                      <a:lnTo>
                        <a:pt x="589" y="8190"/>
                      </a:lnTo>
                      <a:lnTo>
                        <a:pt x="559" y="8129"/>
                      </a:lnTo>
                      <a:lnTo>
                        <a:pt x="529" y="8066"/>
                      </a:lnTo>
                      <a:lnTo>
                        <a:pt x="501" y="8004"/>
                      </a:lnTo>
                      <a:lnTo>
                        <a:pt x="473" y="7941"/>
                      </a:lnTo>
                      <a:lnTo>
                        <a:pt x="445" y="7877"/>
                      </a:lnTo>
                      <a:lnTo>
                        <a:pt x="419" y="7814"/>
                      </a:lnTo>
                      <a:lnTo>
                        <a:pt x="393" y="7749"/>
                      </a:lnTo>
                      <a:lnTo>
                        <a:pt x="368" y="7685"/>
                      </a:lnTo>
                      <a:lnTo>
                        <a:pt x="344" y="7620"/>
                      </a:lnTo>
                      <a:lnTo>
                        <a:pt x="320" y="7555"/>
                      </a:lnTo>
                      <a:lnTo>
                        <a:pt x="298" y="7489"/>
                      </a:lnTo>
                      <a:lnTo>
                        <a:pt x="276" y="7423"/>
                      </a:lnTo>
                      <a:lnTo>
                        <a:pt x="255" y="7357"/>
                      </a:lnTo>
                      <a:lnTo>
                        <a:pt x="234" y="7290"/>
                      </a:lnTo>
                      <a:lnTo>
                        <a:pt x="215" y="7223"/>
                      </a:lnTo>
                      <a:lnTo>
                        <a:pt x="196" y="7155"/>
                      </a:lnTo>
                      <a:lnTo>
                        <a:pt x="178" y="7088"/>
                      </a:lnTo>
                      <a:lnTo>
                        <a:pt x="161" y="7019"/>
                      </a:lnTo>
                      <a:lnTo>
                        <a:pt x="145" y="6951"/>
                      </a:lnTo>
                      <a:lnTo>
                        <a:pt x="130" y="6882"/>
                      </a:lnTo>
                      <a:lnTo>
                        <a:pt x="115" y="6813"/>
                      </a:lnTo>
                      <a:lnTo>
                        <a:pt x="101" y="6744"/>
                      </a:lnTo>
                      <a:lnTo>
                        <a:pt x="88" y="6674"/>
                      </a:lnTo>
                      <a:lnTo>
                        <a:pt x="76" y="6604"/>
                      </a:lnTo>
                      <a:lnTo>
                        <a:pt x="65" y="6534"/>
                      </a:lnTo>
                      <a:lnTo>
                        <a:pt x="55" y="6464"/>
                      </a:lnTo>
                      <a:lnTo>
                        <a:pt x="45" y="6393"/>
                      </a:lnTo>
                      <a:lnTo>
                        <a:pt x="37" y="6322"/>
                      </a:lnTo>
                      <a:lnTo>
                        <a:pt x="29" y="6250"/>
                      </a:lnTo>
                      <a:lnTo>
                        <a:pt x="22" y="6179"/>
                      </a:lnTo>
                      <a:lnTo>
                        <a:pt x="16" y="6107"/>
                      </a:lnTo>
                      <a:lnTo>
                        <a:pt x="11" y="6035"/>
                      </a:lnTo>
                      <a:lnTo>
                        <a:pt x="7" y="5962"/>
                      </a:lnTo>
                      <a:lnTo>
                        <a:pt x="4" y="5890"/>
                      </a:lnTo>
                      <a:lnTo>
                        <a:pt x="2" y="5817"/>
                      </a:lnTo>
                      <a:lnTo>
                        <a:pt x="0" y="5744"/>
                      </a:lnTo>
                      <a:lnTo>
                        <a:pt x="0" y="5671"/>
                      </a:lnTo>
                      <a:lnTo>
                        <a:pt x="0" y="5671"/>
                      </a:lnTo>
                      <a:lnTo>
                        <a:pt x="0" y="5596"/>
                      </a:lnTo>
                      <a:lnTo>
                        <a:pt x="2" y="5523"/>
                      </a:lnTo>
                      <a:lnTo>
                        <a:pt x="4" y="5451"/>
                      </a:lnTo>
                      <a:lnTo>
                        <a:pt x="7" y="5378"/>
                      </a:lnTo>
                      <a:lnTo>
                        <a:pt x="11" y="5306"/>
                      </a:lnTo>
                      <a:lnTo>
                        <a:pt x="16" y="5233"/>
                      </a:lnTo>
                      <a:lnTo>
                        <a:pt x="22" y="5162"/>
                      </a:lnTo>
                      <a:lnTo>
                        <a:pt x="29" y="5090"/>
                      </a:lnTo>
                      <a:lnTo>
                        <a:pt x="37" y="5019"/>
                      </a:lnTo>
                      <a:lnTo>
                        <a:pt x="45" y="4948"/>
                      </a:lnTo>
                      <a:lnTo>
                        <a:pt x="55" y="4877"/>
                      </a:lnTo>
                      <a:lnTo>
                        <a:pt x="65" y="4806"/>
                      </a:lnTo>
                      <a:lnTo>
                        <a:pt x="76" y="4736"/>
                      </a:lnTo>
                      <a:lnTo>
                        <a:pt x="88" y="4666"/>
                      </a:lnTo>
                      <a:lnTo>
                        <a:pt x="101" y="4596"/>
                      </a:lnTo>
                      <a:lnTo>
                        <a:pt x="115" y="4527"/>
                      </a:lnTo>
                      <a:lnTo>
                        <a:pt x="130" y="4458"/>
                      </a:lnTo>
                      <a:lnTo>
                        <a:pt x="145" y="4389"/>
                      </a:lnTo>
                      <a:lnTo>
                        <a:pt x="161" y="4321"/>
                      </a:lnTo>
                      <a:lnTo>
                        <a:pt x="178" y="4253"/>
                      </a:lnTo>
                      <a:lnTo>
                        <a:pt x="196" y="4185"/>
                      </a:lnTo>
                      <a:lnTo>
                        <a:pt x="215" y="4118"/>
                      </a:lnTo>
                      <a:lnTo>
                        <a:pt x="234" y="4050"/>
                      </a:lnTo>
                      <a:lnTo>
                        <a:pt x="255" y="3984"/>
                      </a:lnTo>
                      <a:lnTo>
                        <a:pt x="276" y="3917"/>
                      </a:lnTo>
                      <a:lnTo>
                        <a:pt x="298" y="3851"/>
                      </a:lnTo>
                      <a:lnTo>
                        <a:pt x="320" y="3786"/>
                      </a:lnTo>
                      <a:lnTo>
                        <a:pt x="344" y="3720"/>
                      </a:lnTo>
                      <a:lnTo>
                        <a:pt x="368" y="3655"/>
                      </a:lnTo>
                      <a:lnTo>
                        <a:pt x="393" y="3591"/>
                      </a:lnTo>
                      <a:lnTo>
                        <a:pt x="419" y="3527"/>
                      </a:lnTo>
                      <a:lnTo>
                        <a:pt x="445" y="3463"/>
                      </a:lnTo>
                      <a:lnTo>
                        <a:pt x="473" y="3399"/>
                      </a:lnTo>
                      <a:lnTo>
                        <a:pt x="501" y="3336"/>
                      </a:lnTo>
                      <a:lnTo>
                        <a:pt x="529" y="3274"/>
                      </a:lnTo>
                      <a:lnTo>
                        <a:pt x="559" y="3212"/>
                      </a:lnTo>
                      <a:lnTo>
                        <a:pt x="589" y="3150"/>
                      </a:lnTo>
                      <a:lnTo>
                        <a:pt x="620" y="3089"/>
                      </a:lnTo>
                      <a:lnTo>
                        <a:pt x="652" y="3028"/>
                      </a:lnTo>
                      <a:lnTo>
                        <a:pt x="684" y="2967"/>
                      </a:lnTo>
                      <a:lnTo>
                        <a:pt x="717" y="2907"/>
                      </a:lnTo>
                      <a:lnTo>
                        <a:pt x="751" y="2848"/>
                      </a:lnTo>
                      <a:lnTo>
                        <a:pt x="785" y="2788"/>
                      </a:lnTo>
                      <a:lnTo>
                        <a:pt x="821" y="2730"/>
                      </a:lnTo>
                      <a:lnTo>
                        <a:pt x="856" y="2672"/>
                      </a:lnTo>
                      <a:lnTo>
                        <a:pt x="893" y="2614"/>
                      </a:lnTo>
                      <a:lnTo>
                        <a:pt x="930" y="2557"/>
                      </a:lnTo>
                      <a:lnTo>
                        <a:pt x="968" y="2500"/>
                      </a:lnTo>
                      <a:lnTo>
                        <a:pt x="1007" y="2443"/>
                      </a:lnTo>
                      <a:lnTo>
                        <a:pt x="1046" y="2388"/>
                      </a:lnTo>
                      <a:lnTo>
                        <a:pt x="1086" y="2332"/>
                      </a:lnTo>
                      <a:lnTo>
                        <a:pt x="1126" y="2277"/>
                      </a:lnTo>
                      <a:lnTo>
                        <a:pt x="1167" y="2223"/>
                      </a:lnTo>
                      <a:lnTo>
                        <a:pt x="1209" y="2169"/>
                      </a:lnTo>
                      <a:lnTo>
                        <a:pt x="1251" y="2116"/>
                      </a:lnTo>
                      <a:lnTo>
                        <a:pt x="1294" y="2063"/>
                      </a:lnTo>
                      <a:lnTo>
                        <a:pt x="1338" y="2011"/>
                      </a:lnTo>
                      <a:lnTo>
                        <a:pt x="1382" y="1959"/>
                      </a:lnTo>
                      <a:lnTo>
                        <a:pt x="1427" y="1908"/>
                      </a:lnTo>
                      <a:lnTo>
                        <a:pt x="1473" y="1858"/>
                      </a:lnTo>
                      <a:lnTo>
                        <a:pt x="1519" y="1807"/>
                      </a:lnTo>
                      <a:lnTo>
                        <a:pt x="1565" y="1758"/>
                      </a:lnTo>
                      <a:lnTo>
                        <a:pt x="1613" y="1709"/>
                      </a:lnTo>
                      <a:lnTo>
                        <a:pt x="1660" y="1661"/>
                      </a:lnTo>
                      <a:lnTo>
                        <a:pt x="1709" y="1613"/>
                      </a:lnTo>
                      <a:lnTo>
                        <a:pt x="1758" y="1566"/>
                      </a:lnTo>
                      <a:lnTo>
                        <a:pt x="1807" y="1519"/>
                      </a:lnTo>
                      <a:lnTo>
                        <a:pt x="1857" y="1473"/>
                      </a:lnTo>
                      <a:lnTo>
                        <a:pt x="1908" y="1427"/>
                      </a:lnTo>
                      <a:lnTo>
                        <a:pt x="1959" y="1383"/>
                      </a:lnTo>
                      <a:lnTo>
                        <a:pt x="2011" y="1338"/>
                      </a:lnTo>
                      <a:lnTo>
                        <a:pt x="2063" y="1295"/>
                      </a:lnTo>
                      <a:lnTo>
                        <a:pt x="2116" y="1252"/>
                      </a:lnTo>
                      <a:lnTo>
                        <a:pt x="2169" y="1209"/>
                      </a:lnTo>
                      <a:lnTo>
                        <a:pt x="2223" y="1168"/>
                      </a:lnTo>
                      <a:lnTo>
                        <a:pt x="2277" y="1126"/>
                      </a:lnTo>
                      <a:lnTo>
                        <a:pt x="2332" y="1086"/>
                      </a:lnTo>
                      <a:lnTo>
                        <a:pt x="2387" y="1046"/>
                      </a:lnTo>
                      <a:lnTo>
                        <a:pt x="2443" y="1007"/>
                      </a:lnTo>
                      <a:lnTo>
                        <a:pt x="2499" y="968"/>
                      </a:lnTo>
                      <a:lnTo>
                        <a:pt x="2556" y="930"/>
                      </a:lnTo>
                      <a:lnTo>
                        <a:pt x="2613" y="893"/>
                      </a:lnTo>
                      <a:lnTo>
                        <a:pt x="2671" y="857"/>
                      </a:lnTo>
                      <a:lnTo>
                        <a:pt x="2729" y="821"/>
                      </a:lnTo>
                      <a:lnTo>
                        <a:pt x="2788" y="786"/>
                      </a:lnTo>
                      <a:lnTo>
                        <a:pt x="2847" y="751"/>
                      </a:lnTo>
                      <a:lnTo>
                        <a:pt x="2907" y="717"/>
                      </a:lnTo>
                      <a:lnTo>
                        <a:pt x="2967" y="684"/>
                      </a:lnTo>
                      <a:lnTo>
                        <a:pt x="3027" y="652"/>
                      </a:lnTo>
                      <a:lnTo>
                        <a:pt x="3088" y="620"/>
                      </a:lnTo>
                      <a:lnTo>
                        <a:pt x="3150" y="589"/>
                      </a:lnTo>
                      <a:lnTo>
                        <a:pt x="3211" y="559"/>
                      </a:lnTo>
                      <a:lnTo>
                        <a:pt x="3273" y="530"/>
                      </a:lnTo>
                      <a:lnTo>
                        <a:pt x="3336" y="501"/>
                      </a:lnTo>
                      <a:lnTo>
                        <a:pt x="3399" y="473"/>
                      </a:lnTo>
                      <a:lnTo>
                        <a:pt x="3462" y="446"/>
                      </a:lnTo>
                      <a:lnTo>
                        <a:pt x="3526" y="419"/>
                      </a:lnTo>
                      <a:lnTo>
                        <a:pt x="3590" y="393"/>
                      </a:lnTo>
                      <a:lnTo>
                        <a:pt x="3655" y="368"/>
                      </a:lnTo>
                      <a:lnTo>
                        <a:pt x="3720" y="344"/>
                      </a:lnTo>
                      <a:lnTo>
                        <a:pt x="3785" y="321"/>
                      </a:lnTo>
                      <a:lnTo>
                        <a:pt x="3851" y="298"/>
                      </a:lnTo>
                      <a:lnTo>
                        <a:pt x="3917" y="276"/>
                      </a:lnTo>
                      <a:lnTo>
                        <a:pt x="3983" y="255"/>
                      </a:lnTo>
                      <a:lnTo>
                        <a:pt x="4050" y="235"/>
                      </a:lnTo>
                      <a:lnTo>
                        <a:pt x="4117" y="215"/>
                      </a:lnTo>
                      <a:lnTo>
                        <a:pt x="4185" y="197"/>
                      </a:lnTo>
                      <a:lnTo>
                        <a:pt x="4252" y="179"/>
                      </a:lnTo>
                      <a:lnTo>
                        <a:pt x="4320" y="162"/>
                      </a:lnTo>
                      <a:lnTo>
                        <a:pt x="4389" y="145"/>
                      </a:lnTo>
                      <a:lnTo>
                        <a:pt x="4458" y="130"/>
                      </a:lnTo>
                      <a:lnTo>
                        <a:pt x="4527" y="115"/>
                      </a:lnTo>
                      <a:lnTo>
                        <a:pt x="4596" y="102"/>
                      </a:lnTo>
                      <a:lnTo>
                        <a:pt x="4666" y="89"/>
                      </a:lnTo>
                      <a:lnTo>
                        <a:pt x="4736" y="77"/>
                      </a:lnTo>
                      <a:lnTo>
                        <a:pt x="4806" y="65"/>
                      </a:lnTo>
                      <a:lnTo>
                        <a:pt x="4876" y="55"/>
                      </a:lnTo>
                      <a:lnTo>
                        <a:pt x="4947" y="46"/>
                      </a:lnTo>
                      <a:lnTo>
                        <a:pt x="5018" y="37"/>
                      </a:lnTo>
                      <a:lnTo>
                        <a:pt x="5090" y="29"/>
                      </a:lnTo>
                      <a:lnTo>
                        <a:pt x="5161" y="23"/>
                      </a:lnTo>
                      <a:lnTo>
                        <a:pt x="5233" y="17"/>
                      </a:lnTo>
                      <a:lnTo>
                        <a:pt x="5305" y="12"/>
                      </a:lnTo>
                      <a:lnTo>
                        <a:pt x="5378" y="8"/>
                      </a:lnTo>
                      <a:lnTo>
                        <a:pt x="5450" y="4"/>
                      </a:lnTo>
                      <a:lnTo>
                        <a:pt x="5523" y="2"/>
                      </a:lnTo>
                      <a:lnTo>
                        <a:pt x="5596" y="1"/>
                      </a:lnTo>
                      <a:lnTo>
                        <a:pt x="5669" y="0"/>
                      </a:lnTo>
                      <a:lnTo>
                        <a:pt x="5669" y="0"/>
                      </a:lnTo>
                      <a:lnTo>
                        <a:pt x="5744" y="1"/>
                      </a:lnTo>
                      <a:lnTo>
                        <a:pt x="5817" y="2"/>
                      </a:lnTo>
                      <a:lnTo>
                        <a:pt x="5890" y="4"/>
                      </a:lnTo>
                      <a:lnTo>
                        <a:pt x="5962" y="8"/>
                      </a:lnTo>
                      <a:lnTo>
                        <a:pt x="6034" y="12"/>
                      </a:lnTo>
                      <a:lnTo>
                        <a:pt x="6107" y="17"/>
                      </a:lnTo>
                      <a:lnTo>
                        <a:pt x="6178" y="23"/>
                      </a:lnTo>
                      <a:lnTo>
                        <a:pt x="6250" y="29"/>
                      </a:lnTo>
                      <a:lnTo>
                        <a:pt x="6321" y="37"/>
                      </a:lnTo>
                      <a:lnTo>
                        <a:pt x="6392" y="46"/>
                      </a:lnTo>
                      <a:lnTo>
                        <a:pt x="6463" y="55"/>
                      </a:lnTo>
                      <a:lnTo>
                        <a:pt x="6534" y="65"/>
                      </a:lnTo>
                      <a:lnTo>
                        <a:pt x="6604" y="77"/>
                      </a:lnTo>
                      <a:lnTo>
                        <a:pt x="6674" y="89"/>
                      </a:lnTo>
                      <a:lnTo>
                        <a:pt x="6744" y="102"/>
                      </a:lnTo>
                      <a:lnTo>
                        <a:pt x="6813" y="115"/>
                      </a:lnTo>
                      <a:lnTo>
                        <a:pt x="6882" y="130"/>
                      </a:lnTo>
                      <a:lnTo>
                        <a:pt x="6951" y="145"/>
                      </a:lnTo>
                      <a:lnTo>
                        <a:pt x="7019" y="162"/>
                      </a:lnTo>
                      <a:lnTo>
                        <a:pt x="7087" y="179"/>
                      </a:lnTo>
                      <a:lnTo>
                        <a:pt x="7155" y="197"/>
                      </a:lnTo>
                      <a:lnTo>
                        <a:pt x="7222" y="215"/>
                      </a:lnTo>
                      <a:lnTo>
                        <a:pt x="7289" y="235"/>
                      </a:lnTo>
                      <a:lnTo>
                        <a:pt x="7356" y="255"/>
                      </a:lnTo>
                      <a:lnTo>
                        <a:pt x="7423" y="276"/>
                      </a:lnTo>
                      <a:lnTo>
                        <a:pt x="7489" y="298"/>
                      </a:lnTo>
                      <a:lnTo>
                        <a:pt x="7554" y="321"/>
                      </a:lnTo>
                      <a:lnTo>
                        <a:pt x="7620" y="344"/>
                      </a:lnTo>
                      <a:lnTo>
                        <a:pt x="7685" y="368"/>
                      </a:lnTo>
                      <a:lnTo>
                        <a:pt x="7749" y="393"/>
                      </a:lnTo>
                      <a:lnTo>
                        <a:pt x="7813" y="419"/>
                      </a:lnTo>
                      <a:lnTo>
                        <a:pt x="7877" y="446"/>
                      </a:lnTo>
                      <a:lnTo>
                        <a:pt x="7940" y="473"/>
                      </a:lnTo>
                      <a:lnTo>
                        <a:pt x="8003" y="501"/>
                      </a:lnTo>
                      <a:lnTo>
                        <a:pt x="8066" y="530"/>
                      </a:lnTo>
                      <a:lnTo>
                        <a:pt x="8128" y="559"/>
                      </a:lnTo>
                      <a:lnTo>
                        <a:pt x="8190" y="589"/>
                      </a:lnTo>
                      <a:lnTo>
                        <a:pt x="8251" y="620"/>
                      </a:lnTo>
                      <a:lnTo>
                        <a:pt x="8312" y="652"/>
                      </a:lnTo>
                      <a:lnTo>
                        <a:pt x="8373" y="684"/>
                      </a:lnTo>
                      <a:lnTo>
                        <a:pt x="8433" y="717"/>
                      </a:lnTo>
                      <a:lnTo>
                        <a:pt x="8492" y="751"/>
                      </a:lnTo>
                      <a:lnTo>
                        <a:pt x="8551" y="786"/>
                      </a:lnTo>
                      <a:lnTo>
                        <a:pt x="8610" y="821"/>
                      </a:lnTo>
                      <a:lnTo>
                        <a:pt x="8668" y="857"/>
                      </a:lnTo>
                      <a:lnTo>
                        <a:pt x="8726" y="893"/>
                      </a:lnTo>
                      <a:lnTo>
                        <a:pt x="8783" y="930"/>
                      </a:lnTo>
                      <a:lnTo>
                        <a:pt x="8840" y="968"/>
                      </a:lnTo>
                      <a:lnTo>
                        <a:pt x="8896" y="1007"/>
                      </a:lnTo>
                      <a:lnTo>
                        <a:pt x="8952" y="1046"/>
                      </a:lnTo>
                      <a:lnTo>
                        <a:pt x="9008" y="1086"/>
                      </a:lnTo>
                      <a:lnTo>
                        <a:pt x="9062" y="1126"/>
                      </a:lnTo>
                      <a:lnTo>
                        <a:pt x="9117" y="1168"/>
                      </a:lnTo>
                      <a:lnTo>
                        <a:pt x="9170" y="1209"/>
                      </a:lnTo>
                      <a:lnTo>
                        <a:pt x="9224" y="1252"/>
                      </a:lnTo>
                      <a:lnTo>
                        <a:pt x="9277" y="1295"/>
                      </a:lnTo>
                      <a:lnTo>
                        <a:pt x="9329" y="1338"/>
                      </a:lnTo>
                      <a:lnTo>
                        <a:pt x="9380" y="1383"/>
                      </a:lnTo>
                      <a:lnTo>
                        <a:pt x="9432" y="1427"/>
                      </a:lnTo>
                      <a:lnTo>
                        <a:pt x="9482" y="1473"/>
                      </a:lnTo>
                      <a:lnTo>
                        <a:pt x="9532" y="1519"/>
                      </a:lnTo>
                      <a:lnTo>
                        <a:pt x="9582" y="1566"/>
                      </a:lnTo>
                      <a:lnTo>
                        <a:pt x="9631" y="1613"/>
                      </a:lnTo>
                      <a:lnTo>
                        <a:pt x="9679" y="1661"/>
                      </a:lnTo>
                      <a:lnTo>
                        <a:pt x="9727" y="1709"/>
                      </a:lnTo>
                      <a:lnTo>
                        <a:pt x="9774" y="1758"/>
                      </a:lnTo>
                      <a:lnTo>
                        <a:pt x="9821" y="1807"/>
                      </a:lnTo>
                      <a:lnTo>
                        <a:pt x="9867" y="1858"/>
                      </a:lnTo>
                      <a:lnTo>
                        <a:pt x="9912" y="1908"/>
                      </a:lnTo>
                      <a:lnTo>
                        <a:pt x="9957" y="1959"/>
                      </a:lnTo>
                      <a:lnTo>
                        <a:pt x="10001" y="2011"/>
                      </a:lnTo>
                      <a:lnTo>
                        <a:pt x="10045" y="2063"/>
                      </a:lnTo>
                      <a:lnTo>
                        <a:pt x="10088" y="2116"/>
                      </a:lnTo>
                      <a:lnTo>
                        <a:pt x="10130" y="2169"/>
                      </a:lnTo>
                      <a:lnTo>
                        <a:pt x="10172" y="2223"/>
                      </a:lnTo>
                      <a:lnTo>
                        <a:pt x="10213" y="2277"/>
                      </a:lnTo>
                      <a:lnTo>
                        <a:pt x="10254" y="2332"/>
                      </a:lnTo>
                      <a:lnTo>
                        <a:pt x="10294" y="2388"/>
                      </a:lnTo>
                      <a:lnTo>
                        <a:pt x="10333" y="2443"/>
                      </a:lnTo>
                      <a:lnTo>
                        <a:pt x="10371" y="2500"/>
                      </a:lnTo>
                      <a:lnTo>
                        <a:pt x="10409" y="2557"/>
                      </a:lnTo>
                      <a:lnTo>
                        <a:pt x="10446" y="2614"/>
                      </a:lnTo>
                      <a:lnTo>
                        <a:pt x="10483" y="2672"/>
                      </a:lnTo>
                      <a:lnTo>
                        <a:pt x="10519" y="2730"/>
                      </a:lnTo>
                      <a:lnTo>
                        <a:pt x="10554" y="2788"/>
                      </a:lnTo>
                      <a:lnTo>
                        <a:pt x="10588" y="2848"/>
                      </a:lnTo>
                      <a:lnTo>
                        <a:pt x="10622" y="2907"/>
                      </a:lnTo>
                      <a:lnTo>
                        <a:pt x="10655" y="2967"/>
                      </a:lnTo>
                      <a:lnTo>
                        <a:pt x="10688" y="3028"/>
                      </a:lnTo>
                      <a:lnTo>
                        <a:pt x="10719" y="3089"/>
                      </a:lnTo>
                      <a:lnTo>
                        <a:pt x="10750" y="3150"/>
                      </a:lnTo>
                      <a:lnTo>
                        <a:pt x="10780" y="3212"/>
                      </a:lnTo>
                      <a:lnTo>
                        <a:pt x="10810" y="3274"/>
                      </a:lnTo>
                      <a:lnTo>
                        <a:pt x="10839" y="3336"/>
                      </a:lnTo>
                      <a:lnTo>
                        <a:pt x="10867" y="3399"/>
                      </a:lnTo>
                      <a:lnTo>
                        <a:pt x="10894" y="3463"/>
                      </a:lnTo>
                      <a:lnTo>
                        <a:pt x="10921" y="3527"/>
                      </a:lnTo>
                      <a:lnTo>
                        <a:pt x="10946" y="3591"/>
                      </a:lnTo>
                      <a:lnTo>
                        <a:pt x="10971" y="3655"/>
                      </a:lnTo>
                      <a:lnTo>
                        <a:pt x="10996" y="3720"/>
                      </a:lnTo>
                      <a:lnTo>
                        <a:pt x="11019" y="3786"/>
                      </a:lnTo>
                      <a:lnTo>
                        <a:pt x="11042" y="3851"/>
                      </a:lnTo>
                      <a:lnTo>
                        <a:pt x="11064" y="3917"/>
                      </a:lnTo>
                      <a:lnTo>
                        <a:pt x="11085" y="3984"/>
                      </a:lnTo>
                      <a:lnTo>
                        <a:pt x="11105" y="4050"/>
                      </a:lnTo>
                      <a:lnTo>
                        <a:pt x="11124" y="4118"/>
                      </a:lnTo>
                      <a:lnTo>
                        <a:pt x="11143" y="4185"/>
                      </a:lnTo>
                      <a:lnTo>
                        <a:pt x="11161" y="4253"/>
                      </a:lnTo>
                      <a:lnTo>
                        <a:pt x="11178" y="4321"/>
                      </a:lnTo>
                      <a:lnTo>
                        <a:pt x="11194" y="4389"/>
                      </a:lnTo>
                      <a:lnTo>
                        <a:pt x="11210" y="4458"/>
                      </a:lnTo>
                      <a:lnTo>
                        <a:pt x="11224" y="4527"/>
                      </a:lnTo>
                      <a:lnTo>
                        <a:pt x="11238" y="4596"/>
                      </a:lnTo>
                      <a:lnTo>
                        <a:pt x="11251" y="4666"/>
                      </a:lnTo>
                      <a:lnTo>
                        <a:pt x="11263" y="4736"/>
                      </a:lnTo>
                      <a:lnTo>
                        <a:pt x="11274" y="4806"/>
                      </a:lnTo>
                      <a:lnTo>
                        <a:pt x="11285" y="4877"/>
                      </a:lnTo>
                      <a:lnTo>
                        <a:pt x="11294" y="4948"/>
                      </a:lnTo>
                      <a:lnTo>
                        <a:pt x="11303" y="5019"/>
                      </a:lnTo>
                      <a:lnTo>
                        <a:pt x="11310" y="5090"/>
                      </a:lnTo>
                      <a:lnTo>
                        <a:pt x="11317" y="5162"/>
                      </a:lnTo>
                      <a:lnTo>
                        <a:pt x="11323" y="5233"/>
                      </a:lnTo>
                      <a:lnTo>
                        <a:pt x="11328" y="5306"/>
                      </a:lnTo>
                      <a:lnTo>
                        <a:pt x="11332" y="5378"/>
                      </a:lnTo>
                      <a:lnTo>
                        <a:pt x="11335" y="5451"/>
                      </a:lnTo>
                      <a:lnTo>
                        <a:pt x="11338" y="5523"/>
                      </a:lnTo>
                      <a:lnTo>
                        <a:pt x="11339" y="5596"/>
                      </a:lnTo>
                      <a:lnTo>
                        <a:pt x="11340" y="567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61" tIns="45731" rIns="91461" bIns="4573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544" name="Freeform 7">
                  <a:extLst>
                    <a:ext uri="{FF2B5EF4-FFF2-40B4-BE49-F238E27FC236}">
                      <a16:creationId xmlns:a16="http://schemas.microsoft.com/office/drawing/2014/main" id="{EF2E8F83-DB86-4115-8DFB-515192E292F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88" y="1252"/>
                  <a:ext cx="2268" cy="2268"/>
                </a:xfrm>
                <a:custGeom>
                  <a:avLst/>
                  <a:gdLst/>
                  <a:ahLst/>
                  <a:cxnLst>
                    <a:cxn ang="0">
                      <a:pos x="11317" y="6179"/>
                    </a:cxn>
                    <a:cxn ang="0">
                      <a:pos x="11224" y="6813"/>
                    </a:cxn>
                    <a:cxn ang="0">
                      <a:pos x="11064" y="7423"/>
                    </a:cxn>
                    <a:cxn ang="0">
                      <a:pos x="10839" y="8004"/>
                    </a:cxn>
                    <a:cxn ang="0">
                      <a:pos x="10554" y="8552"/>
                    </a:cxn>
                    <a:cxn ang="0">
                      <a:pos x="10213" y="9063"/>
                    </a:cxn>
                    <a:cxn ang="0">
                      <a:pos x="9821" y="9533"/>
                    </a:cxn>
                    <a:cxn ang="0">
                      <a:pos x="9380" y="9958"/>
                    </a:cxn>
                    <a:cxn ang="0">
                      <a:pos x="8896" y="10333"/>
                    </a:cxn>
                    <a:cxn ang="0">
                      <a:pos x="8373" y="10656"/>
                    </a:cxn>
                    <a:cxn ang="0">
                      <a:pos x="7813" y="10921"/>
                    </a:cxn>
                    <a:cxn ang="0">
                      <a:pos x="7222" y="11125"/>
                    </a:cxn>
                    <a:cxn ang="0">
                      <a:pos x="6604" y="11264"/>
                    </a:cxn>
                    <a:cxn ang="0">
                      <a:pos x="5962" y="11333"/>
                    </a:cxn>
                    <a:cxn ang="0">
                      <a:pos x="5378" y="11333"/>
                    </a:cxn>
                    <a:cxn ang="0">
                      <a:pos x="4736" y="11264"/>
                    </a:cxn>
                    <a:cxn ang="0">
                      <a:pos x="4117" y="11125"/>
                    </a:cxn>
                    <a:cxn ang="0">
                      <a:pos x="3526" y="10921"/>
                    </a:cxn>
                    <a:cxn ang="0">
                      <a:pos x="2967" y="10656"/>
                    </a:cxn>
                    <a:cxn ang="0">
                      <a:pos x="2443" y="10333"/>
                    </a:cxn>
                    <a:cxn ang="0">
                      <a:pos x="1959" y="9958"/>
                    </a:cxn>
                    <a:cxn ang="0">
                      <a:pos x="1519" y="9533"/>
                    </a:cxn>
                    <a:cxn ang="0">
                      <a:pos x="1126" y="9063"/>
                    </a:cxn>
                    <a:cxn ang="0">
                      <a:pos x="785" y="8552"/>
                    </a:cxn>
                    <a:cxn ang="0">
                      <a:pos x="501" y="8004"/>
                    </a:cxn>
                    <a:cxn ang="0">
                      <a:pos x="276" y="7423"/>
                    </a:cxn>
                    <a:cxn ang="0">
                      <a:pos x="115" y="6813"/>
                    </a:cxn>
                    <a:cxn ang="0">
                      <a:pos x="22" y="6179"/>
                    </a:cxn>
                    <a:cxn ang="0">
                      <a:pos x="0" y="5596"/>
                    </a:cxn>
                    <a:cxn ang="0">
                      <a:pos x="45" y="4948"/>
                    </a:cxn>
                    <a:cxn ang="0">
                      <a:pos x="161" y="4321"/>
                    </a:cxn>
                    <a:cxn ang="0">
                      <a:pos x="344" y="3720"/>
                    </a:cxn>
                    <a:cxn ang="0">
                      <a:pos x="589" y="3150"/>
                    </a:cxn>
                    <a:cxn ang="0">
                      <a:pos x="893" y="2614"/>
                    </a:cxn>
                    <a:cxn ang="0">
                      <a:pos x="1251" y="2116"/>
                    </a:cxn>
                    <a:cxn ang="0">
                      <a:pos x="1660" y="1661"/>
                    </a:cxn>
                    <a:cxn ang="0">
                      <a:pos x="2116" y="1252"/>
                    </a:cxn>
                    <a:cxn ang="0">
                      <a:pos x="2613" y="893"/>
                    </a:cxn>
                    <a:cxn ang="0">
                      <a:pos x="3150" y="589"/>
                    </a:cxn>
                    <a:cxn ang="0">
                      <a:pos x="3720" y="344"/>
                    </a:cxn>
                    <a:cxn ang="0">
                      <a:pos x="4320" y="162"/>
                    </a:cxn>
                    <a:cxn ang="0">
                      <a:pos x="4947" y="46"/>
                    </a:cxn>
                    <a:cxn ang="0">
                      <a:pos x="5596" y="1"/>
                    </a:cxn>
                    <a:cxn ang="0">
                      <a:pos x="6178" y="23"/>
                    </a:cxn>
                    <a:cxn ang="0">
                      <a:pos x="6813" y="115"/>
                    </a:cxn>
                    <a:cxn ang="0">
                      <a:pos x="7423" y="276"/>
                    </a:cxn>
                    <a:cxn ang="0">
                      <a:pos x="8003" y="501"/>
                    </a:cxn>
                    <a:cxn ang="0">
                      <a:pos x="8551" y="786"/>
                    </a:cxn>
                    <a:cxn ang="0">
                      <a:pos x="9062" y="1126"/>
                    </a:cxn>
                    <a:cxn ang="0">
                      <a:pos x="9532" y="1519"/>
                    </a:cxn>
                    <a:cxn ang="0">
                      <a:pos x="9957" y="1959"/>
                    </a:cxn>
                    <a:cxn ang="0">
                      <a:pos x="10333" y="2443"/>
                    </a:cxn>
                    <a:cxn ang="0">
                      <a:pos x="10655" y="2967"/>
                    </a:cxn>
                    <a:cxn ang="0">
                      <a:pos x="10921" y="3527"/>
                    </a:cxn>
                    <a:cxn ang="0">
                      <a:pos x="11124" y="4118"/>
                    </a:cxn>
                    <a:cxn ang="0">
                      <a:pos x="11263" y="4736"/>
                    </a:cxn>
                    <a:cxn ang="0">
                      <a:pos x="11332" y="5378"/>
                    </a:cxn>
                  </a:cxnLst>
                  <a:rect l="0" t="0" r="r" b="b"/>
                  <a:pathLst>
                    <a:path w="11340" h="11340">
                      <a:moveTo>
                        <a:pt x="11340" y="5671"/>
                      </a:moveTo>
                      <a:lnTo>
                        <a:pt x="11340" y="5671"/>
                      </a:lnTo>
                      <a:lnTo>
                        <a:pt x="11339" y="5744"/>
                      </a:lnTo>
                      <a:lnTo>
                        <a:pt x="11338" y="5817"/>
                      </a:lnTo>
                      <a:lnTo>
                        <a:pt x="11335" y="5890"/>
                      </a:lnTo>
                      <a:lnTo>
                        <a:pt x="11332" y="5962"/>
                      </a:lnTo>
                      <a:lnTo>
                        <a:pt x="11328" y="6035"/>
                      </a:lnTo>
                      <a:lnTo>
                        <a:pt x="11323" y="6107"/>
                      </a:lnTo>
                      <a:lnTo>
                        <a:pt x="11317" y="6179"/>
                      </a:lnTo>
                      <a:lnTo>
                        <a:pt x="11310" y="6250"/>
                      </a:lnTo>
                      <a:lnTo>
                        <a:pt x="11303" y="6322"/>
                      </a:lnTo>
                      <a:lnTo>
                        <a:pt x="11294" y="6393"/>
                      </a:lnTo>
                      <a:lnTo>
                        <a:pt x="11285" y="6464"/>
                      </a:lnTo>
                      <a:lnTo>
                        <a:pt x="11274" y="6534"/>
                      </a:lnTo>
                      <a:lnTo>
                        <a:pt x="11263" y="6604"/>
                      </a:lnTo>
                      <a:lnTo>
                        <a:pt x="11251" y="6674"/>
                      </a:lnTo>
                      <a:lnTo>
                        <a:pt x="11238" y="6744"/>
                      </a:lnTo>
                      <a:lnTo>
                        <a:pt x="11224" y="6813"/>
                      </a:lnTo>
                      <a:lnTo>
                        <a:pt x="11210" y="6882"/>
                      </a:lnTo>
                      <a:lnTo>
                        <a:pt x="11194" y="6951"/>
                      </a:lnTo>
                      <a:lnTo>
                        <a:pt x="11178" y="7019"/>
                      </a:lnTo>
                      <a:lnTo>
                        <a:pt x="11161" y="7088"/>
                      </a:lnTo>
                      <a:lnTo>
                        <a:pt x="11143" y="7155"/>
                      </a:lnTo>
                      <a:lnTo>
                        <a:pt x="11124" y="7223"/>
                      </a:lnTo>
                      <a:lnTo>
                        <a:pt x="11105" y="7290"/>
                      </a:lnTo>
                      <a:lnTo>
                        <a:pt x="11085" y="7357"/>
                      </a:lnTo>
                      <a:lnTo>
                        <a:pt x="11064" y="7423"/>
                      </a:lnTo>
                      <a:lnTo>
                        <a:pt x="11042" y="7489"/>
                      </a:lnTo>
                      <a:lnTo>
                        <a:pt x="11019" y="7555"/>
                      </a:lnTo>
                      <a:lnTo>
                        <a:pt x="10996" y="7620"/>
                      </a:lnTo>
                      <a:lnTo>
                        <a:pt x="10971" y="7685"/>
                      </a:lnTo>
                      <a:lnTo>
                        <a:pt x="10946" y="7749"/>
                      </a:lnTo>
                      <a:lnTo>
                        <a:pt x="10921" y="7814"/>
                      </a:lnTo>
                      <a:lnTo>
                        <a:pt x="10894" y="7877"/>
                      </a:lnTo>
                      <a:lnTo>
                        <a:pt x="10867" y="7941"/>
                      </a:lnTo>
                      <a:lnTo>
                        <a:pt x="10839" y="8004"/>
                      </a:lnTo>
                      <a:lnTo>
                        <a:pt x="10810" y="8066"/>
                      </a:lnTo>
                      <a:lnTo>
                        <a:pt x="10780" y="8129"/>
                      </a:lnTo>
                      <a:lnTo>
                        <a:pt x="10750" y="8190"/>
                      </a:lnTo>
                      <a:lnTo>
                        <a:pt x="10719" y="8252"/>
                      </a:lnTo>
                      <a:lnTo>
                        <a:pt x="10688" y="8313"/>
                      </a:lnTo>
                      <a:lnTo>
                        <a:pt x="10655" y="8373"/>
                      </a:lnTo>
                      <a:lnTo>
                        <a:pt x="10622" y="8433"/>
                      </a:lnTo>
                      <a:lnTo>
                        <a:pt x="10588" y="8493"/>
                      </a:lnTo>
                      <a:lnTo>
                        <a:pt x="10554" y="8552"/>
                      </a:lnTo>
                      <a:lnTo>
                        <a:pt x="10519" y="8610"/>
                      </a:lnTo>
                      <a:lnTo>
                        <a:pt x="10483" y="8669"/>
                      </a:lnTo>
                      <a:lnTo>
                        <a:pt x="10446" y="8726"/>
                      </a:lnTo>
                      <a:lnTo>
                        <a:pt x="10409" y="8784"/>
                      </a:lnTo>
                      <a:lnTo>
                        <a:pt x="10371" y="8840"/>
                      </a:lnTo>
                      <a:lnTo>
                        <a:pt x="10333" y="8897"/>
                      </a:lnTo>
                      <a:lnTo>
                        <a:pt x="10294" y="8953"/>
                      </a:lnTo>
                      <a:lnTo>
                        <a:pt x="10254" y="9008"/>
                      </a:lnTo>
                      <a:lnTo>
                        <a:pt x="10213" y="9063"/>
                      </a:lnTo>
                      <a:lnTo>
                        <a:pt x="10172" y="9117"/>
                      </a:lnTo>
                      <a:lnTo>
                        <a:pt x="10130" y="9171"/>
                      </a:lnTo>
                      <a:lnTo>
                        <a:pt x="10088" y="9224"/>
                      </a:lnTo>
                      <a:lnTo>
                        <a:pt x="10045" y="9277"/>
                      </a:lnTo>
                      <a:lnTo>
                        <a:pt x="10001" y="9329"/>
                      </a:lnTo>
                      <a:lnTo>
                        <a:pt x="9957" y="9381"/>
                      </a:lnTo>
                      <a:lnTo>
                        <a:pt x="9912" y="9432"/>
                      </a:lnTo>
                      <a:lnTo>
                        <a:pt x="9867" y="9483"/>
                      </a:lnTo>
                      <a:lnTo>
                        <a:pt x="9821" y="9533"/>
                      </a:lnTo>
                      <a:lnTo>
                        <a:pt x="9774" y="9582"/>
                      </a:lnTo>
                      <a:lnTo>
                        <a:pt x="9727" y="9631"/>
                      </a:lnTo>
                      <a:lnTo>
                        <a:pt x="9679" y="9680"/>
                      </a:lnTo>
                      <a:lnTo>
                        <a:pt x="9631" y="9727"/>
                      </a:lnTo>
                      <a:lnTo>
                        <a:pt x="9582" y="9775"/>
                      </a:lnTo>
                      <a:lnTo>
                        <a:pt x="9532" y="9821"/>
                      </a:lnTo>
                      <a:lnTo>
                        <a:pt x="9482" y="9867"/>
                      </a:lnTo>
                      <a:lnTo>
                        <a:pt x="9432" y="9913"/>
                      </a:lnTo>
                      <a:lnTo>
                        <a:pt x="9380" y="9958"/>
                      </a:lnTo>
                      <a:lnTo>
                        <a:pt x="9329" y="10002"/>
                      </a:lnTo>
                      <a:lnTo>
                        <a:pt x="9277" y="10046"/>
                      </a:lnTo>
                      <a:lnTo>
                        <a:pt x="9224" y="10089"/>
                      </a:lnTo>
                      <a:lnTo>
                        <a:pt x="9170" y="10131"/>
                      </a:lnTo>
                      <a:lnTo>
                        <a:pt x="9117" y="10173"/>
                      </a:lnTo>
                      <a:lnTo>
                        <a:pt x="9062" y="10214"/>
                      </a:lnTo>
                      <a:lnTo>
                        <a:pt x="9008" y="10254"/>
                      </a:lnTo>
                      <a:lnTo>
                        <a:pt x="8952" y="10294"/>
                      </a:lnTo>
                      <a:lnTo>
                        <a:pt x="8896" y="10333"/>
                      </a:lnTo>
                      <a:lnTo>
                        <a:pt x="8840" y="10372"/>
                      </a:lnTo>
                      <a:lnTo>
                        <a:pt x="8783" y="10410"/>
                      </a:lnTo>
                      <a:lnTo>
                        <a:pt x="8726" y="10447"/>
                      </a:lnTo>
                      <a:lnTo>
                        <a:pt x="8668" y="10484"/>
                      </a:lnTo>
                      <a:lnTo>
                        <a:pt x="8610" y="10519"/>
                      </a:lnTo>
                      <a:lnTo>
                        <a:pt x="8551" y="10555"/>
                      </a:lnTo>
                      <a:lnTo>
                        <a:pt x="8492" y="10589"/>
                      </a:lnTo>
                      <a:lnTo>
                        <a:pt x="8433" y="10623"/>
                      </a:lnTo>
                      <a:lnTo>
                        <a:pt x="8373" y="10656"/>
                      </a:lnTo>
                      <a:lnTo>
                        <a:pt x="8312" y="10688"/>
                      </a:lnTo>
                      <a:lnTo>
                        <a:pt x="8251" y="10720"/>
                      </a:lnTo>
                      <a:lnTo>
                        <a:pt x="8190" y="10751"/>
                      </a:lnTo>
                      <a:lnTo>
                        <a:pt x="8128" y="10781"/>
                      </a:lnTo>
                      <a:lnTo>
                        <a:pt x="8066" y="10811"/>
                      </a:lnTo>
                      <a:lnTo>
                        <a:pt x="8003" y="10839"/>
                      </a:lnTo>
                      <a:lnTo>
                        <a:pt x="7940" y="10867"/>
                      </a:lnTo>
                      <a:lnTo>
                        <a:pt x="7877" y="10895"/>
                      </a:lnTo>
                      <a:lnTo>
                        <a:pt x="7813" y="10921"/>
                      </a:lnTo>
                      <a:lnTo>
                        <a:pt x="7749" y="10947"/>
                      </a:lnTo>
                      <a:lnTo>
                        <a:pt x="7685" y="10972"/>
                      </a:lnTo>
                      <a:lnTo>
                        <a:pt x="7620" y="10996"/>
                      </a:lnTo>
                      <a:lnTo>
                        <a:pt x="7554" y="11020"/>
                      </a:lnTo>
                      <a:lnTo>
                        <a:pt x="7489" y="11042"/>
                      </a:lnTo>
                      <a:lnTo>
                        <a:pt x="7423" y="11064"/>
                      </a:lnTo>
                      <a:lnTo>
                        <a:pt x="7356" y="11085"/>
                      </a:lnTo>
                      <a:lnTo>
                        <a:pt x="7289" y="11106"/>
                      </a:lnTo>
                      <a:lnTo>
                        <a:pt x="7222" y="11125"/>
                      </a:lnTo>
                      <a:lnTo>
                        <a:pt x="7155" y="11144"/>
                      </a:lnTo>
                      <a:lnTo>
                        <a:pt x="7087" y="11162"/>
                      </a:lnTo>
                      <a:lnTo>
                        <a:pt x="7019" y="11179"/>
                      </a:lnTo>
                      <a:lnTo>
                        <a:pt x="6951" y="11195"/>
                      </a:lnTo>
                      <a:lnTo>
                        <a:pt x="6882" y="11210"/>
                      </a:lnTo>
                      <a:lnTo>
                        <a:pt x="6813" y="11225"/>
                      </a:lnTo>
                      <a:lnTo>
                        <a:pt x="6744" y="11239"/>
                      </a:lnTo>
                      <a:lnTo>
                        <a:pt x="6674" y="11252"/>
                      </a:lnTo>
                      <a:lnTo>
                        <a:pt x="6604" y="11264"/>
                      </a:lnTo>
                      <a:lnTo>
                        <a:pt x="6534" y="11275"/>
                      </a:lnTo>
                      <a:lnTo>
                        <a:pt x="6463" y="11285"/>
                      </a:lnTo>
                      <a:lnTo>
                        <a:pt x="6392" y="11295"/>
                      </a:lnTo>
                      <a:lnTo>
                        <a:pt x="6321" y="11303"/>
                      </a:lnTo>
                      <a:lnTo>
                        <a:pt x="6250" y="11311"/>
                      </a:lnTo>
                      <a:lnTo>
                        <a:pt x="6178" y="11318"/>
                      </a:lnTo>
                      <a:lnTo>
                        <a:pt x="6107" y="11324"/>
                      </a:lnTo>
                      <a:lnTo>
                        <a:pt x="6034" y="11329"/>
                      </a:lnTo>
                      <a:lnTo>
                        <a:pt x="5962" y="11333"/>
                      </a:lnTo>
                      <a:lnTo>
                        <a:pt x="5890" y="11336"/>
                      </a:lnTo>
                      <a:lnTo>
                        <a:pt x="5817" y="11338"/>
                      </a:lnTo>
                      <a:lnTo>
                        <a:pt x="5744" y="11340"/>
                      </a:lnTo>
                      <a:lnTo>
                        <a:pt x="5669" y="11340"/>
                      </a:lnTo>
                      <a:lnTo>
                        <a:pt x="5669" y="11340"/>
                      </a:lnTo>
                      <a:lnTo>
                        <a:pt x="5596" y="11340"/>
                      </a:lnTo>
                      <a:lnTo>
                        <a:pt x="5523" y="11338"/>
                      </a:lnTo>
                      <a:lnTo>
                        <a:pt x="5450" y="11336"/>
                      </a:lnTo>
                      <a:lnTo>
                        <a:pt x="5378" y="11333"/>
                      </a:lnTo>
                      <a:lnTo>
                        <a:pt x="5305" y="11329"/>
                      </a:lnTo>
                      <a:lnTo>
                        <a:pt x="5233" y="11324"/>
                      </a:lnTo>
                      <a:lnTo>
                        <a:pt x="5161" y="11318"/>
                      </a:lnTo>
                      <a:lnTo>
                        <a:pt x="5090" y="11311"/>
                      </a:lnTo>
                      <a:lnTo>
                        <a:pt x="5018" y="11303"/>
                      </a:lnTo>
                      <a:lnTo>
                        <a:pt x="4947" y="11295"/>
                      </a:lnTo>
                      <a:lnTo>
                        <a:pt x="4876" y="11285"/>
                      </a:lnTo>
                      <a:lnTo>
                        <a:pt x="4806" y="11275"/>
                      </a:lnTo>
                      <a:lnTo>
                        <a:pt x="4736" y="11264"/>
                      </a:lnTo>
                      <a:lnTo>
                        <a:pt x="4666" y="11252"/>
                      </a:lnTo>
                      <a:lnTo>
                        <a:pt x="4596" y="11239"/>
                      </a:lnTo>
                      <a:lnTo>
                        <a:pt x="4527" y="11225"/>
                      </a:lnTo>
                      <a:lnTo>
                        <a:pt x="4458" y="11210"/>
                      </a:lnTo>
                      <a:lnTo>
                        <a:pt x="4389" y="11195"/>
                      </a:lnTo>
                      <a:lnTo>
                        <a:pt x="4320" y="11179"/>
                      </a:lnTo>
                      <a:lnTo>
                        <a:pt x="4252" y="11162"/>
                      </a:lnTo>
                      <a:lnTo>
                        <a:pt x="4185" y="11144"/>
                      </a:lnTo>
                      <a:lnTo>
                        <a:pt x="4117" y="11125"/>
                      </a:lnTo>
                      <a:lnTo>
                        <a:pt x="4050" y="11106"/>
                      </a:lnTo>
                      <a:lnTo>
                        <a:pt x="3983" y="11085"/>
                      </a:lnTo>
                      <a:lnTo>
                        <a:pt x="3917" y="11064"/>
                      </a:lnTo>
                      <a:lnTo>
                        <a:pt x="3851" y="11042"/>
                      </a:lnTo>
                      <a:lnTo>
                        <a:pt x="3785" y="11020"/>
                      </a:lnTo>
                      <a:lnTo>
                        <a:pt x="3720" y="10996"/>
                      </a:lnTo>
                      <a:lnTo>
                        <a:pt x="3655" y="10972"/>
                      </a:lnTo>
                      <a:lnTo>
                        <a:pt x="3590" y="10947"/>
                      </a:lnTo>
                      <a:lnTo>
                        <a:pt x="3526" y="10921"/>
                      </a:lnTo>
                      <a:lnTo>
                        <a:pt x="3462" y="10895"/>
                      </a:lnTo>
                      <a:lnTo>
                        <a:pt x="3399" y="10867"/>
                      </a:lnTo>
                      <a:lnTo>
                        <a:pt x="3336" y="10839"/>
                      </a:lnTo>
                      <a:lnTo>
                        <a:pt x="3273" y="10811"/>
                      </a:lnTo>
                      <a:lnTo>
                        <a:pt x="3211" y="10781"/>
                      </a:lnTo>
                      <a:lnTo>
                        <a:pt x="3150" y="10751"/>
                      </a:lnTo>
                      <a:lnTo>
                        <a:pt x="3088" y="10720"/>
                      </a:lnTo>
                      <a:lnTo>
                        <a:pt x="3027" y="10688"/>
                      </a:lnTo>
                      <a:lnTo>
                        <a:pt x="2967" y="10656"/>
                      </a:lnTo>
                      <a:lnTo>
                        <a:pt x="2907" y="10623"/>
                      </a:lnTo>
                      <a:lnTo>
                        <a:pt x="2847" y="10589"/>
                      </a:lnTo>
                      <a:lnTo>
                        <a:pt x="2788" y="10555"/>
                      </a:lnTo>
                      <a:lnTo>
                        <a:pt x="2729" y="10519"/>
                      </a:lnTo>
                      <a:lnTo>
                        <a:pt x="2671" y="10484"/>
                      </a:lnTo>
                      <a:lnTo>
                        <a:pt x="2613" y="10447"/>
                      </a:lnTo>
                      <a:lnTo>
                        <a:pt x="2556" y="10410"/>
                      </a:lnTo>
                      <a:lnTo>
                        <a:pt x="2499" y="10372"/>
                      </a:lnTo>
                      <a:lnTo>
                        <a:pt x="2443" y="10333"/>
                      </a:lnTo>
                      <a:lnTo>
                        <a:pt x="2387" y="10294"/>
                      </a:lnTo>
                      <a:lnTo>
                        <a:pt x="2332" y="10254"/>
                      </a:lnTo>
                      <a:lnTo>
                        <a:pt x="2277" y="10214"/>
                      </a:lnTo>
                      <a:lnTo>
                        <a:pt x="2223" y="10173"/>
                      </a:lnTo>
                      <a:lnTo>
                        <a:pt x="2169" y="10131"/>
                      </a:lnTo>
                      <a:lnTo>
                        <a:pt x="2116" y="10089"/>
                      </a:lnTo>
                      <a:lnTo>
                        <a:pt x="2063" y="10046"/>
                      </a:lnTo>
                      <a:lnTo>
                        <a:pt x="2011" y="10002"/>
                      </a:lnTo>
                      <a:lnTo>
                        <a:pt x="1959" y="9958"/>
                      </a:lnTo>
                      <a:lnTo>
                        <a:pt x="1908" y="9913"/>
                      </a:lnTo>
                      <a:lnTo>
                        <a:pt x="1857" y="9867"/>
                      </a:lnTo>
                      <a:lnTo>
                        <a:pt x="1807" y="9821"/>
                      </a:lnTo>
                      <a:lnTo>
                        <a:pt x="1758" y="9775"/>
                      </a:lnTo>
                      <a:lnTo>
                        <a:pt x="1709" y="9727"/>
                      </a:lnTo>
                      <a:lnTo>
                        <a:pt x="1660" y="9680"/>
                      </a:lnTo>
                      <a:lnTo>
                        <a:pt x="1613" y="9631"/>
                      </a:lnTo>
                      <a:lnTo>
                        <a:pt x="1565" y="9582"/>
                      </a:lnTo>
                      <a:lnTo>
                        <a:pt x="1519" y="9533"/>
                      </a:lnTo>
                      <a:lnTo>
                        <a:pt x="1473" y="9483"/>
                      </a:lnTo>
                      <a:lnTo>
                        <a:pt x="1427" y="9432"/>
                      </a:lnTo>
                      <a:lnTo>
                        <a:pt x="1382" y="9381"/>
                      </a:lnTo>
                      <a:lnTo>
                        <a:pt x="1338" y="9329"/>
                      </a:lnTo>
                      <a:lnTo>
                        <a:pt x="1294" y="9277"/>
                      </a:lnTo>
                      <a:lnTo>
                        <a:pt x="1251" y="9224"/>
                      </a:lnTo>
                      <a:lnTo>
                        <a:pt x="1209" y="9171"/>
                      </a:lnTo>
                      <a:lnTo>
                        <a:pt x="1167" y="9117"/>
                      </a:lnTo>
                      <a:lnTo>
                        <a:pt x="1126" y="9063"/>
                      </a:lnTo>
                      <a:lnTo>
                        <a:pt x="1086" y="9008"/>
                      </a:lnTo>
                      <a:lnTo>
                        <a:pt x="1046" y="8953"/>
                      </a:lnTo>
                      <a:lnTo>
                        <a:pt x="1007" y="8897"/>
                      </a:lnTo>
                      <a:lnTo>
                        <a:pt x="968" y="8840"/>
                      </a:lnTo>
                      <a:lnTo>
                        <a:pt x="930" y="8784"/>
                      </a:lnTo>
                      <a:lnTo>
                        <a:pt x="893" y="8726"/>
                      </a:lnTo>
                      <a:lnTo>
                        <a:pt x="856" y="8669"/>
                      </a:lnTo>
                      <a:lnTo>
                        <a:pt x="821" y="8610"/>
                      </a:lnTo>
                      <a:lnTo>
                        <a:pt x="785" y="8552"/>
                      </a:lnTo>
                      <a:lnTo>
                        <a:pt x="751" y="8493"/>
                      </a:lnTo>
                      <a:lnTo>
                        <a:pt x="717" y="8433"/>
                      </a:lnTo>
                      <a:lnTo>
                        <a:pt x="684" y="8373"/>
                      </a:lnTo>
                      <a:lnTo>
                        <a:pt x="652" y="8313"/>
                      </a:lnTo>
                      <a:lnTo>
                        <a:pt x="620" y="8252"/>
                      </a:lnTo>
                      <a:lnTo>
                        <a:pt x="589" y="8190"/>
                      </a:lnTo>
                      <a:lnTo>
                        <a:pt x="559" y="8129"/>
                      </a:lnTo>
                      <a:lnTo>
                        <a:pt x="529" y="8066"/>
                      </a:lnTo>
                      <a:lnTo>
                        <a:pt x="501" y="8004"/>
                      </a:lnTo>
                      <a:lnTo>
                        <a:pt x="473" y="7941"/>
                      </a:lnTo>
                      <a:lnTo>
                        <a:pt x="445" y="7877"/>
                      </a:lnTo>
                      <a:lnTo>
                        <a:pt x="419" y="7814"/>
                      </a:lnTo>
                      <a:lnTo>
                        <a:pt x="393" y="7749"/>
                      </a:lnTo>
                      <a:lnTo>
                        <a:pt x="368" y="7685"/>
                      </a:lnTo>
                      <a:lnTo>
                        <a:pt x="344" y="7620"/>
                      </a:lnTo>
                      <a:lnTo>
                        <a:pt x="320" y="7555"/>
                      </a:lnTo>
                      <a:lnTo>
                        <a:pt x="298" y="7489"/>
                      </a:lnTo>
                      <a:lnTo>
                        <a:pt x="276" y="7423"/>
                      </a:lnTo>
                      <a:lnTo>
                        <a:pt x="255" y="7357"/>
                      </a:lnTo>
                      <a:lnTo>
                        <a:pt x="234" y="7290"/>
                      </a:lnTo>
                      <a:lnTo>
                        <a:pt x="215" y="7223"/>
                      </a:lnTo>
                      <a:lnTo>
                        <a:pt x="196" y="7155"/>
                      </a:lnTo>
                      <a:lnTo>
                        <a:pt x="178" y="7088"/>
                      </a:lnTo>
                      <a:lnTo>
                        <a:pt x="161" y="7019"/>
                      </a:lnTo>
                      <a:lnTo>
                        <a:pt x="145" y="6951"/>
                      </a:lnTo>
                      <a:lnTo>
                        <a:pt x="130" y="6882"/>
                      </a:lnTo>
                      <a:lnTo>
                        <a:pt x="115" y="6813"/>
                      </a:lnTo>
                      <a:lnTo>
                        <a:pt x="101" y="6744"/>
                      </a:lnTo>
                      <a:lnTo>
                        <a:pt x="88" y="6674"/>
                      </a:lnTo>
                      <a:lnTo>
                        <a:pt x="76" y="6604"/>
                      </a:lnTo>
                      <a:lnTo>
                        <a:pt x="65" y="6534"/>
                      </a:lnTo>
                      <a:lnTo>
                        <a:pt x="55" y="6464"/>
                      </a:lnTo>
                      <a:lnTo>
                        <a:pt x="45" y="6393"/>
                      </a:lnTo>
                      <a:lnTo>
                        <a:pt x="37" y="6322"/>
                      </a:lnTo>
                      <a:lnTo>
                        <a:pt x="29" y="6250"/>
                      </a:lnTo>
                      <a:lnTo>
                        <a:pt x="22" y="6179"/>
                      </a:lnTo>
                      <a:lnTo>
                        <a:pt x="16" y="6107"/>
                      </a:lnTo>
                      <a:lnTo>
                        <a:pt x="11" y="6035"/>
                      </a:lnTo>
                      <a:lnTo>
                        <a:pt x="7" y="5962"/>
                      </a:lnTo>
                      <a:lnTo>
                        <a:pt x="4" y="5890"/>
                      </a:lnTo>
                      <a:lnTo>
                        <a:pt x="2" y="5817"/>
                      </a:lnTo>
                      <a:lnTo>
                        <a:pt x="0" y="5744"/>
                      </a:lnTo>
                      <a:lnTo>
                        <a:pt x="0" y="5671"/>
                      </a:lnTo>
                      <a:lnTo>
                        <a:pt x="0" y="5671"/>
                      </a:lnTo>
                      <a:lnTo>
                        <a:pt x="0" y="5596"/>
                      </a:lnTo>
                      <a:lnTo>
                        <a:pt x="2" y="5523"/>
                      </a:lnTo>
                      <a:lnTo>
                        <a:pt x="4" y="5451"/>
                      </a:lnTo>
                      <a:lnTo>
                        <a:pt x="7" y="5378"/>
                      </a:lnTo>
                      <a:lnTo>
                        <a:pt x="11" y="5306"/>
                      </a:lnTo>
                      <a:lnTo>
                        <a:pt x="16" y="5233"/>
                      </a:lnTo>
                      <a:lnTo>
                        <a:pt x="22" y="5162"/>
                      </a:lnTo>
                      <a:lnTo>
                        <a:pt x="29" y="5090"/>
                      </a:lnTo>
                      <a:lnTo>
                        <a:pt x="37" y="5019"/>
                      </a:lnTo>
                      <a:lnTo>
                        <a:pt x="45" y="4948"/>
                      </a:lnTo>
                      <a:lnTo>
                        <a:pt x="55" y="4877"/>
                      </a:lnTo>
                      <a:lnTo>
                        <a:pt x="65" y="4806"/>
                      </a:lnTo>
                      <a:lnTo>
                        <a:pt x="76" y="4736"/>
                      </a:lnTo>
                      <a:lnTo>
                        <a:pt x="88" y="4666"/>
                      </a:lnTo>
                      <a:lnTo>
                        <a:pt x="101" y="4596"/>
                      </a:lnTo>
                      <a:lnTo>
                        <a:pt x="115" y="4527"/>
                      </a:lnTo>
                      <a:lnTo>
                        <a:pt x="130" y="4458"/>
                      </a:lnTo>
                      <a:lnTo>
                        <a:pt x="145" y="4389"/>
                      </a:lnTo>
                      <a:lnTo>
                        <a:pt x="161" y="4321"/>
                      </a:lnTo>
                      <a:lnTo>
                        <a:pt x="178" y="4253"/>
                      </a:lnTo>
                      <a:lnTo>
                        <a:pt x="196" y="4185"/>
                      </a:lnTo>
                      <a:lnTo>
                        <a:pt x="215" y="4118"/>
                      </a:lnTo>
                      <a:lnTo>
                        <a:pt x="234" y="4050"/>
                      </a:lnTo>
                      <a:lnTo>
                        <a:pt x="255" y="3984"/>
                      </a:lnTo>
                      <a:lnTo>
                        <a:pt x="276" y="3917"/>
                      </a:lnTo>
                      <a:lnTo>
                        <a:pt x="298" y="3851"/>
                      </a:lnTo>
                      <a:lnTo>
                        <a:pt x="320" y="3786"/>
                      </a:lnTo>
                      <a:lnTo>
                        <a:pt x="344" y="3720"/>
                      </a:lnTo>
                      <a:lnTo>
                        <a:pt x="368" y="3655"/>
                      </a:lnTo>
                      <a:lnTo>
                        <a:pt x="393" y="3591"/>
                      </a:lnTo>
                      <a:lnTo>
                        <a:pt x="419" y="3527"/>
                      </a:lnTo>
                      <a:lnTo>
                        <a:pt x="445" y="3463"/>
                      </a:lnTo>
                      <a:lnTo>
                        <a:pt x="473" y="3399"/>
                      </a:lnTo>
                      <a:lnTo>
                        <a:pt x="501" y="3336"/>
                      </a:lnTo>
                      <a:lnTo>
                        <a:pt x="529" y="3274"/>
                      </a:lnTo>
                      <a:lnTo>
                        <a:pt x="559" y="3212"/>
                      </a:lnTo>
                      <a:lnTo>
                        <a:pt x="589" y="3150"/>
                      </a:lnTo>
                      <a:lnTo>
                        <a:pt x="620" y="3089"/>
                      </a:lnTo>
                      <a:lnTo>
                        <a:pt x="652" y="3028"/>
                      </a:lnTo>
                      <a:lnTo>
                        <a:pt x="684" y="2967"/>
                      </a:lnTo>
                      <a:lnTo>
                        <a:pt x="717" y="2907"/>
                      </a:lnTo>
                      <a:lnTo>
                        <a:pt x="751" y="2848"/>
                      </a:lnTo>
                      <a:lnTo>
                        <a:pt x="785" y="2788"/>
                      </a:lnTo>
                      <a:lnTo>
                        <a:pt x="821" y="2730"/>
                      </a:lnTo>
                      <a:lnTo>
                        <a:pt x="856" y="2672"/>
                      </a:lnTo>
                      <a:lnTo>
                        <a:pt x="893" y="2614"/>
                      </a:lnTo>
                      <a:lnTo>
                        <a:pt x="930" y="2557"/>
                      </a:lnTo>
                      <a:lnTo>
                        <a:pt x="968" y="2500"/>
                      </a:lnTo>
                      <a:lnTo>
                        <a:pt x="1007" y="2443"/>
                      </a:lnTo>
                      <a:lnTo>
                        <a:pt x="1046" y="2388"/>
                      </a:lnTo>
                      <a:lnTo>
                        <a:pt x="1086" y="2332"/>
                      </a:lnTo>
                      <a:lnTo>
                        <a:pt x="1126" y="2277"/>
                      </a:lnTo>
                      <a:lnTo>
                        <a:pt x="1167" y="2223"/>
                      </a:lnTo>
                      <a:lnTo>
                        <a:pt x="1209" y="2169"/>
                      </a:lnTo>
                      <a:lnTo>
                        <a:pt x="1251" y="2116"/>
                      </a:lnTo>
                      <a:lnTo>
                        <a:pt x="1294" y="2063"/>
                      </a:lnTo>
                      <a:lnTo>
                        <a:pt x="1338" y="2011"/>
                      </a:lnTo>
                      <a:lnTo>
                        <a:pt x="1382" y="1959"/>
                      </a:lnTo>
                      <a:lnTo>
                        <a:pt x="1427" y="1908"/>
                      </a:lnTo>
                      <a:lnTo>
                        <a:pt x="1473" y="1858"/>
                      </a:lnTo>
                      <a:lnTo>
                        <a:pt x="1519" y="1807"/>
                      </a:lnTo>
                      <a:lnTo>
                        <a:pt x="1565" y="1758"/>
                      </a:lnTo>
                      <a:lnTo>
                        <a:pt x="1613" y="1709"/>
                      </a:lnTo>
                      <a:lnTo>
                        <a:pt x="1660" y="1661"/>
                      </a:lnTo>
                      <a:lnTo>
                        <a:pt x="1709" y="1613"/>
                      </a:lnTo>
                      <a:lnTo>
                        <a:pt x="1758" y="1566"/>
                      </a:lnTo>
                      <a:lnTo>
                        <a:pt x="1807" y="1519"/>
                      </a:lnTo>
                      <a:lnTo>
                        <a:pt x="1857" y="1473"/>
                      </a:lnTo>
                      <a:lnTo>
                        <a:pt x="1908" y="1427"/>
                      </a:lnTo>
                      <a:lnTo>
                        <a:pt x="1959" y="1383"/>
                      </a:lnTo>
                      <a:lnTo>
                        <a:pt x="2011" y="1338"/>
                      </a:lnTo>
                      <a:lnTo>
                        <a:pt x="2063" y="1295"/>
                      </a:lnTo>
                      <a:lnTo>
                        <a:pt x="2116" y="1252"/>
                      </a:lnTo>
                      <a:lnTo>
                        <a:pt x="2169" y="1209"/>
                      </a:lnTo>
                      <a:lnTo>
                        <a:pt x="2223" y="1168"/>
                      </a:lnTo>
                      <a:lnTo>
                        <a:pt x="2277" y="1126"/>
                      </a:lnTo>
                      <a:lnTo>
                        <a:pt x="2332" y="1086"/>
                      </a:lnTo>
                      <a:lnTo>
                        <a:pt x="2387" y="1046"/>
                      </a:lnTo>
                      <a:lnTo>
                        <a:pt x="2443" y="1007"/>
                      </a:lnTo>
                      <a:lnTo>
                        <a:pt x="2499" y="968"/>
                      </a:lnTo>
                      <a:lnTo>
                        <a:pt x="2556" y="930"/>
                      </a:lnTo>
                      <a:lnTo>
                        <a:pt x="2613" y="893"/>
                      </a:lnTo>
                      <a:lnTo>
                        <a:pt x="2671" y="857"/>
                      </a:lnTo>
                      <a:lnTo>
                        <a:pt x="2729" y="821"/>
                      </a:lnTo>
                      <a:lnTo>
                        <a:pt x="2788" y="786"/>
                      </a:lnTo>
                      <a:lnTo>
                        <a:pt x="2847" y="751"/>
                      </a:lnTo>
                      <a:lnTo>
                        <a:pt x="2907" y="717"/>
                      </a:lnTo>
                      <a:lnTo>
                        <a:pt x="2967" y="684"/>
                      </a:lnTo>
                      <a:lnTo>
                        <a:pt x="3027" y="652"/>
                      </a:lnTo>
                      <a:lnTo>
                        <a:pt x="3088" y="620"/>
                      </a:lnTo>
                      <a:lnTo>
                        <a:pt x="3150" y="589"/>
                      </a:lnTo>
                      <a:lnTo>
                        <a:pt x="3211" y="559"/>
                      </a:lnTo>
                      <a:lnTo>
                        <a:pt x="3273" y="530"/>
                      </a:lnTo>
                      <a:lnTo>
                        <a:pt x="3336" y="501"/>
                      </a:lnTo>
                      <a:lnTo>
                        <a:pt x="3399" y="473"/>
                      </a:lnTo>
                      <a:lnTo>
                        <a:pt x="3462" y="446"/>
                      </a:lnTo>
                      <a:lnTo>
                        <a:pt x="3526" y="419"/>
                      </a:lnTo>
                      <a:lnTo>
                        <a:pt x="3590" y="393"/>
                      </a:lnTo>
                      <a:lnTo>
                        <a:pt x="3655" y="368"/>
                      </a:lnTo>
                      <a:lnTo>
                        <a:pt x="3720" y="344"/>
                      </a:lnTo>
                      <a:lnTo>
                        <a:pt x="3785" y="321"/>
                      </a:lnTo>
                      <a:lnTo>
                        <a:pt x="3851" y="298"/>
                      </a:lnTo>
                      <a:lnTo>
                        <a:pt x="3917" y="276"/>
                      </a:lnTo>
                      <a:lnTo>
                        <a:pt x="3983" y="255"/>
                      </a:lnTo>
                      <a:lnTo>
                        <a:pt x="4050" y="235"/>
                      </a:lnTo>
                      <a:lnTo>
                        <a:pt x="4117" y="215"/>
                      </a:lnTo>
                      <a:lnTo>
                        <a:pt x="4185" y="197"/>
                      </a:lnTo>
                      <a:lnTo>
                        <a:pt x="4252" y="179"/>
                      </a:lnTo>
                      <a:lnTo>
                        <a:pt x="4320" y="162"/>
                      </a:lnTo>
                      <a:lnTo>
                        <a:pt x="4389" y="145"/>
                      </a:lnTo>
                      <a:lnTo>
                        <a:pt x="4458" y="130"/>
                      </a:lnTo>
                      <a:lnTo>
                        <a:pt x="4527" y="115"/>
                      </a:lnTo>
                      <a:lnTo>
                        <a:pt x="4596" y="102"/>
                      </a:lnTo>
                      <a:lnTo>
                        <a:pt x="4666" y="89"/>
                      </a:lnTo>
                      <a:lnTo>
                        <a:pt x="4736" y="77"/>
                      </a:lnTo>
                      <a:lnTo>
                        <a:pt x="4806" y="65"/>
                      </a:lnTo>
                      <a:lnTo>
                        <a:pt x="4876" y="55"/>
                      </a:lnTo>
                      <a:lnTo>
                        <a:pt x="4947" y="46"/>
                      </a:lnTo>
                      <a:lnTo>
                        <a:pt x="5018" y="37"/>
                      </a:lnTo>
                      <a:lnTo>
                        <a:pt x="5090" y="29"/>
                      </a:lnTo>
                      <a:lnTo>
                        <a:pt x="5161" y="23"/>
                      </a:lnTo>
                      <a:lnTo>
                        <a:pt x="5233" y="17"/>
                      </a:lnTo>
                      <a:lnTo>
                        <a:pt x="5305" y="12"/>
                      </a:lnTo>
                      <a:lnTo>
                        <a:pt x="5378" y="8"/>
                      </a:lnTo>
                      <a:lnTo>
                        <a:pt x="5450" y="4"/>
                      </a:lnTo>
                      <a:lnTo>
                        <a:pt x="5523" y="2"/>
                      </a:lnTo>
                      <a:lnTo>
                        <a:pt x="5596" y="1"/>
                      </a:lnTo>
                      <a:lnTo>
                        <a:pt x="5669" y="0"/>
                      </a:lnTo>
                      <a:lnTo>
                        <a:pt x="5669" y="0"/>
                      </a:lnTo>
                      <a:lnTo>
                        <a:pt x="5744" y="1"/>
                      </a:lnTo>
                      <a:lnTo>
                        <a:pt x="5817" y="2"/>
                      </a:lnTo>
                      <a:lnTo>
                        <a:pt x="5890" y="4"/>
                      </a:lnTo>
                      <a:lnTo>
                        <a:pt x="5962" y="8"/>
                      </a:lnTo>
                      <a:lnTo>
                        <a:pt x="6034" y="12"/>
                      </a:lnTo>
                      <a:lnTo>
                        <a:pt x="6107" y="17"/>
                      </a:lnTo>
                      <a:lnTo>
                        <a:pt x="6178" y="23"/>
                      </a:lnTo>
                      <a:lnTo>
                        <a:pt x="6250" y="29"/>
                      </a:lnTo>
                      <a:lnTo>
                        <a:pt x="6321" y="37"/>
                      </a:lnTo>
                      <a:lnTo>
                        <a:pt x="6392" y="46"/>
                      </a:lnTo>
                      <a:lnTo>
                        <a:pt x="6463" y="55"/>
                      </a:lnTo>
                      <a:lnTo>
                        <a:pt x="6534" y="65"/>
                      </a:lnTo>
                      <a:lnTo>
                        <a:pt x="6604" y="77"/>
                      </a:lnTo>
                      <a:lnTo>
                        <a:pt x="6674" y="89"/>
                      </a:lnTo>
                      <a:lnTo>
                        <a:pt x="6744" y="102"/>
                      </a:lnTo>
                      <a:lnTo>
                        <a:pt x="6813" y="115"/>
                      </a:lnTo>
                      <a:lnTo>
                        <a:pt x="6882" y="130"/>
                      </a:lnTo>
                      <a:lnTo>
                        <a:pt x="6951" y="145"/>
                      </a:lnTo>
                      <a:lnTo>
                        <a:pt x="7019" y="162"/>
                      </a:lnTo>
                      <a:lnTo>
                        <a:pt x="7087" y="179"/>
                      </a:lnTo>
                      <a:lnTo>
                        <a:pt x="7155" y="197"/>
                      </a:lnTo>
                      <a:lnTo>
                        <a:pt x="7222" y="215"/>
                      </a:lnTo>
                      <a:lnTo>
                        <a:pt x="7289" y="235"/>
                      </a:lnTo>
                      <a:lnTo>
                        <a:pt x="7356" y="255"/>
                      </a:lnTo>
                      <a:lnTo>
                        <a:pt x="7423" y="276"/>
                      </a:lnTo>
                      <a:lnTo>
                        <a:pt x="7489" y="298"/>
                      </a:lnTo>
                      <a:lnTo>
                        <a:pt x="7554" y="321"/>
                      </a:lnTo>
                      <a:lnTo>
                        <a:pt x="7620" y="344"/>
                      </a:lnTo>
                      <a:lnTo>
                        <a:pt x="7685" y="368"/>
                      </a:lnTo>
                      <a:lnTo>
                        <a:pt x="7749" y="393"/>
                      </a:lnTo>
                      <a:lnTo>
                        <a:pt x="7813" y="419"/>
                      </a:lnTo>
                      <a:lnTo>
                        <a:pt x="7877" y="446"/>
                      </a:lnTo>
                      <a:lnTo>
                        <a:pt x="7940" y="473"/>
                      </a:lnTo>
                      <a:lnTo>
                        <a:pt x="8003" y="501"/>
                      </a:lnTo>
                      <a:lnTo>
                        <a:pt x="8066" y="530"/>
                      </a:lnTo>
                      <a:lnTo>
                        <a:pt x="8128" y="559"/>
                      </a:lnTo>
                      <a:lnTo>
                        <a:pt x="8190" y="589"/>
                      </a:lnTo>
                      <a:lnTo>
                        <a:pt x="8251" y="620"/>
                      </a:lnTo>
                      <a:lnTo>
                        <a:pt x="8312" y="652"/>
                      </a:lnTo>
                      <a:lnTo>
                        <a:pt x="8373" y="684"/>
                      </a:lnTo>
                      <a:lnTo>
                        <a:pt x="8433" y="717"/>
                      </a:lnTo>
                      <a:lnTo>
                        <a:pt x="8492" y="751"/>
                      </a:lnTo>
                      <a:lnTo>
                        <a:pt x="8551" y="786"/>
                      </a:lnTo>
                      <a:lnTo>
                        <a:pt x="8610" y="821"/>
                      </a:lnTo>
                      <a:lnTo>
                        <a:pt x="8668" y="857"/>
                      </a:lnTo>
                      <a:lnTo>
                        <a:pt x="8726" y="893"/>
                      </a:lnTo>
                      <a:lnTo>
                        <a:pt x="8783" y="930"/>
                      </a:lnTo>
                      <a:lnTo>
                        <a:pt x="8840" y="968"/>
                      </a:lnTo>
                      <a:lnTo>
                        <a:pt x="8896" y="1007"/>
                      </a:lnTo>
                      <a:lnTo>
                        <a:pt x="8952" y="1046"/>
                      </a:lnTo>
                      <a:lnTo>
                        <a:pt x="9008" y="1086"/>
                      </a:lnTo>
                      <a:lnTo>
                        <a:pt x="9062" y="1126"/>
                      </a:lnTo>
                      <a:lnTo>
                        <a:pt x="9117" y="1168"/>
                      </a:lnTo>
                      <a:lnTo>
                        <a:pt x="9170" y="1209"/>
                      </a:lnTo>
                      <a:lnTo>
                        <a:pt x="9224" y="1252"/>
                      </a:lnTo>
                      <a:lnTo>
                        <a:pt x="9277" y="1295"/>
                      </a:lnTo>
                      <a:lnTo>
                        <a:pt x="9329" y="1338"/>
                      </a:lnTo>
                      <a:lnTo>
                        <a:pt x="9380" y="1383"/>
                      </a:lnTo>
                      <a:lnTo>
                        <a:pt x="9432" y="1427"/>
                      </a:lnTo>
                      <a:lnTo>
                        <a:pt x="9482" y="1473"/>
                      </a:lnTo>
                      <a:lnTo>
                        <a:pt x="9532" y="1519"/>
                      </a:lnTo>
                      <a:lnTo>
                        <a:pt x="9582" y="1566"/>
                      </a:lnTo>
                      <a:lnTo>
                        <a:pt x="9631" y="1613"/>
                      </a:lnTo>
                      <a:lnTo>
                        <a:pt x="9679" y="1661"/>
                      </a:lnTo>
                      <a:lnTo>
                        <a:pt x="9727" y="1709"/>
                      </a:lnTo>
                      <a:lnTo>
                        <a:pt x="9774" y="1758"/>
                      </a:lnTo>
                      <a:lnTo>
                        <a:pt x="9821" y="1807"/>
                      </a:lnTo>
                      <a:lnTo>
                        <a:pt x="9867" y="1858"/>
                      </a:lnTo>
                      <a:lnTo>
                        <a:pt x="9912" y="1908"/>
                      </a:lnTo>
                      <a:lnTo>
                        <a:pt x="9957" y="1959"/>
                      </a:lnTo>
                      <a:lnTo>
                        <a:pt x="10001" y="2011"/>
                      </a:lnTo>
                      <a:lnTo>
                        <a:pt x="10045" y="2063"/>
                      </a:lnTo>
                      <a:lnTo>
                        <a:pt x="10088" y="2116"/>
                      </a:lnTo>
                      <a:lnTo>
                        <a:pt x="10130" y="2169"/>
                      </a:lnTo>
                      <a:lnTo>
                        <a:pt x="10172" y="2223"/>
                      </a:lnTo>
                      <a:lnTo>
                        <a:pt x="10213" y="2277"/>
                      </a:lnTo>
                      <a:lnTo>
                        <a:pt x="10254" y="2332"/>
                      </a:lnTo>
                      <a:lnTo>
                        <a:pt x="10294" y="2388"/>
                      </a:lnTo>
                      <a:lnTo>
                        <a:pt x="10333" y="2443"/>
                      </a:lnTo>
                      <a:lnTo>
                        <a:pt x="10371" y="2500"/>
                      </a:lnTo>
                      <a:lnTo>
                        <a:pt x="10409" y="2557"/>
                      </a:lnTo>
                      <a:lnTo>
                        <a:pt x="10446" y="2614"/>
                      </a:lnTo>
                      <a:lnTo>
                        <a:pt x="10483" y="2672"/>
                      </a:lnTo>
                      <a:lnTo>
                        <a:pt x="10519" y="2730"/>
                      </a:lnTo>
                      <a:lnTo>
                        <a:pt x="10554" y="2788"/>
                      </a:lnTo>
                      <a:lnTo>
                        <a:pt x="10588" y="2848"/>
                      </a:lnTo>
                      <a:lnTo>
                        <a:pt x="10622" y="2907"/>
                      </a:lnTo>
                      <a:lnTo>
                        <a:pt x="10655" y="2967"/>
                      </a:lnTo>
                      <a:lnTo>
                        <a:pt x="10688" y="3028"/>
                      </a:lnTo>
                      <a:lnTo>
                        <a:pt x="10719" y="3089"/>
                      </a:lnTo>
                      <a:lnTo>
                        <a:pt x="10750" y="3150"/>
                      </a:lnTo>
                      <a:lnTo>
                        <a:pt x="10780" y="3212"/>
                      </a:lnTo>
                      <a:lnTo>
                        <a:pt x="10810" y="3274"/>
                      </a:lnTo>
                      <a:lnTo>
                        <a:pt x="10839" y="3336"/>
                      </a:lnTo>
                      <a:lnTo>
                        <a:pt x="10867" y="3399"/>
                      </a:lnTo>
                      <a:lnTo>
                        <a:pt x="10894" y="3463"/>
                      </a:lnTo>
                      <a:lnTo>
                        <a:pt x="10921" y="3527"/>
                      </a:lnTo>
                      <a:lnTo>
                        <a:pt x="10946" y="3591"/>
                      </a:lnTo>
                      <a:lnTo>
                        <a:pt x="10971" y="3655"/>
                      </a:lnTo>
                      <a:lnTo>
                        <a:pt x="10996" y="3720"/>
                      </a:lnTo>
                      <a:lnTo>
                        <a:pt x="11019" y="3786"/>
                      </a:lnTo>
                      <a:lnTo>
                        <a:pt x="11042" y="3851"/>
                      </a:lnTo>
                      <a:lnTo>
                        <a:pt x="11064" y="3917"/>
                      </a:lnTo>
                      <a:lnTo>
                        <a:pt x="11085" y="3984"/>
                      </a:lnTo>
                      <a:lnTo>
                        <a:pt x="11105" y="4050"/>
                      </a:lnTo>
                      <a:lnTo>
                        <a:pt x="11124" y="4118"/>
                      </a:lnTo>
                      <a:lnTo>
                        <a:pt x="11143" y="4185"/>
                      </a:lnTo>
                      <a:lnTo>
                        <a:pt x="11161" y="4253"/>
                      </a:lnTo>
                      <a:lnTo>
                        <a:pt x="11178" y="4321"/>
                      </a:lnTo>
                      <a:lnTo>
                        <a:pt x="11194" y="4389"/>
                      </a:lnTo>
                      <a:lnTo>
                        <a:pt x="11210" y="4458"/>
                      </a:lnTo>
                      <a:lnTo>
                        <a:pt x="11224" y="4527"/>
                      </a:lnTo>
                      <a:lnTo>
                        <a:pt x="11238" y="4596"/>
                      </a:lnTo>
                      <a:lnTo>
                        <a:pt x="11251" y="4666"/>
                      </a:lnTo>
                      <a:lnTo>
                        <a:pt x="11263" y="4736"/>
                      </a:lnTo>
                      <a:lnTo>
                        <a:pt x="11274" y="4806"/>
                      </a:lnTo>
                      <a:lnTo>
                        <a:pt x="11285" y="4877"/>
                      </a:lnTo>
                      <a:lnTo>
                        <a:pt x="11294" y="4948"/>
                      </a:lnTo>
                      <a:lnTo>
                        <a:pt x="11303" y="5019"/>
                      </a:lnTo>
                      <a:lnTo>
                        <a:pt x="11310" y="5090"/>
                      </a:lnTo>
                      <a:lnTo>
                        <a:pt x="11317" y="5162"/>
                      </a:lnTo>
                      <a:lnTo>
                        <a:pt x="11323" y="5233"/>
                      </a:lnTo>
                      <a:lnTo>
                        <a:pt x="11328" y="5306"/>
                      </a:lnTo>
                      <a:lnTo>
                        <a:pt x="11332" y="5378"/>
                      </a:lnTo>
                      <a:lnTo>
                        <a:pt x="11335" y="5451"/>
                      </a:lnTo>
                      <a:lnTo>
                        <a:pt x="11338" y="5523"/>
                      </a:lnTo>
                      <a:lnTo>
                        <a:pt x="11339" y="5596"/>
                      </a:lnTo>
                      <a:lnTo>
                        <a:pt x="11340" y="5671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61" tIns="45731" rIns="91461" bIns="4573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545" name="Freeform 8">
                  <a:extLst>
                    <a:ext uri="{FF2B5EF4-FFF2-40B4-BE49-F238E27FC236}">
                      <a16:creationId xmlns:a16="http://schemas.microsoft.com/office/drawing/2014/main" id="{D2477268-9768-4B85-B550-A56ECB577B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510" y="1566"/>
                  <a:ext cx="1615" cy="1653"/>
                </a:xfrm>
                <a:custGeom>
                  <a:avLst/>
                  <a:gdLst/>
                  <a:ahLst/>
                  <a:cxnLst>
                    <a:cxn ang="0">
                      <a:pos x="4319" y="2213"/>
                    </a:cxn>
                    <a:cxn ang="0">
                      <a:pos x="4796" y="1894"/>
                    </a:cxn>
                    <a:cxn ang="0">
                      <a:pos x="4876" y="1759"/>
                    </a:cxn>
                    <a:cxn ang="0">
                      <a:pos x="4526" y="1075"/>
                    </a:cxn>
                    <a:cxn ang="0">
                      <a:pos x="4005" y="1264"/>
                    </a:cxn>
                    <a:cxn ang="0">
                      <a:pos x="3815" y="1225"/>
                    </a:cxn>
                    <a:cxn ang="0">
                      <a:pos x="3367" y="807"/>
                    </a:cxn>
                    <a:cxn ang="0">
                      <a:pos x="3456" y="245"/>
                    </a:cxn>
                    <a:cxn ang="0">
                      <a:pos x="2745" y="3"/>
                    </a:cxn>
                    <a:cxn ang="0">
                      <a:pos x="2590" y="70"/>
                    </a:cxn>
                    <a:cxn ang="0">
                      <a:pos x="2416" y="615"/>
                    </a:cxn>
                    <a:cxn ang="0">
                      <a:pos x="1822" y="774"/>
                    </a:cxn>
                    <a:cxn ang="0">
                      <a:pos x="1644" y="700"/>
                    </a:cxn>
                    <a:cxn ang="0">
                      <a:pos x="1252" y="324"/>
                    </a:cxn>
                    <a:cxn ang="0">
                      <a:pos x="653" y="807"/>
                    </a:cxn>
                    <a:cxn ang="0">
                      <a:pos x="942" y="1274"/>
                    </a:cxn>
                    <a:cxn ang="0">
                      <a:pos x="960" y="1467"/>
                    </a:cxn>
                    <a:cxn ang="0">
                      <a:pos x="660" y="2003"/>
                    </a:cxn>
                    <a:cxn ang="0">
                      <a:pos x="90" y="2042"/>
                    </a:cxn>
                    <a:cxn ang="0">
                      <a:pos x="0" y="2797"/>
                    </a:cxn>
                    <a:cxn ang="0">
                      <a:pos x="86" y="2927"/>
                    </a:cxn>
                    <a:cxn ang="0">
                      <a:pos x="656" y="2972"/>
                    </a:cxn>
                    <a:cxn ang="0">
                      <a:pos x="952" y="3509"/>
                    </a:cxn>
                    <a:cxn ang="0">
                      <a:pos x="932" y="3702"/>
                    </a:cxn>
                    <a:cxn ang="0">
                      <a:pos x="640" y="4167"/>
                    </a:cxn>
                    <a:cxn ang="0">
                      <a:pos x="1235" y="4655"/>
                    </a:cxn>
                    <a:cxn ang="0">
                      <a:pos x="1630" y="4283"/>
                    </a:cxn>
                    <a:cxn ang="0">
                      <a:pos x="1809" y="4210"/>
                    </a:cxn>
                    <a:cxn ang="0">
                      <a:pos x="2403" y="4373"/>
                    </a:cxn>
                    <a:cxn ang="0">
                      <a:pos x="2574" y="4919"/>
                    </a:cxn>
                    <a:cxn ang="0">
                      <a:pos x="2728" y="4987"/>
                    </a:cxn>
                    <a:cxn ang="0">
                      <a:pos x="3441" y="4750"/>
                    </a:cxn>
                    <a:cxn ang="0">
                      <a:pos x="3356" y="4187"/>
                    </a:cxn>
                    <a:cxn ang="0">
                      <a:pos x="3806" y="3773"/>
                    </a:cxn>
                    <a:cxn ang="0">
                      <a:pos x="3997" y="3735"/>
                    </a:cxn>
                    <a:cxn ang="0">
                      <a:pos x="4516" y="3927"/>
                    </a:cxn>
                    <a:cxn ang="0">
                      <a:pos x="4871" y="3245"/>
                    </a:cxn>
                    <a:cxn ang="0">
                      <a:pos x="4421" y="2930"/>
                    </a:cxn>
                    <a:cxn ang="0">
                      <a:pos x="4317" y="2787"/>
                    </a:cxn>
                    <a:cxn ang="0">
                      <a:pos x="3788" y="2500"/>
                    </a:cxn>
                    <a:cxn ang="0">
                      <a:pos x="3728" y="2887"/>
                    </a:cxn>
                    <a:cxn ang="0">
                      <a:pos x="3545" y="3252"/>
                    </a:cxn>
                    <a:cxn ang="0">
                      <a:pos x="3261" y="3541"/>
                    </a:cxn>
                    <a:cxn ang="0">
                      <a:pos x="2899" y="3730"/>
                    </a:cxn>
                    <a:cxn ang="0">
                      <a:pos x="2481" y="3796"/>
                    </a:cxn>
                    <a:cxn ang="0">
                      <a:pos x="2093" y="3736"/>
                    </a:cxn>
                    <a:cxn ang="0">
                      <a:pos x="1728" y="3553"/>
                    </a:cxn>
                    <a:cxn ang="0">
                      <a:pos x="1439" y="3269"/>
                    </a:cxn>
                    <a:cxn ang="0">
                      <a:pos x="1250" y="2907"/>
                    </a:cxn>
                    <a:cxn ang="0">
                      <a:pos x="1184" y="2490"/>
                    </a:cxn>
                    <a:cxn ang="0">
                      <a:pos x="1244" y="2102"/>
                    </a:cxn>
                    <a:cxn ang="0">
                      <a:pos x="1427" y="1736"/>
                    </a:cxn>
                    <a:cxn ang="0">
                      <a:pos x="1711" y="1448"/>
                    </a:cxn>
                    <a:cxn ang="0">
                      <a:pos x="2073" y="1259"/>
                    </a:cxn>
                    <a:cxn ang="0">
                      <a:pos x="2492" y="1192"/>
                    </a:cxn>
                    <a:cxn ang="0">
                      <a:pos x="2878" y="1252"/>
                    </a:cxn>
                    <a:cxn ang="0">
                      <a:pos x="3244" y="1435"/>
                    </a:cxn>
                    <a:cxn ang="0">
                      <a:pos x="3532" y="1719"/>
                    </a:cxn>
                    <a:cxn ang="0">
                      <a:pos x="3721" y="2081"/>
                    </a:cxn>
                    <a:cxn ang="0">
                      <a:pos x="3788" y="2500"/>
                    </a:cxn>
                  </a:cxnLst>
                  <a:rect l="0" t="0" r="r" b="b"/>
                  <a:pathLst>
                    <a:path w="4876" h="4990">
                      <a:moveTo>
                        <a:pt x="4332" y="2502"/>
                      </a:moveTo>
                      <a:lnTo>
                        <a:pt x="4332" y="2502"/>
                      </a:lnTo>
                      <a:lnTo>
                        <a:pt x="4331" y="2455"/>
                      </a:lnTo>
                      <a:lnTo>
                        <a:pt x="4329" y="2412"/>
                      </a:lnTo>
                      <a:lnTo>
                        <a:pt x="4327" y="2373"/>
                      </a:lnTo>
                      <a:lnTo>
                        <a:pt x="4324" y="2340"/>
                      </a:lnTo>
                      <a:lnTo>
                        <a:pt x="4319" y="2291"/>
                      </a:lnTo>
                      <a:lnTo>
                        <a:pt x="4317" y="2273"/>
                      </a:lnTo>
                      <a:lnTo>
                        <a:pt x="4317" y="2273"/>
                      </a:lnTo>
                      <a:lnTo>
                        <a:pt x="4315" y="2258"/>
                      </a:lnTo>
                      <a:lnTo>
                        <a:pt x="4315" y="2243"/>
                      </a:lnTo>
                      <a:lnTo>
                        <a:pt x="4317" y="2228"/>
                      </a:lnTo>
                      <a:lnTo>
                        <a:pt x="4319" y="2213"/>
                      </a:lnTo>
                      <a:lnTo>
                        <a:pt x="4323" y="2199"/>
                      </a:lnTo>
                      <a:lnTo>
                        <a:pt x="4327" y="2184"/>
                      </a:lnTo>
                      <a:lnTo>
                        <a:pt x="4333" y="2170"/>
                      </a:lnTo>
                      <a:lnTo>
                        <a:pt x="4340" y="2156"/>
                      </a:lnTo>
                      <a:lnTo>
                        <a:pt x="4348" y="2142"/>
                      </a:lnTo>
                      <a:lnTo>
                        <a:pt x="4356" y="2130"/>
                      </a:lnTo>
                      <a:lnTo>
                        <a:pt x="4366" y="2117"/>
                      </a:lnTo>
                      <a:lnTo>
                        <a:pt x="4376" y="2106"/>
                      </a:lnTo>
                      <a:lnTo>
                        <a:pt x="4387" y="2096"/>
                      </a:lnTo>
                      <a:lnTo>
                        <a:pt x="4399" y="2087"/>
                      </a:lnTo>
                      <a:lnTo>
                        <a:pt x="4411" y="2078"/>
                      </a:lnTo>
                      <a:lnTo>
                        <a:pt x="4424" y="2071"/>
                      </a:lnTo>
                      <a:lnTo>
                        <a:pt x="4796" y="1894"/>
                      </a:lnTo>
                      <a:lnTo>
                        <a:pt x="4796" y="1894"/>
                      </a:lnTo>
                      <a:lnTo>
                        <a:pt x="4809" y="1887"/>
                      </a:lnTo>
                      <a:lnTo>
                        <a:pt x="4820" y="1879"/>
                      </a:lnTo>
                      <a:lnTo>
                        <a:pt x="4831" y="1870"/>
                      </a:lnTo>
                      <a:lnTo>
                        <a:pt x="4841" y="1860"/>
                      </a:lnTo>
                      <a:lnTo>
                        <a:pt x="4849" y="1849"/>
                      </a:lnTo>
                      <a:lnTo>
                        <a:pt x="4857" y="1838"/>
                      </a:lnTo>
                      <a:lnTo>
                        <a:pt x="4863" y="1826"/>
                      </a:lnTo>
                      <a:lnTo>
                        <a:pt x="4868" y="1813"/>
                      </a:lnTo>
                      <a:lnTo>
                        <a:pt x="4872" y="1800"/>
                      </a:lnTo>
                      <a:lnTo>
                        <a:pt x="4875" y="1787"/>
                      </a:lnTo>
                      <a:lnTo>
                        <a:pt x="4876" y="1773"/>
                      </a:lnTo>
                      <a:lnTo>
                        <a:pt x="4876" y="1759"/>
                      </a:lnTo>
                      <a:lnTo>
                        <a:pt x="4875" y="1746"/>
                      </a:lnTo>
                      <a:lnTo>
                        <a:pt x="4872" y="1732"/>
                      </a:lnTo>
                      <a:lnTo>
                        <a:pt x="4868" y="1718"/>
                      </a:lnTo>
                      <a:lnTo>
                        <a:pt x="4863" y="1705"/>
                      </a:lnTo>
                      <a:lnTo>
                        <a:pt x="4595" y="1142"/>
                      </a:lnTo>
                      <a:lnTo>
                        <a:pt x="4595" y="1142"/>
                      </a:lnTo>
                      <a:lnTo>
                        <a:pt x="4588" y="1130"/>
                      </a:lnTo>
                      <a:lnTo>
                        <a:pt x="4580" y="1118"/>
                      </a:lnTo>
                      <a:lnTo>
                        <a:pt x="4571" y="1107"/>
                      </a:lnTo>
                      <a:lnTo>
                        <a:pt x="4561" y="1097"/>
                      </a:lnTo>
                      <a:lnTo>
                        <a:pt x="4550" y="1089"/>
                      </a:lnTo>
                      <a:lnTo>
                        <a:pt x="4539" y="1081"/>
                      </a:lnTo>
                      <a:lnTo>
                        <a:pt x="4526" y="1075"/>
                      </a:lnTo>
                      <a:lnTo>
                        <a:pt x="4514" y="1070"/>
                      </a:lnTo>
                      <a:lnTo>
                        <a:pt x="4501" y="1066"/>
                      </a:lnTo>
                      <a:lnTo>
                        <a:pt x="4487" y="1063"/>
                      </a:lnTo>
                      <a:lnTo>
                        <a:pt x="4474" y="1062"/>
                      </a:lnTo>
                      <a:lnTo>
                        <a:pt x="4460" y="1062"/>
                      </a:lnTo>
                      <a:lnTo>
                        <a:pt x="4446" y="1063"/>
                      </a:lnTo>
                      <a:lnTo>
                        <a:pt x="4433" y="1066"/>
                      </a:lnTo>
                      <a:lnTo>
                        <a:pt x="4419" y="1070"/>
                      </a:lnTo>
                      <a:lnTo>
                        <a:pt x="4406" y="1075"/>
                      </a:lnTo>
                      <a:lnTo>
                        <a:pt x="4033" y="1253"/>
                      </a:lnTo>
                      <a:lnTo>
                        <a:pt x="4033" y="1253"/>
                      </a:lnTo>
                      <a:lnTo>
                        <a:pt x="4019" y="1259"/>
                      </a:lnTo>
                      <a:lnTo>
                        <a:pt x="4005" y="1264"/>
                      </a:lnTo>
                      <a:lnTo>
                        <a:pt x="3990" y="1267"/>
                      </a:lnTo>
                      <a:lnTo>
                        <a:pt x="3975" y="1269"/>
                      </a:lnTo>
                      <a:lnTo>
                        <a:pt x="3960" y="1271"/>
                      </a:lnTo>
                      <a:lnTo>
                        <a:pt x="3944" y="1271"/>
                      </a:lnTo>
                      <a:lnTo>
                        <a:pt x="3928" y="1270"/>
                      </a:lnTo>
                      <a:lnTo>
                        <a:pt x="3913" y="1267"/>
                      </a:lnTo>
                      <a:lnTo>
                        <a:pt x="3897" y="1264"/>
                      </a:lnTo>
                      <a:lnTo>
                        <a:pt x="3882" y="1260"/>
                      </a:lnTo>
                      <a:lnTo>
                        <a:pt x="3867" y="1255"/>
                      </a:lnTo>
                      <a:lnTo>
                        <a:pt x="3853" y="1249"/>
                      </a:lnTo>
                      <a:lnTo>
                        <a:pt x="3839" y="1242"/>
                      </a:lnTo>
                      <a:lnTo>
                        <a:pt x="3827" y="1234"/>
                      </a:lnTo>
                      <a:lnTo>
                        <a:pt x="3815" y="1225"/>
                      </a:lnTo>
                      <a:lnTo>
                        <a:pt x="3804" y="1215"/>
                      </a:lnTo>
                      <a:lnTo>
                        <a:pt x="3451" y="932"/>
                      </a:lnTo>
                      <a:lnTo>
                        <a:pt x="3451" y="932"/>
                      </a:lnTo>
                      <a:lnTo>
                        <a:pt x="3439" y="924"/>
                      </a:lnTo>
                      <a:lnTo>
                        <a:pt x="3428" y="914"/>
                      </a:lnTo>
                      <a:lnTo>
                        <a:pt x="3417" y="903"/>
                      </a:lnTo>
                      <a:lnTo>
                        <a:pt x="3407" y="891"/>
                      </a:lnTo>
                      <a:lnTo>
                        <a:pt x="3398" y="879"/>
                      </a:lnTo>
                      <a:lnTo>
                        <a:pt x="3390" y="865"/>
                      </a:lnTo>
                      <a:lnTo>
                        <a:pt x="3383" y="852"/>
                      </a:lnTo>
                      <a:lnTo>
                        <a:pt x="3376" y="837"/>
                      </a:lnTo>
                      <a:lnTo>
                        <a:pt x="3371" y="822"/>
                      </a:lnTo>
                      <a:lnTo>
                        <a:pt x="3367" y="807"/>
                      </a:lnTo>
                      <a:lnTo>
                        <a:pt x="3363" y="792"/>
                      </a:lnTo>
                      <a:lnTo>
                        <a:pt x="3361" y="777"/>
                      </a:lnTo>
                      <a:lnTo>
                        <a:pt x="3360" y="761"/>
                      </a:lnTo>
                      <a:lnTo>
                        <a:pt x="3360" y="746"/>
                      </a:lnTo>
                      <a:lnTo>
                        <a:pt x="3362" y="731"/>
                      </a:lnTo>
                      <a:lnTo>
                        <a:pt x="3364" y="717"/>
                      </a:lnTo>
                      <a:lnTo>
                        <a:pt x="3458" y="314"/>
                      </a:lnTo>
                      <a:lnTo>
                        <a:pt x="3458" y="314"/>
                      </a:lnTo>
                      <a:lnTo>
                        <a:pt x="3460" y="300"/>
                      </a:lnTo>
                      <a:lnTo>
                        <a:pt x="3461" y="286"/>
                      </a:lnTo>
                      <a:lnTo>
                        <a:pt x="3461" y="272"/>
                      </a:lnTo>
                      <a:lnTo>
                        <a:pt x="3459" y="258"/>
                      </a:lnTo>
                      <a:lnTo>
                        <a:pt x="3456" y="245"/>
                      </a:lnTo>
                      <a:lnTo>
                        <a:pt x="3452" y="232"/>
                      </a:lnTo>
                      <a:lnTo>
                        <a:pt x="3447" y="219"/>
                      </a:lnTo>
                      <a:lnTo>
                        <a:pt x="3440" y="207"/>
                      </a:lnTo>
                      <a:lnTo>
                        <a:pt x="3432" y="196"/>
                      </a:lnTo>
                      <a:lnTo>
                        <a:pt x="3423" y="186"/>
                      </a:lnTo>
                      <a:lnTo>
                        <a:pt x="3414" y="176"/>
                      </a:lnTo>
                      <a:lnTo>
                        <a:pt x="3403" y="168"/>
                      </a:lnTo>
                      <a:lnTo>
                        <a:pt x="3391" y="160"/>
                      </a:lnTo>
                      <a:lnTo>
                        <a:pt x="3379" y="153"/>
                      </a:lnTo>
                      <a:lnTo>
                        <a:pt x="3366" y="148"/>
                      </a:lnTo>
                      <a:lnTo>
                        <a:pt x="3352" y="144"/>
                      </a:lnTo>
                      <a:lnTo>
                        <a:pt x="2745" y="3"/>
                      </a:lnTo>
                      <a:lnTo>
                        <a:pt x="2745" y="3"/>
                      </a:lnTo>
                      <a:lnTo>
                        <a:pt x="2730" y="1"/>
                      </a:lnTo>
                      <a:lnTo>
                        <a:pt x="2716" y="0"/>
                      </a:lnTo>
                      <a:lnTo>
                        <a:pt x="2702" y="0"/>
                      </a:lnTo>
                      <a:lnTo>
                        <a:pt x="2688" y="2"/>
                      </a:lnTo>
                      <a:lnTo>
                        <a:pt x="2675" y="5"/>
                      </a:lnTo>
                      <a:lnTo>
                        <a:pt x="2662" y="9"/>
                      </a:lnTo>
                      <a:lnTo>
                        <a:pt x="2649" y="15"/>
                      </a:lnTo>
                      <a:lnTo>
                        <a:pt x="2638" y="21"/>
                      </a:lnTo>
                      <a:lnTo>
                        <a:pt x="2626" y="29"/>
                      </a:lnTo>
                      <a:lnTo>
                        <a:pt x="2616" y="38"/>
                      </a:lnTo>
                      <a:lnTo>
                        <a:pt x="2606" y="48"/>
                      </a:lnTo>
                      <a:lnTo>
                        <a:pt x="2598" y="58"/>
                      </a:lnTo>
                      <a:lnTo>
                        <a:pt x="2590" y="70"/>
                      </a:lnTo>
                      <a:lnTo>
                        <a:pt x="2584" y="82"/>
                      </a:lnTo>
                      <a:lnTo>
                        <a:pt x="2578" y="96"/>
                      </a:lnTo>
                      <a:lnTo>
                        <a:pt x="2574" y="110"/>
                      </a:lnTo>
                      <a:lnTo>
                        <a:pt x="2481" y="512"/>
                      </a:lnTo>
                      <a:lnTo>
                        <a:pt x="2481" y="512"/>
                      </a:lnTo>
                      <a:lnTo>
                        <a:pt x="2477" y="526"/>
                      </a:lnTo>
                      <a:lnTo>
                        <a:pt x="2472" y="540"/>
                      </a:lnTo>
                      <a:lnTo>
                        <a:pt x="2465" y="554"/>
                      </a:lnTo>
                      <a:lnTo>
                        <a:pt x="2457" y="567"/>
                      </a:lnTo>
                      <a:lnTo>
                        <a:pt x="2448" y="580"/>
                      </a:lnTo>
                      <a:lnTo>
                        <a:pt x="2438" y="592"/>
                      </a:lnTo>
                      <a:lnTo>
                        <a:pt x="2428" y="604"/>
                      </a:lnTo>
                      <a:lnTo>
                        <a:pt x="2416" y="615"/>
                      </a:lnTo>
                      <a:lnTo>
                        <a:pt x="2404" y="625"/>
                      </a:lnTo>
                      <a:lnTo>
                        <a:pt x="2392" y="634"/>
                      </a:lnTo>
                      <a:lnTo>
                        <a:pt x="2378" y="643"/>
                      </a:lnTo>
                      <a:lnTo>
                        <a:pt x="2365" y="650"/>
                      </a:lnTo>
                      <a:lnTo>
                        <a:pt x="2351" y="656"/>
                      </a:lnTo>
                      <a:lnTo>
                        <a:pt x="2336" y="661"/>
                      </a:lnTo>
                      <a:lnTo>
                        <a:pt x="2322" y="665"/>
                      </a:lnTo>
                      <a:lnTo>
                        <a:pt x="2308" y="668"/>
                      </a:lnTo>
                      <a:lnTo>
                        <a:pt x="1866" y="766"/>
                      </a:lnTo>
                      <a:lnTo>
                        <a:pt x="1866" y="766"/>
                      </a:lnTo>
                      <a:lnTo>
                        <a:pt x="1852" y="770"/>
                      </a:lnTo>
                      <a:lnTo>
                        <a:pt x="1837" y="772"/>
                      </a:lnTo>
                      <a:lnTo>
                        <a:pt x="1822" y="774"/>
                      </a:lnTo>
                      <a:lnTo>
                        <a:pt x="1807" y="774"/>
                      </a:lnTo>
                      <a:lnTo>
                        <a:pt x="1792" y="774"/>
                      </a:lnTo>
                      <a:lnTo>
                        <a:pt x="1776" y="772"/>
                      </a:lnTo>
                      <a:lnTo>
                        <a:pt x="1761" y="769"/>
                      </a:lnTo>
                      <a:lnTo>
                        <a:pt x="1745" y="765"/>
                      </a:lnTo>
                      <a:lnTo>
                        <a:pt x="1730" y="760"/>
                      </a:lnTo>
                      <a:lnTo>
                        <a:pt x="1716" y="754"/>
                      </a:lnTo>
                      <a:lnTo>
                        <a:pt x="1702" y="747"/>
                      </a:lnTo>
                      <a:lnTo>
                        <a:pt x="1689" y="739"/>
                      </a:lnTo>
                      <a:lnTo>
                        <a:pt x="1676" y="730"/>
                      </a:lnTo>
                      <a:lnTo>
                        <a:pt x="1664" y="721"/>
                      </a:lnTo>
                      <a:lnTo>
                        <a:pt x="1654" y="711"/>
                      </a:lnTo>
                      <a:lnTo>
                        <a:pt x="1644" y="700"/>
                      </a:lnTo>
                      <a:lnTo>
                        <a:pt x="1387" y="375"/>
                      </a:lnTo>
                      <a:lnTo>
                        <a:pt x="1387" y="375"/>
                      </a:lnTo>
                      <a:lnTo>
                        <a:pt x="1378" y="365"/>
                      </a:lnTo>
                      <a:lnTo>
                        <a:pt x="1368" y="355"/>
                      </a:lnTo>
                      <a:lnTo>
                        <a:pt x="1356" y="346"/>
                      </a:lnTo>
                      <a:lnTo>
                        <a:pt x="1345" y="339"/>
                      </a:lnTo>
                      <a:lnTo>
                        <a:pt x="1332" y="333"/>
                      </a:lnTo>
                      <a:lnTo>
                        <a:pt x="1319" y="328"/>
                      </a:lnTo>
                      <a:lnTo>
                        <a:pt x="1306" y="325"/>
                      </a:lnTo>
                      <a:lnTo>
                        <a:pt x="1293" y="323"/>
                      </a:lnTo>
                      <a:lnTo>
                        <a:pt x="1279" y="322"/>
                      </a:lnTo>
                      <a:lnTo>
                        <a:pt x="1265" y="322"/>
                      </a:lnTo>
                      <a:lnTo>
                        <a:pt x="1252" y="324"/>
                      </a:lnTo>
                      <a:lnTo>
                        <a:pt x="1238" y="327"/>
                      </a:lnTo>
                      <a:lnTo>
                        <a:pt x="1225" y="331"/>
                      </a:lnTo>
                      <a:lnTo>
                        <a:pt x="1213" y="337"/>
                      </a:lnTo>
                      <a:lnTo>
                        <a:pt x="1200" y="344"/>
                      </a:lnTo>
                      <a:lnTo>
                        <a:pt x="1188" y="352"/>
                      </a:lnTo>
                      <a:lnTo>
                        <a:pt x="700" y="739"/>
                      </a:lnTo>
                      <a:lnTo>
                        <a:pt x="700" y="739"/>
                      </a:lnTo>
                      <a:lnTo>
                        <a:pt x="689" y="748"/>
                      </a:lnTo>
                      <a:lnTo>
                        <a:pt x="679" y="759"/>
                      </a:lnTo>
                      <a:lnTo>
                        <a:pt x="671" y="770"/>
                      </a:lnTo>
                      <a:lnTo>
                        <a:pt x="664" y="782"/>
                      </a:lnTo>
                      <a:lnTo>
                        <a:pt x="658" y="794"/>
                      </a:lnTo>
                      <a:lnTo>
                        <a:pt x="653" y="807"/>
                      </a:lnTo>
                      <a:lnTo>
                        <a:pt x="649" y="820"/>
                      </a:lnTo>
                      <a:lnTo>
                        <a:pt x="647" y="834"/>
                      </a:lnTo>
                      <a:lnTo>
                        <a:pt x="646" y="847"/>
                      </a:lnTo>
                      <a:lnTo>
                        <a:pt x="647" y="861"/>
                      </a:lnTo>
                      <a:lnTo>
                        <a:pt x="648" y="874"/>
                      </a:lnTo>
                      <a:lnTo>
                        <a:pt x="651" y="888"/>
                      </a:lnTo>
                      <a:lnTo>
                        <a:pt x="656" y="901"/>
                      </a:lnTo>
                      <a:lnTo>
                        <a:pt x="661" y="914"/>
                      </a:lnTo>
                      <a:lnTo>
                        <a:pt x="668" y="926"/>
                      </a:lnTo>
                      <a:lnTo>
                        <a:pt x="677" y="938"/>
                      </a:lnTo>
                      <a:lnTo>
                        <a:pt x="933" y="1262"/>
                      </a:lnTo>
                      <a:lnTo>
                        <a:pt x="933" y="1262"/>
                      </a:lnTo>
                      <a:lnTo>
                        <a:pt x="942" y="1274"/>
                      </a:lnTo>
                      <a:lnTo>
                        <a:pt x="950" y="1287"/>
                      </a:lnTo>
                      <a:lnTo>
                        <a:pt x="956" y="1301"/>
                      </a:lnTo>
                      <a:lnTo>
                        <a:pt x="962" y="1315"/>
                      </a:lnTo>
                      <a:lnTo>
                        <a:pt x="966" y="1330"/>
                      </a:lnTo>
                      <a:lnTo>
                        <a:pt x="970" y="1345"/>
                      </a:lnTo>
                      <a:lnTo>
                        <a:pt x="972" y="1361"/>
                      </a:lnTo>
                      <a:lnTo>
                        <a:pt x="974" y="1376"/>
                      </a:lnTo>
                      <a:lnTo>
                        <a:pt x="974" y="1392"/>
                      </a:lnTo>
                      <a:lnTo>
                        <a:pt x="973" y="1408"/>
                      </a:lnTo>
                      <a:lnTo>
                        <a:pt x="971" y="1423"/>
                      </a:lnTo>
                      <a:lnTo>
                        <a:pt x="969" y="1438"/>
                      </a:lnTo>
                      <a:lnTo>
                        <a:pt x="965" y="1453"/>
                      </a:lnTo>
                      <a:lnTo>
                        <a:pt x="960" y="1467"/>
                      </a:lnTo>
                      <a:lnTo>
                        <a:pt x="954" y="1481"/>
                      </a:lnTo>
                      <a:lnTo>
                        <a:pt x="947" y="1494"/>
                      </a:lnTo>
                      <a:lnTo>
                        <a:pt x="749" y="1901"/>
                      </a:lnTo>
                      <a:lnTo>
                        <a:pt x="749" y="1901"/>
                      </a:lnTo>
                      <a:lnTo>
                        <a:pt x="744" y="1914"/>
                      </a:lnTo>
                      <a:lnTo>
                        <a:pt x="737" y="1927"/>
                      </a:lnTo>
                      <a:lnTo>
                        <a:pt x="728" y="1940"/>
                      </a:lnTo>
                      <a:lnTo>
                        <a:pt x="719" y="1952"/>
                      </a:lnTo>
                      <a:lnTo>
                        <a:pt x="709" y="1964"/>
                      </a:lnTo>
                      <a:lnTo>
                        <a:pt x="698" y="1975"/>
                      </a:lnTo>
                      <a:lnTo>
                        <a:pt x="686" y="1985"/>
                      </a:lnTo>
                      <a:lnTo>
                        <a:pt x="673" y="1994"/>
                      </a:lnTo>
                      <a:lnTo>
                        <a:pt x="660" y="2003"/>
                      </a:lnTo>
                      <a:lnTo>
                        <a:pt x="646" y="2010"/>
                      </a:lnTo>
                      <a:lnTo>
                        <a:pt x="632" y="2017"/>
                      </a:lnTo>
                      <a:lnTo>
                        <a:pt x="617" y="2023"/>
                      </a:lnTo>
                      <a:lnTo>
                        <a:pt x="603" y="2027"/>
                      </a:lnTo>
                      <a:lnTo>
                        <a:pt x="588" y="2030"/>
                      </a:lnTo>
                      <a:lnTo>
                        <a:pt x="573" y="2032"/>
                      </a:lnTo>
                      <a:lnTo>
                        <a:pt x="558" y="2033"/>
                      </a:lnTo>
                      <a:lnTo>
                        <a:pt x="145" y="2031"/>
                      </a:lnTo>
                      <a:lnTo>
                        <a:pt x="145" y="2031"/>
                      </a:lnTo>
                      <a:lnTo>
                        <a:pt x="130" y="2032"/>
                      </a:lnTo>
                      <a:lnTo>
                        <a:pt x="116" y="2034"/>
                      </a:lnTo>
                      <a:lnTo>
                        <a:pt x="103" y="2037"/>
                      </a:lnTo>
                      <a:lnTo>
                        <a:pt x="90" y="2042"/>
                      </a:lnTo>
                      <a:lnTo>
                        <a:pt x="77" y="2048"/>
                      </a:lnTo>
                      <a:lnTo>
                        <a:pt x="65" y="2055"/>
                      </a:lnTo>
                      <a:lnTo>
                        <a:pt x="55" y="2063"/>
                      </a:lnTo>
                      <a:lnTo>
                        <a:pt x="44" y="2072"/>
                      </a:lnTo>
                      <a:lnTo>
                        <a:pt x="35" y="2083"/>
                      </a:lnTo>
                      <a:lnTo>
                        <a:pt x="27" y="2093"/>
                      </a:lnTo>
                      <a:lnTo>
                        <a:pt x="20" y="2105"/>
                      </a:lnTo>
                      <a:lnTo>
                        <a:pt x="14" y="2117"/>
                      </a:lnTo>
                      <a:lnTo>
                        <a:pt x="9" y="2130"/>
                      </a:lnTo>
                      <a:lnTo>
                        <a:pt x="5" y="2144"/>
                      </a:lnTo>
                      <a:lnTo>
                        <a:pt x="3" y="2158"/>
                      </a:lnTo>
                      <a:lnTo>
                        <a:pt x="2" y="2172"/>
                      </a:lnTo>
                      <a:lnTo>
                        <a:pt x="0" y="2797"/>
                      </a:lnTo>
                      <a:lnTo>
                        <a:pt x="0" y="2797"/>
                      </a:lnTo>
                      <a:lnTo>
                        <a:pt x="1" y="2811"/>
                      </a:lnTo>
                      <a:lnTo>
                        <a:pt x="3" y="2825"/>
                      </a:lnTo>
                      <a:lnTo>
                        <a:pt x="6" y="2839"/>
                      </a:lnTo>
                      <a:lnTo>
                        <a:pt x="11" y="2852"/>
                      </a:lnTo>
                      <a:lnTo>
                        <a:pt x="17" y="2864"/>
                      </a:lnTo>
                      <a:lnTo>
                        <a:pt x="24" y="2876"/>
                      </a:lnTo>
                      <a:lnTo>
                        <a:pt x="32" y="2887"/>
                      </a:lnTo>
                      <a:lnTo>
                        <a:pt x="41" y="2897"/>
                      </a:lnTo>
                      <a:lnTo>
                        <a:pt x="51" y="2906"/>
                      </a:lnTo>
                      <a:lnTo>
                        <a:pt x="62" y="2914"/>
                      </a:lnTo>
                      <a:lnTo>
                        <a:pt x="74" y="2921"/>
                      </a:lnTo>
                      <a:lnTo>
                        <a:pt x="86" y="2927"/>
                      </a:lnTo>
                      <a:lnTo>
                        <a:pt x="99" y="2932"/>
                      </a:lnTo>
                      <a:lnTo>
                        <a:pt x="113" y="2936"/>
                      </a:lnTo>
                      <a:lnTo>
                        <a:pt x="127" y="2938"/>
                      </a:lnTo>
                      <a:lnTo>
                        <a:pt x="141" y="2939"/>
                      </a:lnTo>
                      <a:lnTo>
                        <a:pt x="555" y="2941"/>
                      </a:lnTo>
                      <a:lnTo>
                        <a:pt x="555" y="2941"/>
                      </a:lnTo>
                      <a:lnTo>
                        <a:pt x="570" y="2941"/>
                      </a:lnTo>
                      <a:lnTo>
                        <a:pt x="584" y="2944"/>
                      </a:lnTo>
                      <a:lnTo>
                        <a:pt x="599" y="2947"/>
                      </a:lnTo>
                      <a:lnTo>
                        <a:pt x="614" y="2951"/>
                      </a:lnTo>
                      <a:lnTo>
                        <a:pt x="628" y="2957"/>
                      </a:lnTo>
                      <a:lnTo>
                        <a:pt x="642" y="2964"/>
                      </a:lnTo>
                      <a:lnTo>
                        <a:pt x="656" y="2972"/>
                      </a:lnTo>
                      <a:lnTo>
                        <a:pt x="669" y="2980"/>
                      </a:lnTo>
                      <a:lnTo>
                        <a:pt x="682" y="2990"/>
                      </a:lnTo>
                      <a:lnTo>
                        <a:pt x="694" y="3000"/>
                      </a:lnTo>
                      <a:lnTo>
                        <a:pt x="705" y="3011"/>
                      </a:lnTo>
                      <a:lnTo>
                        <a:pt x="715" y="3023"/>
                      </a:lnTo>
                      <a:lnTo>
                        <a:pt x="724" y="3035"/>
                      </a:lnTo>
                      <a:lnTo>
                        <a:pt x="732" y="3048"/>
                      </a:lnTo>
                      <a:lnTo>
                        <a:pt x="739" y="3061"/>
                      </a:lnTo>
                      <a:lnTo>
                        <a:pt x="745" y="3075"/>
                      </a:lnTo>
                      <a:lnTo>
                        <a:pt x="939" y="3482"/>
                      </a:lnTo>
                      <a:lnTo>
                        <a:pt x="939" y="3482"/>
                      </a:lnTo>
                      <a:lnTo>
                        <a:pt x="946" y="3495"/>
                      </a:lnTo>
                      <a:lnTo>
                        <a:pt x="952" y="3509"/>
                      </a:lnTo>
                      <a:lnTo>
                        <a:pt x="956" y="3523"/>
                      </a:lnTo>
                      <a:lnTo>
                        <a:pt x="960" y="3538"/>
                      </a:lnTo>
                      <a:lnTo>
                        <a:pt x="963" y="3553"/>
                      </a:lnTo>
                      <a:lnTo>
                        <a:pt x="964" y="3569"/>
                      </a:lnTo>
                      <a:lnTo>
                        <a:pt x="965" y="3585"/>
                      </a:lnTo>
                      <a:lnTo>
                        <a:pt x="965" y="3600"/>
                      </a:lnTo>
                      <a:lnTo>
                        <a:pt x="963" y="3616"/>
                      </a:lnTo>
                      <a:lnTo>
                        <a:pt x="960" y="3632"/>
                      </a:lnTo>
                      <a:lnTo>
                        <a:pt x="957" y="3647"/>
                      </a:lnTo>
                      <a:lnTo>
                        <a:pt x="952" y="3661"/>
                      </a:lnTo>
                      <a:lnTo>
                        <a:pt x="947" y="3676"/>
                      </a:lnTo>
                      <a:lnTo>
                        <a:pt x="940" y="3689"/>
                      </a:lnTo>
                      <a:lnTo>
                        <a:pt x="932" y="3702"/>
                      </a:lnTo>
                      <a:lnTo>
                        <a:pt x="924" y="3714"/>
                      </a:lnTo>
                      <a:lnTo>
                        <a:pt x="664" y="4036"/>
                      </a:lnTo>
                      <a:lnTo>
                        <a:pt x="664" y="4036"/>
                      </a:lnTo>
                      <a:lnTo>
                        <a:pt x="656" y="4048"/>
                      </a:lnTo>
                      <a:lnTo>
                        <a:pt x="649" y="4060"/>
                      </a:lnTo>
                      <a:lnTo>
                        <a:pt x="643" y="4073"/>
                      </a:lnTo>
                      <a:lnTo>
                        <a:pt x="639" y="4086"/>
                      </a:lnTo>
                      <a:lnTo>
                        <a:pt x="636" y="4100"/>
                      </a:lnTo>
                      <a:lnTo>
                        <a:pt x="634" y="4113"/>
                      </a:lnTo>
                      <a:lnTo>
                        <a:pt x="633" y="4127"/>
                      </a:lnTo>
                      <a:lnTo>
                        <a:pt x="634" y="4141"/>
                      </a:lnTo>
                      <a:lnTo>
                        <a:pt x="636" y="4154"/>
                      </a:lnTo>
                      <a:lnTo>
                        <a:pt x="640" y="4167"/>
                      </a:lnTo>
                      <a:lnTo>
                        <a:pt x="644" y="4180"/>
                      </a:lnTo>
                      <a:lnTo>
                        <a:pt x="650" y="4192"/>
                      </a:lnTo>
                      <a:lnTo>
                        <a:pt x="657" y="4204"/>
                      </a:lnTo>
                      <a:lnTo>
                        <a:pt x="666" y="4216"/>
                      </a:lnTo>
                      <a:lnTo>
                        <a:pt x="675" y="4226"/>
                      </a:lnTo>
                      <a:lnTo>
                        <a:pt x="686" y="4236"/>
                      </a:lnTo>
                      <a:lnTo>
                        <a:pt x="1172" y="4626"/>
                      </a:lnTo>
                      <a:lnTo>
                        <a:pt x="1172" y="4626"/>
                      </a:lnTo>
                      <a:lnTo>
                        <a:pt x="1183" y="4634"/>
                      </a:lnTo>
                      <a:lnTo>
                        <a:pt x="1196" y="4642"/>
                      </a:lnTo>
                      <a:lnTo>
                        <a:pt x="1208" y="4647"/>
                      </a:lnTo>
                      <a:lnTo>
                        <a:pt x="1221" y="4652"/>
                      </a:lnTo>
                      <a:lnTo>
                        <a:pt x="1235" y="4655"/>
                      </a:lnTo>
                      <a:lnTo>
                        <a:pt x="1248" y="4657"/>
                      </a:lnTo>
                      <a:lnTo>
                        <a:pt x="1262" y="4657"/>
                      </a:lnTo>
                      <a:lnTo>
                        <a:pt x="1276" y="4656"/>
                      </a:lnTo>
                      <a:lnTo>
                        <a:pt x="1289" y="4654"/>
                      </a:lnTo>
                      <a:lnTo>
                        <a:pt x="1302" y="4651"/>
                      </a:lnTo>
                      <a:lnTo>
                        <a:pt x="1315" y="4646"/>
                      </a:lnTo>
                      <a:lnTo>
                        <a:pt x="1328" y="4640"/>
                      </a:lnTo>
                      <a:lnTo>
                        <a:pt x="1339" y="4633"/>
                      </a:lnTo>
                      <a:lnTo>
                        <a:pt x="1351" y="4625"/>
                      </a:lnTo>
                      <a:lnTo>
                        <a:pt x="1361" y="4615"/>
                      </a:lnTo>
                      <a:lnTo>
                        <a:pt x="1371" y="4604"/>
                      </a:lnTo>
                      <a:lnTo>
                        <a:pt x="1630" y="4283"/>
                      </a:lnTo>
                      <a:lnTo>
                        <a:pt x="1630" y="4283"/>
                      </a:lnTo>
                      <a:lnTo>
                        <a:pt x="1639" y="4272"/>
                      </a:lnTo>
                      <a:lnTo>
                        <a:pt x="1650" y="4262"/>
                      </a:lnTo>
                      <a:lnTo>
                        <a:pt x="1662" y="4252"/>
                      </a:lnTo>
                      <a:lnTo>
                        <a:pt x="1675" y="4244"/>
                      </a:lnTo>
                      <a:lnTo>
                        <a:pt x="1688" y="4236"/>
                      </a:lnTo>
                      <a:lnTo>
                        <a:pt x="1702" y="4229"/>
                      </a:lnTo>
                      <a:lnTo>
                        <a:pt x="1717" y="4223"/>
                      </a:lnTo>
                      <a:lnTo>
                        <a:pt x="1732" y="4219"/>
                      </a:lnTo>
                      <a:lnTo>
                        <a:pt x="1747" y="4215"/>
                      </a:lnTo>
                      <a:lnTo>
                        <a:pt x="1762" y="4212"/>
                      </a:lnTo>
                      <a:lnTo>
                        <a:pt x="1778" y="4210"/>
                      </a:lnTo>
                      <a:lnTo>
                        <a:pt x="1793" y="4210"/>
                      </a:lnTo>
                      <a:lnTo>
                        <a:pt x="1809" y="4210"/>
                      </a:lnTo>
                      <a:lnTo>
                        <a:pt x="1824" y="4212"/>
                      </a:lnTo>
                      <a:lnTo>
                        <a:pt x="1838" y="4215"/>
                      </a:lnTo>
                      <a:lnTo>
                        <a:pt x="1852" y="4219"/>
                      </a:lnTo>
                      <a:lnTo>
                        <a:pt x="2295" y="4319"/>
                      </a:lnTo>
                      <a:lnTo>
                        <a:pt x="2295" y="4319"/>
                      </a:lnTo>
                      <a:lnTo>
                        <a:pt x="2309" y="4322"/>
                      </a:lnTo>
                      <a:lnTo>
                        <a:pt x="2324" y="4326"/>
                      </a:lnTo>
                      <a:lnTo>
                        <a:pt x="2338" y="4331"/>
                      </a:lnTo>
                      <a:lnTo>
                        <a:pt x="2352" y="4337"/>
                      </a:lnTo>
                      <a:lnTo>
                        <a:pt x="2366" y="4345"/>
                      </a:lnTo>
                      <a:lnTo>
                        <a:pt x="2379" y="4353"/>
                      </a:lnTo>
                      <a:lnTo>
                        <a:pt x="2391" y="4363"/>
                      </a:lnTo>
                      <a:lnTo>
                        <a:pt x="2403" y="4373"/>
                      </a:lnTo>
                      <a:lnTo>
                        <a:pt x="2415" y="4384"/>
                      </a:lnTo>
                      <a:lnTo>
                        <a:pt x="2425" y="4396"/>
                      </a:lnTo>
                      <a:lnTo>
                        <a:pt x="2435" y="4408"/>
                      </a:lnTo>
                      <a:lnTo>
                        <a:pt x="2443" y="4421"/>
                      </a:lnTo>
                      <a:lnTo>
                        <a:pt x="2451" y="4434"/>
                      </a:lnTo>
                      <a:lnTo>
                        <a:pt x="2457" y="4448"/>
                      </a:lnTo>
                      <a:lnTo>
                        <a:pt x="2464" y="4462"/>
                      </a:lnTo>
                      <a:lnTo>
                        <a:pt x="2468" y="4476"/>
                      </a:lnTo>
                      <a:lnTo>
                        <a:pt x="2558" y="4880"/>
                      </a:lnTo>
                      <a:lnTo>
                        <a:pt x="2558" y="4880"/>
                      </a:lnTo>
                      <a:lnTo>
                        <a:pt x="2562" y="4894"/>
                      </a:lnTo>
                      <a:lnTo>
                        <a:pt x="2567" y="4907"/>
                      </a:lnTo>
                      <a:lnTo>
                        <a:pt x="2574" y="4919"/>
                      </a:lnTo>
                      <a:lnTo>
                        <a:pt x="2581" y="4931"/>
                      </a:lnTo>
                      <a:lnTo>
                        <a:pt x="2590" y="4942"/>
                      </a:lnTo>
                      <a:lnTo>
                        <a:pt x="2600" y="4952"/>
                      </a:lnTo>
                      <a:lnTo>
                        <a:pt x="2610" y="4960"/>
                      </a:lnTo>
                      <a:lnTo>
                        <a:pt x="2621" y="4968"/>
                      </a:lnTo>
                      <a:lnTo>
                        <a:pt x="2633" y="4975"/>
                      </a:lnTo>
                      <a:lnTo>
                        <a:pt x="2645" y="4981"/>
                      </a:lnTo>
                      <a:lnTo>
                        <a:pt x="2658" y="4985"/>
                      </a:lnTo>
                      <a:lnTo>
                        <a:pt x="2672" y="4988"/>
                      </a:lnTo>
                      <a:lnTo>
                        <a:pt x="2685" y="4990"/>
                      </a:lnTo>
                      <a:lnTo>
                        <a:pt x="2699" y="4990"/>
                      </a:lnTo>
                      <a:lnTo>
                        <a:pt x="2714" y="4989"/>
                      </a:lnTo>
                      <a:lnTo>
                        <a:pt x="2728" y="4987"/>
                      </a:lnTo>
                      <a:lnTo>
                        <a:pt x="3336" y="4850"/>
                      </a:lnTo>
                      <a:lnTo>
                        <a:pt x="3336" y="4850"/>
                      </a:lnTo>
                      <a:lnTo>
                        <a:pt x="3350" y="4846"/>
                      </a:lnTo>
                      <a:lnTo>
                        <a:pt x="3363" y="4841"/>
                      </a:lnTo>
                      <a:lnTo>
                        <a:pt x="3376" y="4835"/>
                      </a:lnTo>
                      <a:lnTo>
                        <a:pt x="3387" y="4827"/>
                      </a:lnTo>
                      <a:lnTo>
                        <a:pt x="3398" y="4819"/>
                      </a:lnTo>
                      <a:lnTo>
                        <a:pt x="3408" y="4809"/>
                      </a:lnTo>
                      <a:lnTo>
                        <a:pt x="3417" y="4799"/>
                      </a:lnTo>
                      <a:lnTo>
                        <a:pt x="3425" y="4787"/>
                      </a:lnTo>
                      <a:lnTo>
                        <a:pt x="3431" y="4776"/>
                      </a:lnTo>
                      <a:lnTo>
                        <a:pt x="3437" y="4763"/>
                      </a:lnTo>
                      <a:lnTo>
                        <a:pt x="3441" y="4750"/>
                      </a:lnTo>
                      <a:lnTo>
                        <a:pt x="3444" y="4737"/>
                      </a:lnTo>
                      <a:lnTo>
                        <a:pt x="3446" y="4723"/>
                      </a:lnTo>
                      <a:lnTo>
                        <a:pt x="3447" y="4709"/>
                      </a:lnTo>
                      <a:lnTo>
                        <a:pt x="3446" y="4695"/>
                      </a:lnTo>
                      <a:lnTo>
                        <a:pt x="3443" y="4681"/>
                      </a:lnTo>
                      <a:lnTo>
                        <a:pt x="3352" y="4278"/>
                      </a:lnTo>
                      <a:lnTo>
                        <a:pt x="3352" y="4278"/>
                      </a:lnTo>
                      <a:lnTo>
                        <a:pt x="3350" y="4263"/>
                      </a:lnTo>
                      <a:lnTo>
                        <a:pt x="3349" y="4248"/>
                      </a:lnTo>
                      <a:lnTo>
                        <a:pt x="3349" y="4233"/>
                      </a:lnTo>
                      <a:lnTo>
                        <a:pt x="3350" y="4218"/>
                      </a:lnTo>
                      <a:lnTo>
                        <a:pt x="3352" y="4203"/>
                      </a:lnTo>
                      <a:lnTo>
                        <a:pt x="3356" y="4187"/>
                      </a:lnTo>
                      <a:lnTo>
                        <a:pt x="3360" y="4172"/>
                      </a:lnTo>
                      <a:lnTo>
                        <a:pt x="3366" y="4158"/>
                      </a:lnTo>
                      <a:lnTo>
                        <a:pt x="3372" y="4143"/>
                      </a:lnTo>
                      <a:lnTo>
                        <a:pt x="3379" y="4129"/>
                      </a:lnTo>
                      <a:lnTo>
                        <a:pt x="3388" y="4116"/>
                      </a:lnTo>
                      <a:lnTo>
                        <a:pt x="3397" y="4103"/>
                      </a:lnTo>
                      <a:lnTo>
                        <a:pt x="3407" y="4092"/>
                      </a:lnTo>
                      <a:lnTo>
                        <a:pt x="3417" y="4081"/>
                      </a:lnTo>
                      <a:lnTo>
                        <a:pt x="3429" y="4071"/>
                      </a:lnTo>
                      <a:lnTo>
                        <a:pt x="3441" y="4063"/>
                      </a:lnTo>
                      <a:lnTo>
                        <a:pt x="3795" y="3783"/>
                      </a:lnTo>
                      <a:lnTo>
                        <a:pt x="3795" y="3783"/>
                      </a:lnTo>
                      <a:lnTo>
                        <a:pt x="3806" y="3773"/>
                      </a:lnTo>
                      <a:lnTo>
                        <a:pt x="3818" y="3764"/>
                      </a:lnTo>
                      <a:lnTo>
                        <a:pt x="3831" y="3756"/>
                      </a:lnTo>
                      <a:lnTo>
                        <a:pt x="3845" y="3749"/>
                      </a:lnTo>
                      <a:lnTo>
                        <a:pt x="3859" y="3743"/>
                      </a:lnTo>
                      <a:lnTo>
                        <a:pt x="3874" y="3738"/>
                      </a:lnTo>
                      <a:lnTo>
                        <a:pt x="3889" y="3734"/>
                      </a:lnTo>
                      <a:lnTo>
                        <a:pt x="3905" y="3731"/>
                      </a:lnTo>
                      <a:lnTo>
                        <a:pt x="3920" y="3729"/>
                      </a:lnTo>
                      <a:lnTo>
                        <a:pt x="3936" y="3728"/>
                      </a:lnTo>
                      <a:lnTo>
                        <a:pt x="3952" y="3728"/>
                      </a:lnTo>
                      <a:lnTo>
                        <a:pt x="3967" y="3730"/>
                      </a:lnTo>
                      <a:lnTo>
                        <a:pt x="3982" y="3732"/>
                      </a:lnTo>
                      <a:lnTo>
                        <a:pt x="3997" y="3735"/>
                      </a:lnTo>
                      <a:lnTo>
                        <a:pt x="4011" y="3740"/>
                      </a:lnTo>
                      <a:lnTo>
                        <a:pt x="4024" y="3746"/>
                      </a:lnTo>
                      <a:lnTo>
                        <a:pt x="4396" y="3926"/>
                      </a:lnTo>
                      <a:lnTo>
                        <a:pt x="4396" y="3926"/>
                      </a:lnTo>
                      <a:lnTo>
                        <a:pt x="4409" y="3932"/>
                      </a:lnTo>
                      <a:lnTo>
                        <a:pt x="4423" y="3936"/>
                      </a:lnTo>
                      <a:lnTo>
                        <a:pt x="4436" y="3939"/>
                      </a:lnTo>
                      <a:lnTo>
                        <a:pt x="4450" y="3940"/>
                      </a:lnTo>
                      <a:lnTo>
                        <a:pt x="4464" y="3940"/>
                      </a:lnTo>
                      <a:lnTo>
                        <a:pt x="4477" y="3939"/>
                      </a:lnTo>
                      <a:lnTo>
                        <a:pt x="4491" y="3936"/>
                      </a:lnTo>
                      <a:lnTo>
                        <a:pt x="4504" y="3932"/>
                      </a:lnTo>
                      <a:lnTo>
                        <a:pt x="4516" y="3927"/>
                      </a:lnTo>
                      <a:lnTo>
                        <a:pt x="4529" y="3921"/>
                      </a:lnTo>
                      <a:lnTo>
                        <a:pt x="4540" y="3914"/>
                      </a:lnTo>
                      <a:lnTo>
                        <a:pt x="4551" y="3905"/>
                      </a:lnTo>
                      <a:lnTo>
                        <a:pt x="4561" y="3896"/>
                      </a:lnTo>
                      <a:lnTo>
                        <a:pt x="4570" y="3885"/>
                      </a:lnTo>
                      <a:lnTo>
                        <a:pt x="4578" y="3873"/>
                      </a:lnTo>
                      <a:lnTo>
                        <a:pt x="4585" y="3860"/>
                      </a:lnTo>
                      <a:lnTo>
                        <a:pt x="4857" y="3300"/>
                      </a:lnTo>
                      <a:lnTo>
                        <a:pt x="4857" y="3300"/>
                      </a:lnTo>
                      <a:lnTo>
                        <a:pt x="4863" y="3286"/>
                      </a:lnTo>
                      <a:lnTo>
                        <a:pt x="4867" y="3273"/>
                      </a:lnTo>
                      <a:lnTo>
                        <a:pt x="4870" y="3259"/>
                      </a:lnTo>
                      <a:lnTo>
                        <a:pt x="4871" y="3245"/>
                      </a:lnTo>
                      <a:lnTo>
                        <a:pt x="4872" y="3231"/>
                      </a:lnTo>
                      <a:lnTo>
                        <a:pt x="4870" y="3218"/>
                      </a:lnTo>
                      <a:lnTo>
                        <a:pt x="4868" y="3204"/>
                      </a:lnTo>
                      <a:lnTo>
                        <a:pt x="4864" y="3191"/>
                      </a:lnTo>
                      <a:lnTo>
                        <a:pt x="4859" y="3179"/>
                      </a:lnTo>
                      <a:lnTo>
                        <a:pt x="4853" y="3167"/>
                      </a:lnTo>
                      <a:lnTo>
                        <a:pt x="4845" y="3155"/>
                      </a:lnTo>
                      <a:lnTo>
                        <a:pt x="4837" y="3144"/>
                      </a:lnTo>
                      <a:lnTo>
                        <a:pt x="4827" y="3134"/>
                      </a:lnTo>
                      <a:lnTo>
                        <a:pt x="4816" y="3125"/>
                      </a:lnTo>
                      <a:lnTo>
                        <a:pt x="4805" y="3117"/>
                      </a:lnTo>
                      <a:lnTo>
                        <a:pt x="4792" y="3110"/>
                      </a:lnTo>
                      <a:lnTo>
                        <a:pt x="4421" y="2930"/>
                      </a:lnTo>
                      <a:lnTo>
                        <a:pt x="4421" y="2930"/>
                      </a:lnTo>
                      <a:lnTo>
                        <a:pt x="4408" y="2923"/>
                      </a:lnTo>
                      <a:lnTo>
                        <a:pt x="4396" y="2915"/>
                      </a:lnTo>
                      <a:lnTo>
                        <a:pt x="4384" y="2905"/>
                      </a:lnTo>
                      <a:lnTo>
                        <a:pt x="4373" y="2895"/>
                      </a:lnTo>
                      <a:lnTo>
                        <a:pt x="4363" y="2884"/>
                      </a:lnTo>
                      <a:lnTo>
                        <a:pt x="4354" y="2872"/>
                      </a:lnTo>
                      <a:lnTo>
                        <a:pt x="4345" y="2859"/>
                      </a:lnTo>
                      <a:lnTo>
                        <a:pt x="4338" y="2845"/>
                      </a:lnTo>
                      <a:lnTo>
                        <a:pt x="4331" y="2831"/>
                      </a:lnTo>
                      <a:lnTo>
                        <a:pt x="4325" y="2817"/>
                      </a:lnTo>
                      <a:lnTo>
                        <a:pt x="4321" y="2802"/>
                      </a:lnTo>
                      <a:lnTo>
                        <a:pt x="4317" y="2787"/>
                      </a:lnTo>
                      <a:lnTo>
                        <a:pt x="4315" y="2772"/>
                      </a:lnTo>
                      <a:lnTo>
                        <a:pt x="4314" y="2758"/>
                      </a:lnTo>
                      <a:lnTo>
                        <a:pt x="4314" y="2743"/>
                      </a:lnTo>
                      <a:lnTo>
                        <a:pt x="4316" y="2728"/>
                      </a:lnTo>
                      <a:lnTo>
                        <a:pt x="4316" y="2728"/>
                      </a:lnTo>
                      <a:lnTo>
                        <a:pt x="4318" y="2710"/>
                      </a:lnTo>
                      <a:lnTo>
                        <a:pt x="4323" y="2662"/>
                      </a:lnTo>
                      <a:lnTo>
                        <a:pt x="4326" y="2629"/>
                      </a:lnTo>
                      <a:lnTo>
                        <a:pt x="4329" y="2590"/>
                      </a:lnTo>
                      <a:lnTo>
                        <a:pt x="4331" y="2548"/>
                      </a:lnTo>
                      <a:lnTo>
                        <a:pt x="4332" y="2502"/>
                      </a:lnTo>
                      <a:lnTo>
                        <a:pt x="4332" y="2502"/>
                      </a:lnTo>
                      <a:close/>
                      <a:moveTo>
                        <a:pt x="3788" y="2500"/>
                      </a:moveTo>
                      <a:lnTo>
                        <a:pt x="3788" y="2500"/>
                      </a:lnTo>
                      <a:lnTo>
                        <a:pt x="3787" y="2533"/>
                      </a:lnTo>
                      <a:lnTo>
                        <a:pt x="3786" y="2567"/>
                      </a:lnTo>
                      <a:lnTo>
                        <a:pt x="3784" y="2600"/>
                      </a:lnTo>
                      <a:lnTo>
                        <a:pt x="3780" y="2633"/>
                      </a:lnTo>
                      <a:lnTo>
                        <a:pt x="3777" y="2666"/>
                      </a:lnTo>
                      <a:lnTo>
                        <a:pt x="3772" y="2698"/>
                      </a:lnTo>
                      <a:lnTo>
                        <a:pt x="3767" y="2730"/>
                      </a:lnTo>
                      <a:lnTo>
                        <a:pt x="3760" y="2762"/>
                      </a:lnTo>
                      <a:lnTo>
                        <a:pt x="3753" y="2794"/>
                      </a:lnTo>
                      <a:lnTo>
                        <a:pt x="3746" y="2825"/>
                      </a:lnTo>
                      <a:lnTo>
                        <a:pt x="3737" y="2856"/>
                      </a:lnTo>
                      <a:lnTo>
                        <a:pt x="3728" y="2887"/>
                      </a:lnTo>
                      <a:lnTo>
                        <a:pt x="3718" y="2917"/>
                      </a:lnTo>
                      <a:lnTo>
                        <a:pt x="3707" y="2947"/>
                      </a:lnTo>
                      <a:lnTo>
                        <a:pt x="3696" y="2977"/>
                      </a:lnTo>
                      <a:lnTo>
                        <a:pt x="3684" y="3006"/>
                      </a:lnTo>
                      <a:lnTo>
                        <a:pt x="3671" y="3035"/>
                      </a:lnTo>
                      <a:lnTo>
                        <a:pt x="3657" y="3064"/>
                      </a:lnTo>
                      <a:lnTo>
                        <a:pt x="3643" y="3092"/>
                      </a:lnTo>
                      <a:lnTo>
                        <a:pt x="3628" y="3120"/>
                      </a:lnTo>
                      <a:lnTo>
                        <a:pt x="3613" y="3147"/>
                      </a:lnTo>
                      <a:lnTo>
                        <a:pt x="3597" y="3174"/>
                      </a:lnTo>
                      <a:lnTo>
                        <a:pt x="3580" y="3201"/>
                      </a:lnTo>
                      <a:lnTo>
                        <a:pt x="3563" y="3227"/>
                      </a:lnTo>
                      <a:lnTo>
                        <a:pt x="3545" y="3252"/>
                      </a:lnTo>
                      <a:lnTo>
                        <a:pt x="3526" y="3278"/>
                      </a:lnTo>
                      <a:lnTo>
                        <a:pt x="3507" y="3302"/>
                      </a:lnTo>
                      <a:lnTo>
                        <a:pt x="3487" y="3327"/>
                      </a:lnTo>
                      <a:lnTo>
                        <a:pt x="3467" y="3350"/>
                      </a:lnTo>
                      <a:lnTo>
                        <a:pt x="3446" y="3374"/>
                      </a:lnTo>
                      <a:lnTo>
                        <a:pt x="3425" y="3396"/>
                      </a:lnTo>
                      <a:lnTo>
                        <a:pt x="3403" y="3419"/>
                      </a:lnTo>
                      <a:lnTo>
                        <a:pt x="3381" y="3440"/>
                      </a:lnTo>
                      <a:lnTo>
                        <a:pt x="3358" y="3462"/>
                      </a:lnTo>
                      <a:lnTo>
                        <a:pt x="3334" y="3482"/>
                      </a:lnTo>
                      <a:lnTo>
                        <a:pt x="3310" y="3502"/>
                      </a:lnTo>
                      <a:lnTo>
                        <a:pt x="3286" y="3522"/>
                      </a:lnTo>
                      <a:lnTo>
                        <a:pt x="3261" y="3541"/>
                      </a:lnTo>
                      <a:lnTo>
                        <a:pt x="3236" y="3559"/>
                      </a:lnTo>
                      <a:lnTo>
                        <a:pt x="3210" y="3577"/>
                      </a:lnTo>
                      <a:lnTo>
                        <a:pt x="3184" y="3594"/>
                      </a:lnTo>
                      <a:lnTo>
                        <a:pt x="3157" y="3611"/>
                      </a:lnTo>
                      <a:lnTo>
                        <a:pt x="3130" y="3626"/>
                      </a:lnTo>
                      <a:lnTo>
                        <a:pt x="3102" y="3642"/>
                      </a:lnTo>
                      <a:lnTo>
                        <a:pt x="3074" y="3656"/>
                      </a:lnTo>
                      <a:lnTo>
                        <a:pt x="3046" y="3670"/>
                      </a:lnTo>
                      <a:lnTo>
                        <a:pt x="3017" y="3683"/>
                      </a:lnTo>
                      <a:lnTo>
                        <a:pt x="2988" y="3696"/>
                      </a:lnTo>
                      <a:lnTo>
                        <a:pt x="2959" y="3708"/>
                      </a:lnTo>
                      <a:lnTo>
                        <a:pt x="2929" y="3719"/>
                      </a:lnTo>
                      <a:lnTo>
                        <a:pt x="2899" y="3730"/>
                      </a:lnTo>
                      <a:lnTo>
                        <a:pt x="2868" y="3739"/>
                      </a:lnTo>
                      <a:lnTo>
                        <a:pt x="2838" y="3748"/>
                      </a:lnTo>
                      <a:lnTo>
                        <a:pt x="2807" y="3757"/>
                      </a:lnTo>
                      <a:lnTo>
                        <a:pt x="2775" y="3764"/>
                      </a:lnTo>
                      <a:lnTo>
                        <a:pt x="2744" y="3771"/>
                      </a:lnTo>
                      <a:lnTo>
                        <a:pt x="2712" y="3777"/>
                      </a:lnTo>
                      <a:lnTo>
                        <a:pt x="2679" y="3782"/>
                      </a:lnTo>
                      <a:lnTo>
                        <a:pt x="2647" y="3787"/>
                      </a:lnTo>
                      <a:lnTo>
                        <a:pt x="2614" y="3790"/>
                      </a:lnTo>
                      <a:lnTo>
                        <a:pt x="2581" y="3793"/>
                      </a:lnTo>
                      <a:lnTo>
                        <a:pt x="2548" y="3795"/>
                      </a:lnTo>
                      <a:lnTo>
                        <a:pt x="2515" y="3796"/>
                      </a:lnTo>
                      <a:lnTo>
                        <a:pt x="2481" y="3796"/>
                      </a:lnTo>
                      <a:lnTo>
                        <a:pt x="2481" y="3796"/>
                      </a:lnTo>
                      <a:lnTo>
                        <a:pt x="2446" y="3796"/>
                      </a:lnTo>
                      <a:lnTo>
                        <a:pt x="2413" y="3794"/>
                      </a:lnTo>
                      <a:lnTo>
                        <a:pt x="2380" y="3792"/>
                      </a:lnTo>
                      <a:lnTo>
                        <a:pt x="2347" y="3789"/>
                      </a:lnTo>
                      <a:lnTo>
                        <a:pt x="2314" y="3785"/>
                      </a:lnTo>
                      <a:lnTo>
                        <a:pt x="2282" y="3781"/>
                      </a:lnTo>
                      <a:lnTo>
                        <a:pt x="2250" y="3775"/>
                      </a:lnTo>
                      <a:lnTo>
                        <a:pt x="2218" y="3769"/>
                      </a:lnTo>
                      <a:lnTo>
                        <a:pt x="2186" y="3762"/>
                      </a:lnTo>
                      <a:lnTo>
                        <a:pt x="2155" y="3754"/>
                      </a:lnTo>
                      <a:lnTo>
                        <a:pt x="2124" y="3746"/>
                      </a:lnTo>
                      <a:lnTo>
                        <a:pt x="2093" y="3736"/>
                      </a:lnTo>
                      <a:lnTo>
                        <a:pt x="2063" y="3726"/>
                      </a:lnTo>
                      <a:lnTo>
                        <a:pt x="2033" y="3716"/>
                      </a:lnTo>
                      <a:lnTo>
                        <a:pt x="2003" y="3704"/>
                      </a:lnTo>
                      <a:lnTo>
                        <a:pt x="1974" y="3692"/>
                      </a:lnTo>
                      <a:lnTo>
                        <a:pt x="1945" y="3679"/>
                      </a:lnTo>
                      <a:lnTo>
                        <a:pt x="1916" y="3666"/>
                      </a:lnTo>
                      <a:lnTo>
                        <a:pt x="1888" y="3652"/>
                      </a:lnTo>
                      <a:lnTo>
                        <a:pt x="1860" y="3637"/>
                      </a:lnTo>
                      <a:lnTo>
                        <a:pt x="1833" y="3621"/>
                      </a:lnTo>
                      <a:lnTo>
                        <a:pt x="1806" y="3605"/>
                      </a:lnTo>
                      <a:lnTo>
                        <a:pt x="1779" y="3589"/>
                      </a:lnTo>
                      <a:lnTo>
                        <a:pt x="1753" y="3571"/>
                      </a:lnTo>
                      <a:lnTo>
                        <a:pt x="1728" y="3553"/>
                      </a:lnTo>
                      <a:lnTo>
                        <a:pt x="1702" y="3535"/>
                      </a:lnTo>
                      <a:lnTo>
                        <a:pt x="1678" y="3516"/>
                      </a:lnTo>
                      <a:lnTo>
                        <a:pt x="1653" y="3496"/>
                      </a:lnTo>
                      <a:lnTo>
                        <a:pt x="1630" y="3476"/>
                      </a:lnTo>
                      <a:lnTo>
                        <a:pt x="1606" y="3455"/>
                      </a:lnTo>
                      <a:lnTo>
                        <a:pt x="1584" y="3433"/>
                      </a:lnTo>
                      <a:lnTo>
                        <a:pt x="1561" y="3412"/>
                      </a:lnTo>
                      <a:lnTo>
                        <a:pt x="1540" y="3389"/>
                      </a:lnTo>
                      <a:lnTo>
                        <a:pt x="1518" y="3366"/>
                      </a:lnTo>
                      <a:lnTo>
                        <a:pt x="1498" y="3343"/>
                      </a:lnTo>
                      <a:lnTo>
                        <a:pt x="1478" y="3319"/>
                      </a:lnTo>
                      <a:lnTo>
                        <a:pt x="1458" y="3294"/>
                      </a:lnTo>
                      <a:lnTo>
                        <a:pt x="1439" y="3269"/>
                      </a:lnTo>
                      <a:lnTo>
                        <a:pt x="1421" y="3244"/>
                      </a:lnTo>
                      <a:lnTo>
                        <a:pt x="1403" y="3218"/>
                      </a:lnTo>
                      <a:lnTo>
                        <a:pt x="1386" y="3192"/>
                      </a:lnTo>
                      <a:lnTo>
                        <a:pt x="1370" y="3165"/>
                      </a:lnTo>
                      <a:lnTo>
                        <a:pt x="1354" y="3138"/>
                      </a:lnTo>
                      <a:lnTo>
                        <a:pt x="1338" y="3111"/>
                      </a:lnTo>
                      <a:lnTo>
                        <a:pt x="1324" y="3083"/>
                      </a:lnTo>
                      <a:lnTo>
                        <a:pt x="1310" y="3054"/>
                      </a:lnTo>
                      <a:lnTo>
                        <a:pt x="1297" y="3026"/>
                      </a:lnTo>
                      <a:lnTo>
                        <a:pt x="1284" y="2997"/>
                      </a:lnTo>
                      <a:lnTo>
                        <a:pt x="1272" y="2967"/>
                      </a:lnTo>
                      <a:lnTo>
                        <a:pt x="1261" y="2937"/>
                      </a:lnTo>
                      <a:lnTo>
                        <a:pt x="1250" y="2907"/>
                      </a:lnTo>
                      <a:lnTo>
                        <a:pt x="1241" y="2877"/>
                      </a:lnTo>
                      <a:lnTo>
                        <a:pt x="1232" y="2846"/>
                      </a:lnTo>
                      <a:lnTo>
                        <a:pt x="1223" y="2815"/>
                      </a:lnTo>
                      <a:lnTo>
                        <a:pt x="1216" y="2784"/>
                      </a:lnTo>
                      <a:lnTo>
                        <a:pt x="1209" y="2752"/>
                      </a:lnTo>
                      <a:lnTo>
                        <a:pt x="1203" y="2720"/>
                      </a:lnTo>
                      <a:lnTo>
                        <a:pt x="1198" y="2688"/>
                      </a:lnTo>
                      <a:lnTo>
                        <a:pt x="1194" y="2655"/>
                      </a:lnTo>
                      <a:lnTo>
                        <a:pt x="1190" y="2623"/>
                      </a:lnTo>
                      <a:lnTo>
                        <a:pt x="1187" y="2590"/>
                      </a:lnTo>
                      <a:lnTo>
                        <a:pt x="1185" y="2557"/>
                      </a:lnTo>
                      <a:lnTo>
                        <a:pt x="1184" y="2523"/>
                      </a:lnTo>
                      <a:lnTo>
                        <a:pt x="1184" y="2490"/>
                      </a:lnTo>
                      <a:lnTo>
                        <a:pt x="1184" y="2490"/>
                      </a:lnTo>
                      <a:lnTo>
                        <a:pt x="1184" y="2455"/>
                      </a:lnTo>
                      <a:lnTo>
                        <a:pt x="1186" y="2422"/>
                      </a:lnTo>
                      <a:lnTo>
                        <a:pt x="1188" y="2388"/>
                      </a:lnTo>
                      <a:lnTo>
                        <a:pt x="1191" y="2356"/>
                      </a:lnTo>
                      <a:lnTo>
                        <a:pt x="1195" y="2323"/>
                      </a:lnTo>
                      <a:lnTo>
                        <a:pt x="1199" y="2290"/>
                      </a:lnTo>
                      <a:lnTo>
                        <a:pt x="1205" y="2258"/>
                      </a:lnTo>
                      <a:lnTo>
                        <a:pt x="1211" y="2226"/>
                      </a:lnTo>
                      <a:lnTo>
                        <a:pt x="1218" y="2195"/>
                      </a:lnTo>
                      <a:lnTo>
                        <a:pt x="1226" y="2163"/>
                      </a:lnTo>
                      <a:lnTo>
                        <a:pt x="1234" y="2132"/>
                      </a:lnTo>
                      <a:lnTo>
                        <a:pt x="1244" y="2102"/>
                      </a:lnTo>
                      <a:lnTo>
                        <a:pt x="1254" y="2071"/>
                      </a:lnTo>
                      <a:lnTo>
                        <a:pt x="1264" y="2041"/>
                      </a:lnTo>
                      <a:lnTo>
                        <a:pt x="1276" y="2012"/>
                      </a:lnTo>
                      <a:lnTo>
                        <a:pt x="1288" y="1982"/>
                      </a:lnTo>
                      <a:lnTo>
                        <a:pt x="1301" y="1953"/>
                      </a:lnTo>
                      <a:lnTo>
                        <a:pt x="1314" y="1925"/>
                      </a:lnTo>
                      <a:lnTo>
                        <a:pt x="1328" y="1897"/>
                      </a:lnTo>
                      <a:lnTo>
                        <a:pt x="1343" y="1869"/>
                      </a:lnTo>
                      <a:lnTo>
                        <a:pt x="1359" y="1841"/>
                      </a:lnTo>
                      <a:lnTo>
                        <a:pt x="1375" y="1814"/>
                      </a:lnTo>
                      <a:lnTo>
                        <a:pt x="1391" y="1788"/>
                      </a:lnTo>
                      <a:lnTo>
                        <a:pt x="1409" y="1762"/>
                      </a:lnTo>
                      <a:lnTo>
                        <a:pt x="1427" y="1736"/>
                      </a:lnTo>
                      <a:lnTo>
                        <a:pt x="1445" y="1711"/>
                      </a:lnTo>
                      <a:lnTo>
                        <a:pt x="1464" y="1686"/>
                      </a:lnTo>
                      <a:lnTo>
                        <a:pt x="1484" y="1662"/>
                      </a:lnTo>
                      <a:lnTo>
                        <a:pt x="1504" y="1638"/>
                      </a:lnTo>
                      <a:lnTo>
                        <a:pt x="1525" y="1615"/>
                      </a:lnTo>
                      <a:lnTo>
                        <a:pt x="1547" y="1592"/>
                      </a:lnTo>
                      <a:lnTo>
                        <a:pt x="1569" y="1570"/>
                      </a:lnTo>
                      <a:lnTo>
                        <a:pt x="1591" y="1548"/>
                      </a:lnTo>
                      <a:lnTo>
                        <a:pt x="1614" y="1527"/>
                      </a:lnTo>
                      <a:lnTo>
                        <a:pt x="1637" y="1506"/>
                      </a:lnTo>
                      <a:lnTo>
                        <a:pt x="1661" y="1486"/>
                      </a:lnTo>
                      <a:lnTo>
                        <a:pt x="1686" y="1467"/>
                      </a:lnTo>
                      <a:lnTo>
                        <a:pt x="1711" y="1448"/>
                      </a:lnTo>
                      <a:lnTo>
                        <a:pt x="1736" y="1429"/>
                      </a:lnTo>
                      <a:lnTo>
                        <a:pt x="1762" y="1412"/>
                      </a:lnTo>
                      <a:lnTo>
                        <a:pt x="1788" y="1395"/>
                      </a:lnTo>
                      <a:lnTo>
                        <a:pt x="1815" y="1378"/>
                      </a:lnTo>
                      <a:lnTo>
                        <a:pt x="1842" y="1362"/>
                      </a:lnTo>
                      <a:lnTo>
                        <a:pt x="1869" y="1347"/>
                      </a:lnTo>
                      <a:lnTo>
                        <a:pt x="1897" y="1332"/>
                      </a:lnTo>
                      <a:lnTo>
                        <a:pt x="1926" y="1318"/>
                      </a:lnTo>
                      <a:lnTo>
                        <a:pt x="1954" y="1305"/>
                      </a:lnTo>
                      <a:lnTo>
                        <a:pt x="1983" y="1293"/>
                      </a:lnTo>
                      <a:lnTo>
                        <a:pt x="2013" y="1281"/>
                      </a:lnTo>
                      <a:lnTo>
                        <a:pt x="2043" y="1270"/>
                      </a:lnTo>
                      <a:lnTo>
                        <a:pt x="2073" y="1259"/>
                      </a:lnTo>
                      <a:lnTo>
                        <a:pt x="2103" y="1249"/>
                      </a:lnTo>
                      <a:lnTo>
                        <a:pt x="2134" y="1240"/>
                      </a:lnTo>
                      <a:lnTo>
                        <a:pt x="2165" y="1232"/>
                      </a:lnTo>
                      <a:lnTo>
                        <a:pt x="2196" y="1225"/>
                      </a:lnTo>
                      <a:lnTo>
                        <a:pt x="2228" y="1218"/>
                      </a:lnTo>
                      <a:lnTo>
                        <a:pt x="2260" y="1212"/>
                      </a:lnTo>
                      <a:lnTo>
                        <a:pt x="2292" y="1207"/>
                      </a:lnTo>
                      <a:lnTo>
                        <a:pt x="2325" y="1202"/>
                      </a:lnTo>
                      <a:lnTo>
                        <a:pt x="2357" y="1199"/>
                      </a:lnTo>
                      <a:lnTo>
                        <a:pt x="2390" y="1196"/>
                      </a:lnTo>
                      <a:lnTo>
                        <a:pt x="2424" y="1194"/>
                      </a:lnTo>
                      <a:lnTo>
                        <a:pt x="2457" y="1193"/>
                      </a:lnTo>
                      <a:lnTo>
                        <a:pt x="2492" y="1192"/>
                      </a:lnTo>
                      <a:lnTo>
                        <a:pt x="2492" y="1192"/>
                      </a:lnTo>
                      <a:lnTo>
                        <a:pt x="2525" y="1193"/>
                      </a:lnTo>
                      <a:lnTo>
                        <a:pt x="2558" y="1194"/>
                      </a:lnTo>
                      <a:lnTo>
                        <a:pt x="2592" y="1197"/>
                      </a:lnTo>
                      <a:lnTo>
                        <a:pt x="2625" y="1200"/>
                      </a:lnTo>
                      <a:lnTo>
                        <a:pt x="2657" y="1204"/>
                      </a:lnTo>
                      <a:lnTo>
                        <a:pt x="2690" y="1208"/>
                      </a:lnTo>
                      <a:lnTo>
                        <a:pt x="2722" y="1214"/>
                      </a:lnTo>
                      <a:lnTo>
                        <a:pt x="2754" y="1220"/>
                      </a:lnTo>
                      <a:lnTo>
                        <a:pt x="2785" y="1227"/>
                      </a:lnTo>
                      <a:lnTo>
                        <a:pt x="2817" y="1235"/>
                      </a:lnTo>
                      <a:lnTo>
                        <a:pt x="2848" y="1243"/>
                      </a:lnTo>
                      <a:lnTo>
                        <a:pt x="2878" y="1252"/>
                      </a:lnTo>
                      <a:lnTo>
                        <a:pt x="2909" y="1262"/>
                      </a:lnTo>
                      <a:lnTo>
                        <a:pt x="2939" y="1273"/>
                      </a:lnTo>
                      <a:lnTo>
                        <a:pt x="2968" y="1285"/>
                      </a:lnTo>
                      <a:lnTo>
                        <a:pt x="2998" y="1297"/>
                      </a:lnTo>
                      <a:lnTo>
                        <a:pt x="3027" y="1309"/>
                      </a:lnTo>
                      <a:lnTo>
                        <a:pt x="3055" y="1323"/>
                      </a:lnTo>
                      <a:lnTo>
                        <a:pt x="3083" y="1337"/>
                      </a:lnTo>
                      <a:lnTo>
                        <a:pt x="3111" y="1352"/>
                      </a:lnTo>
                      <a:lnTo>
                        <a:pt x="3139" y="1367"/>
                      </a:lnTo>
                      <a:lnTo>
                        <a:pt x="3166" y="1383"/>
                      </a:lnTo>
                      <a:lnTo>
                        <a:pt x="3192" y="1400"/>
                      </a:lnTo>
                      <a:lnTo>
                        <a:pt x="3218" y="1418"/>
                      </a:lnTo>
                      <a:lnTo>
                        <a:pt x="3244" y="1435"/>
                      </a:lnTo>
                      <a:lnTo>
                        <a:pt x="3269" y="1454"/>
                      </a:lnTo>
                      <a:lnTo>
                        <a:pt x="3294" y="1473"/>
                      </a:lnTo>
                      <a:lnTo>
                        <a:pt x="3318" y="1493"/>
                      </a:lnTo>
                      <a:lnTo>
                        <a:pt x="3342" y="1513"/>
                      </a:lnTo>
                      <a:lnTo>
                        <a:pt x="3365" y="1534"/>
                      </a:lnTo>
                      <a:lnTo>
                        <a:pt x="3388" y="1555"/>
                      </a:lnTo>
                      <a:lnTo>
                        <a:pt x="3410" y="1577"/>
                      </a:lnTo>
                      <a:lnTo>
                        <a:pt x="3432" y="1600"/>
                      </a:lnTo>
                      <a:lnTo>
                        <a:pt x="3453" y="1623"/>
                      </a:lnTo>
                      <a:lnTo>
                        <a:pt x="3474" y="1646"/>
                      </a:lnTo>
                      <a:lnTo>
                        <a:pt x="3494" y="1670"/>
                      </a:lnTo>
                      <a:lnTo>
                        <a:pt x="3513" y="1694"/>
                      </a:lnTo>
                      <a:lnTo>
                        <a:pt x="3532" y="1719"/>
                      </a:lnTo>
                      <a:lnTo>
                        <a:pt x="3551" y="1745"/>
                      </a:lnTo>
                      <a:lnTo>
                        <a:pt x="3568" y="1770"/>
                      </a:lnTo>
                      <a:lnTo>
                        <a:pt x="3585" y="1797"/>
                      </a:lnTo>
                      <a:lnTo>
                        <a:pt x="3602" y="1823"/>
                      </a:lnTo>
                      <a:lnTo>
                        <a:pt x="3618" y="1850"/>
                      </a:lnTo>
                      <a:lnTo>
                        <a:pt x="3633" y="1878"/>
                      </a:lnTo>
                      <a:lnTo>
                        <a:pt x="3648" y="1906"/>
                      </a:lnTo>
                      <a:lnTo>
                        <a:pt x="3662" y="1934"/>
                      </a:lnTo>
                      <a:lnTo>
                        <a:pt x="3675" y="1963"/>
                      </a:lnTo>
                      <a:lnTo>
                        <a:pt x="3687" y="1992"/>
                      </a:lnTo>
                      <a:lnTo>
                        <a:pt x="3699" y="2021"/>
                      </a:lnTo>
                      <a:lnTo>
                        <a:pt x="3711" y="2051"/>
                      </a:lnTo>
                      <a:lnTo>
                        <a:pt x="3721" y="2081"/>
                      </a:lnTo>
                      <a:lnTo>
                        <a:pt x="3731" y="2112"/>
                      </a:lnTo>
                      <a:lnTo>
                        <a:pt x="3740" y="2142"/>
                      </a:lnTo>
                      <a:lnTo>
                        <a:pt x="3748" y="2173"/>
                      </a:lnTo>
                      <a:lnTo>
                        <a:pt x="3756" y="2205"/>
                      </a:lnTo>
                      <a:lnTo>
                        <a:pt x="3762" y="2236"/>
                      </a:lnTo>
                      <a:lnTo>
                        <a:pt x="3768" y="2268"/>
                      </a:lnTo>
                      <a:lnTo>
                        <a:pt x="3773" y="2301"/>
                      </a:lnTo>
                      <a:lnTo>
                        <a:pt x="3778" y="2333"/>
                      </a:lnTo>
                      <a:lnTo>
                        <a:pt x="3781" y="2366"/>
                      </a:lnTo>
                      <a:lnTo>
                        <a:pt x="3784" y="2399"/>
                      </a:lnTo>
                      <a:lnTo>
                        <a:pt x="3786" y="2432"/>
                      </a:lnTo>
                      <a:lnTo>
                        <a:pt x="3787" y="2466"/>
                      </a:lnTo>
                      <a:lnTo>
                        <a:pt x="3788" y="2500"/>
                      </a:lnTo>
                      <a:lnTo>
                        <a:pt x="3788" y="25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61" tIns="45731" rIns="91461" bIns="4573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dirty="0">
                    <a:solidFill>
                      <a:srgbClr val="000000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506" name="TextBox 39">
              <a:extLst>
                <a:ext uri="{FF2B5EF4-FFF2-40B4-BE49-F238E27FC236}">
                  <a16:creationId xmlns:a16="http://schemas.microsoft.com/office/drawing/2014/main" id="{47688E83-F36D-4876-A94C-DBAF14BCAC6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84714" y="5918246"/>
              <a:ext cx="12034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Reconstruction System</a:t>
              </a:r>
            </a:p>
          </p:txBody>
        </p:sp>
        <p:pic>
          <p:nvPicPr>
            <p:cNvPr id="507" name="Picture 4" descr="Bildergebnis fÃ¼r windows logo">
              <a:extLst>
                <a:ext uri="{FF2B5EF4-FFF2-40B4-BE49-F238E27FC236}">
                  <a16:creationId xmlns:a16="http://schemas.microsoft.com/office/drawing/2014/main" id="{3B37968D-0374-4191-8393-55C13CE5A8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301455" y="5272159"/>
              <a:ext cx="286943" cy="2869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46" name="SAGD, Siemens, healthineers, evolve">
              <a:extLst>
                <a:ext uri="{FF2B5EF4-FFF2-40B4-BE49-F238E27FC236}">
                  <a16:creationId xmlns:a16="http://schemas.microsoft.com/office/drawing/2014/main" id="{63A2C887-1B45-43CB-BA78-1CB00A7B591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511096" y="4762701"/>
              <a:ext cx="233643" cy="234138"/>
              <a:chOff x="1188" y="1252"/>
              <a:chExt cx="2268" cy="2268"/>
            </a:xfrm>
          </p:grpSpPr>
          <p:sp>
            <p:nvSpPr>
              <p:cNvPr id="547" name="AutoShape 4">
                <a:extLst>
                  <a:ext uri="{FF2B5EF4-FFF2-40B4-BE49-F238E27FC236}">
                    <a16:creationId xmlns:a16="http://schemas.microsoft.com/office/drawing/2014/main" id="{344857E1-F971-4623-9F67-4BB33D7BCAB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gray">
              <a:xfrm>
                <a:off x="1188" y="1252"/>
                <a:ext cx="2268" cy="22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48" name="Freeform 6">
                <a:extLst>
                  <a:ext uri="{FF2B5EF4-FFF2-40B4-BE49-F238E27FC236}">
                    <a16:creationId xmlns:a16="http://schemas.microsoft.com/office/drawing/2014/main" id="{84224C9F-8F30-4346-ABD2-0142DDC179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49" name="Freeform 7">
                <a:extLst>
                  <a:ext uri="{FF2B5EF4-FFF2-40B4-BE49-F238E27FC236}">
                    <a16:creationId xmlns:a16="http://schemas.microsoft.com/office/drawing/2014/main" id="{7D6F592C-284D-4B3A-953E-2857B43579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50" name="Freeform 8">
                <a:extLst>
                  <a:ext uri="{FF2B5EF4-FFF2-40B4-BE49-F238E27FC236}">
                    <a16:creationId xmlns:a16="http://schemas.microsoft.com/office/drawing/2014/main" id="{F573D29B-A363-4270-80A3-F4E52C7A38C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510" y="1566"/>
                <a:ext cx="1615" cy="1653"/>
              </a:xfrm>
              <a:custGeom>
                <a:avLst/>
                <a:gdLst/>
                <a:ahLst/>
                <a:cxnLst>
                  <a:cxn ang="0">
                    <a:pos x="4319" y="2213"/>
                  </a:cxn>
                  <a:cxn ang="0">
                    <a:pos x="4796" y="1894"/>
                  </a:cxn>
                  <a:cxn ang="0">
                    <a:pos x="4876" y="1759"/>
                  </a:cxn>
                  <a:cxn ang="0">
                    <a:pos x="4526" y="1075"/>
                  </a:cxn>
                  <a:cxn ang="0">
                    <a:pos x="4005" y="1264"/>
                  </a:cxn>
                  <a:cxn ang="0">
                    <a:pos x="3815" y="1225"/>
                  </a:cxn>
                  <a:cxn ang="0">
                    <a:pos x="3367" y="807"/>
                  </a:cxn>
                  <a:cxn ang="0">
                    <a:pos x="3456" y="245"/>
                  </a:cxn>
                  <a:cxn ang="0">
                    <a:pos x="2745" y="3"/>
                  </a:cxn>
                  <a:cxn ang="0">
                    <a:pos x="2590" y="70"/>
                  </a:cxn>
                  <a:cxn ang="0">
                    <a:pos x="2416" y="615"/>
                  </a:cxn>
                  <a:cxn ang="0">
                    <a:pos x="1822" y="774"/>
                  </a:cxn>
                  <a:cxn ang="0">
                    <a:pos x="1644" y="700"/>
                  </a:cxn>
                  <a:cxn ang="0">
                    <a:pos x="1252" y="324"/>
                  </a:cxn>
                  <a:cxn ang="0">
                    <a:pos x="653" y="807"/>
                  </a:cxn>
                  <a:cxn ang="0">
                    <a:pos x="942" y="1274"/>
                  </a:cxn>
                  <a:cxn ang="0">
                    <a:pos x="960" y="1467"/>
                  </a:cxn>
                  <a:cxn ang="0">
                    <a:pos x="660" y="2003"/>
                  </a:cxn>
                  <a:cxn ang="0">
                    <a:pos x="90" y="2042"/>
                  </a:cxn>
                  <a:cxn ang="0">
                    <a:pos x="0" y="2797"/>
                  </a:cxn>
                  <a:cxn ang="0">
                    <a:pos x="86" y="2927"/>
                  </a:cxn>
                  <a:cxn ang="0">
                    <a:pos x="656" y="2972"/>
                  </a:cxn>
                  <a:cxn ang="0">
                    <a:pos x="952" y="3509"/>
                  </a:cxn>
                  <a:cxn ang="0">
                    <a:pos x="932" y="3702"/>
                  </a:cxn>
                  <a:cxn ang="0">
                    <a:pos x="640" y="4167"/>
                  </a:cxn>
                  <a:cxn ang="0">
                    <a:pos x="1235" y="4655"/>
                  </a:cxn>
                  <a:cxn ang="0">
                    <a:pos x="1630" y="4283"/>
                  </a:cxn>
                  <a:cxn ang="0">
                    <a:pos x="1809" y="4210"/>
                  </a:cxn>
                  <a:cxn ang="0">
                    <a:pos x="2403" y="4373"/>
                  </a:cxn>
                  <a:cxn ang="0">
                    <a:pos x="2574" y="4919"/>
                  </a:cxn>
                  <a:cxn ang="0">
                    <a:pos x="2728" y="4987"/>
                  </a:cxn>
                  <a:cxn ang="0">
                    <a:pos x="3441" y="4750"/>
                  </a:cxn>
                  <a:cxn ang="0">
                    <a:pos x="3356" y="4187"/>
                  </a:cxn>
                  <a:cxn ang="0">
                    <a:pos x="3806" y="3773"/>
                  </a:cxn>
                  <a:cxn ang="0">
                    <a:pos x="3997" y="3735"/>
                  </a:cxn>
                  <a:cxn ang="0">
                    <a:pos x="4516" y="3927"/>
                  </a:cxn>
                  <a:cxn ang="0">
                    <a:pos x="4871" y="3245"/>
                  </a:cxn>
                  <a:cxn ang="0">
                    <a:pos x="4421" y="2930"/>
                  </a:cxn>
                  <a:cxn ang="0">
                    <a:pos x="4317" y="2787"/>
                  </a:cxn>
                  <a:cxn ang="0">
                    <a:pos x="3788" y="2500"/>
                  </a:cxn>
                  <a:cxn ang="0">
                    <a:pos x="3728" y="2887"/>
                  </a:cxn>
                  <a:cxn ang="0">
                    <a:pos x="3545" y="3252"/>
                  </a:cxn>
                  <a:cxn ang="0">
                    <a:pos x="3261" y="3541"/>
                  </a:cxn>
                  <a:cxn ang="0">
                    <a:pos x="2899" y="3730"/>
                  </a:cxn>
                  <a:cxn ang="0">
                    <a:pos x="2481" y="3796"/>
                  </a:cxn>
                  <a:cxn ang="0">
                    <a:pos x="2093" y="3736"/>
                  </a:cxn>
                  <a:cxn ang="0">
                    <a:pos x="1728" y="3553"/>
                  </a:cxn>
                  <a:cxn ang="0">
                    <a:pos x="1439" y="3269"/>
                  </a:cxn>
                  <a:cxn ang="0">
                    <a:pos x="1250" y="2907"/>
                  </a:cxn>
                  <a:cxn ang="0">
                    <a:pos x="1184" y="2490"/>
                  </a:cxn>
                  <a:cxn ang="0">
                    <a:pos x="1244" y="2102"/>
                  </a:cxn>
                  <a:cxn ang="0">
                    <a:pos x="1427" y="1736"/>
                  </a:cxn>
                  <a:cxn ang="0">
                    <a:pos x="1711" y="1448"/>
                  </a:cxn>
                  <a:cxn ang="0">
                    <a:pos x="2073" y="1259"/>
                  </a:cxn>
                  <a:cxn ang="0">
                    <a:pos x="2492" y="1192"/>
                  </a:cxn>
                  <a:cxn ang="0">
                    <a:pos x="2878" y="1252"/>
                  </a:cxn>
                  <a:cxn ang="0">
                    <a:pos x="3244" y="1435"/>
                  </a:cxn>
                  <a:cxn ang="0">
                    <a:pos x="3532" y="1719"/>
                  </a:cxn>
                  <a:cxn ang="0">
                    <a:pos x="3721" y="2081"/>
                  </a:cxn>
                  <a:cxn ang="0">
                    <a:pos x="3788" y="2500"/>
                  </a:cxn>
                </a:cxnLst>
                <a:rect l="0" t="0" r="r" b="b"/>
                <a:pathLst>
                  <a:path w="4876" h="4990">
                    <a:moveTo>
                      <a:pt x="4332" y="2502"/>
                    </a:moveTo>
                    <a:lnTo>
                      <a:pt x="4332" y="2502"/>
                    </a:lnTo>
                    <a:lnTo>
                      <a:pt x="4331" y="2455"/>
                    </a:lnTo>
                    <a:lnTo>
                      <a:pt x="4329" y="2412"/>
                    </a:lnTo>
                    <a:lnTo>
                      <a:pt x="4327" y="2373"/>
                    </a:lnTo>
                    <a:lnTo>
                      <a:pt x="4324" y="2340"/>
                    </a:lnTo>
                    <a:lnTo>
                      <a:pt x="4319" y="2291"/>
                    </a:lnTo>
                    <a:lnTo>
                      <a:pt x="4317" y="2273"/>
                    </a:lnTo>
                    <a:lnTo>
                      <a:pt x="4317" y="2273"/>
                    </a:lnTo>
                    <a:lnTo>
                      <a:pt x="4315" y="2258"/>
                    </a:lnTo>
                    <a:lnTo>
                      <a:pt x="4315" y="2243"/>
                    </a:lnTo>
                    <a:lnTo>
                      <a:pt x="4317" y="2228"/>
                    </a:lnTo>
                    <a:lnTo>
                      <a:pt x="4319" y="2213"/>
                    </a:lnTo>
                    <a:lnTo>
                      <a:pt x="4323" y="2199"/>
                    </a:lnTo>
                    <a:lnTo>
                      <a:pt x="4327" y="2184"/>
                    </a:lnTo>
                    <a:lnTo>
                      <a:pt x="4333" y="2170"/>
                    </a:lnTo>
                    <a:lnTo>
                      <a:pt x="4340" y="2156"/>
                    </a:lnTo>
                    <a:lnTo>
                      <a:pt x="4348" y="2142"/>
                    </a:lnTo>
                    <a:lnTo>
                      <a:pt x="4356" y="2130"/>
                    </a:lnTo>
                    <a:lnTo>
                      <a:pt x="4366" y="2117"/>
                    </a:lnTo>
                    <a:lnTo>
                      <a:pt x="4376" y="2106"/>
                    </a:lnTo>
                    <a:lnTo>
                      <a:pt x="4387" y="2096"/>
                    </a:lnTo>
                    <a:lnTo>
                      <a:pt x="4399" y="2087"/>
                    </a:lnTo>
                    <a:lnTo>
                      <a:pt x="4411" y="2078"/>
                    </a:lnTo>
                    <a:lnTo>
                      <a:pt x="4424" y="2071"/>
                    </a:lnTo>
                    <a:lnTo>
                      <a:pt x="4796" y="1894"/>
                    </a:lnTo>
                    <a:lnTo>
                      <a:pt x="4796" y="1894"/>
                    </a:lnTo>
                    <a:lnTo>
                      <a:pt x="4809" y="1887"/>
                    </a:lnTo>
                    <a:lnTo>
                      <a:pt x="4820" y="1879"/>
                    </a:lnTo>
                    <a:lnTo>
                      <a:pt x="4831" y="1870"/>
                    </a:lnTo>
                    <a:lnTo>
                      <a:pt x="4841" y="1860"/>
                    </a:lnTo>
                    <a:lnTo>
                      <a:pt x="4849" y="1849"/>
                    </a:lnTo>
                    <a:lnTo>
                      <a:pt x="4857" y="1838"/>
                    </a:lnTo>
                    <a:lnTo>
                      <a:pt x="4863" y="1826"/>
                    </a:lnTo>
                    <a:lnTo>
                      <a:pt x="4868" y="1813"/>
                    </a:lnTo>
                    <a:lnTo>
                      <a:pt x="4872" y="1800"/>
                    </a:lnTo>
                    <a:lnTo>
                      <a:pt x="4875" y="1787"/>
                    </a:lnTo>
                    <a:lnTo>
                      <a:pt x="4876" y="1773"/>
                    </a:lnTo>
                    <a:lnTo>
                      <a:pt x="4876" y="1759"/>
                    </a:lnTo>
                    <a:lnTo>
                      <a:pt x="4875" y="1746"/>
                    </a:lnTo>
                    <a:lnTo>
                      <a:pt x="4872" y="1732"/>
                    </a:lnTo>
                    <a:lnTo>
                      <a:pt x="4868" y="1718"/>
                    </a:lnTo>
                    <a:lnTo>
                      <a:pt x="4863" y="1705"/>
                    </a:lnTo>
                    <a:lnTo>
                      <a:pt x="4595" y="1142"/>
                    </a:lnTo>
                    <a:lnTo>
                      <a:pt x="4595" y="1142"/>
                    </a:lnTo>
                    <a:lnTo>
                      <a:pt x="4588" y="1130"/>
                    </a:lnTo>
                    <a:lnTo>
                      <a:pt x="4580" y="1118"/>
                    </a:lnTo>
                    <a:lnTo>
                      <a:pt x="4571" y="1107"/>
                    </a:lnTo>
                    <a:lnTo>
                      <a:pt x="4561" y="1097"/>
                    </a:lnTo>
                    <a:lnTo>
                      <a:pt x="4550" y="1089"/>
                    </a:lnTo>
                    <a:lnTo>
                      <a:pt x="4539" y="1081"/>
                    </a:lnTo>
                    <a:lnTo>
                      <a:pt x="4526" y="1075"/>
                    </a:lnTo>
                    <a:lnTo>
                      <a:pt x="4514" y="1070"/>
                    </a:lnTo>
                    <a:lnTo>
                      <a:pt x="4501" y="1066"/>
                    </a:lnTo>
                    <a:lnTo>
                      <a:pt x="4487" y="1063"/>
                    </a:lnTo>
                    <a:lnTo>
                      <a:pt x="4474" y="1062"/>
                    </a:lnTo>
                    <a:lnTo>
                      <a:pt x="4460" y="1062"/>
                    </a:lnTo>
                    <a:lnTo>
                      <a:pt x="4446" y="1063"/>
                    </a:lnTo>
                    <a:lnTo>
                      <a:pt x="4433" y="1066"/>
                    </a:lnTo>
                    <a:lnTo>
                      <a:pt x="4419" y="1070"/>
                    </a:lnTo>
                    <a:lnTo>
                      <a:pt x="4406" y="1075"/>
                    </a:lnTo>
                    <a:lnTo>
                      <a:pt x="4033" y="1253"/>
                    </a:lnTo>
                    <a:lnTo>
                      <a:pt x="4033" y="1253"/>
                    </a:lnTo>
                    <a:lnTo>
                      <a:pt x="4019" y="1259"/>
                    </a:lnTo>
                    <a:lnTo>
                      <a:pt x="4005" y="1264"/>
                    </a:lnTo>
                    <a:lnTo>
                      <a:pt x="3990" y="1267"/>
                    </a:lnTo>
                    <a:lnTo>
                      <a:pt x="3975" y="1269"/>
                    </a:lnTo>
                    <a:lnTo>
                      <a:pt x="3960" y="1271"/>
                    </a:lnTo>
                    <a:lnTo>
                      <a:pt x="3944" y="1271"/>
                    </a:lnTo>
                    <a:lnTo>
                      <a:pt x="3928" y="1270"/>
                    </a:lnTo>
                    <a:lnTo>
                      <a:pt x="3913" y="1267"/>
                    </a:lnTo>
                    <a:lnTo>
                      <a:pt x="3897" y="1264"/>
                    </a:lnTo>
                    <a:lnTo>
                      <a:pt x="3882" y="1260"/>
                    </a:lnTo>
                    <a:lnTo>
                      <a:pt x="3867" y="1255"/>
                    </a:lnTo>
                    <a:lnTo>
                      <a:pt x="3853" y="1249"/>
                    </a:lnTo>
                    <a:lnTo>
                      <a:pt x="3839" y="1242"/>
                    </a:lnTo>
                    <a:lnTo>
                      <a:pt x="3827" y="1234"/>
                    </a:lnTo>
                    <a:lnTo>
                      <a:pt x="3815" y="1225"/>
                    </a:lnTo>
                    <a:lnTo>
                      <a:pt x="3804" y="1215"/>
                    </a:lnTo>
                    <a:lnTo>
                      <a:pt x="3451" y="932"/>
                    </a:lnTo>
                    <a:lnTo>
                      <a:pt x="3451" y="932"/>
                    </a:lnTo>
                    <a:lnTo>
                      <a:pt x="3439" y="924"/>
                    </a:lnTo>
                    <a:lnTo>
                      <a:pt x="3428" y="914"/>
                    </a:lnTo>
                    <a:lnTo>
                      <a:pt x="3417" y="903"/>
                    </a:lnTo>
                    <a:lnTo>
                      <a:pt x="3407" y="891"/>
                    </a:lnTo>
                    <a:lnTo>
                      <a:pt x="3398" y="879"/>
                    </a:lnTo>
                    <a:lnTo>
                      <a:pt x="3390" y="865"/>
                    </a:lnTo>
                    <a:lnTo>
                      <a:pt x="3383" y="852"/>
                    </a:lnTo>
                    <a:lnTo>
                      <a:pt x="3376" y="837"/>
                    </a:lnTo>
                    <a:lnTo>
                      <a:pt x="3371" y="822"/>
                    </a:lnTo>
                    <a:lnTo>
                      <a:pt x="3367" y="807"/>
                    </a:lnTo>
                    <a:lnTo>
                      <a:pt x="3363" y="792"/>
                    </a:lnTo>
                    <a:lnTo>
                      <a:pt x="3361" y="777"/>
                    </a:lnTo>
                    <a:lnTo>
                      <a:pt x="3360" y="761"/>
                    </a:lnTo>
                    <a:lnTo>
                      <a:pt x="3360" y="746"/>
                    </a:lnTo>
                    <a:lnTo>
                      <a:pt x="3362" y="731"/>
                    </a:lnTo>
                    <a:lnTo>
                      <a:pt x="3364" y="717"/>
                    </a:lnTo>
                    <a:lnTo>
                      <a:pt x="3458" y="314"/>
                    </a:lnTo>
                    <a:lnTo>
                      <a:pt x="3458" y="314"/>
                    </a:lnTo>
                    <a:lnTo>
                      <a:pt x="3460" y="300"/>
                    </a:lnTo>
                    <a:lnTo>
                      <a:pt x="3461" y="286"/>
                    </a:lnTo>
                    <a:lnTo>
                      <a:pt x="3461" y="272"/>
                    </a:lnTo>
                    <a:lnTo>
                      <a:pt x="3459" y="258"/>
                    </a:lnTo>
                    <a:lnTo>
                      <a:pt x="3456" y="245"/>
                    </a:lnTo>
                    <a:lnTo>
                      <a:pt x="3452" y="232"/>
                    </a:lnTo>
                    <a:lnTo>
                      <a:pt x="3447" y="219"/>
                    </a:lnTo>
                    <a:lnTo>
                      <a:pt x="3440" y="207"/>
                    </a:lnTo>
                    <a:lnTo>
                      <a:pt x="3432" y="196"/>
                    </a:lnTo>
                    <a:lnTo>
                      <a:pt x="3423" y="186"/>
                    </a:lnTo>
                    <a:lnTo>
                      <a:pt x="3414" y="176"/>
                    </a:lnTo>
                    <a:lnTo>
                      <a:pt x="3403" y="168"/>
                    </a:lnTo>
                    <a:lnTo>
                      <a:pt x="3391" y="160"/>
                    </a:lnTo>
                    <a:lnTo>
                      <a:pt x="3379" y="153"/>
                    </a:lnTo>
                    <a:lnTo>
                      <a:pt x="3366" y="148"/>
                    </a:lnTo>
                    <a:lnTo>
                      <a:pt x="3352" y="144"/>
                    </a:lnTo>
                    <a:lnTo>
                      <a:pt x="2745" y="3"/>
                    </a:lnTo>
                    <a:lnTo>
                      <a:pt x="2745" y="3"/>
                    </a:lnTo>
                    <a:lnTo>
                      <a:pt x="2730" y="1"/>
                    </a:lnTo>
                    <a:lnTo>
                      <a:pt x="2716" y="0"/>
                    </a:lnTo>
                    <a:lnTo>
                      <a:pt x="2702" y="0"/>
                    </a:lnTo>
                    <a:lnTo>
                      <a:pt x="2688" y="2"/>
                    </a:lnTo>
                    <a:lnTo>
                      <a:pt x="2675" y="5"/>
                    </a:lnTo>
                    <a:lnTo>
                      <a:pt x="2662" y="9"/>
                    </a:lnTo>
                    <a:lnTo>
                      <a:pt x="2649" y="15"/>
                    </a:lnTo>
                    <a:lnTo>
                      <a:pt x="2638" y="21"/>
                    </a:lnTo>
                    <a:lnTo>
                      <a:pt x="2626" y="29"/>
                    </a:lnTo>
                    <a:lnTo>
                      <a:pt x="2616" y="38"/>
                    </a:lnTo>
                    <a:lnTo>
                      <a:pt x="2606" y="48"/>
                    </a:lnTo>
                    <a:lnTo>
                      <a:pt x="2598" y="58"/>
                    </a:lnTo>
                    <a:lnTo>
                      <a:pt x="2590" y="70"/>
                    </a:lnTo>
                    <a:lnTo>
                      <a:pt x="2584" y="82"/>
                    </a:lnTo>
                    <a:lnTo>
                      <a:pt x="2578" y="96"/>
                    </a:lnTo>
                    <a:lnTo>
                      <a:pt x="2574" y="110"/>
                    </a:lnTo>
                    <a:lnTo>
                      <a:pt x="2481" y="512"/>
                    </a:lnTo>
                    <a:lnTo>
                      <a:pt x="2481" y="512"/>
                    </a:lnTo>
                    <a:lnTo>
                      <a:pt x="2477" y="526"/>
                    </a:lnTo>
                    <a:lnTo>
                      <a:pt x="2472" y="540"/>
                    </a:lnTo>
                    <a:lnTo>
                      <a:pt x="2465" y="554"/>
                    </a:lnTo>
                    <a:lnTo>
                      <a:pt x="2457" y="567"/>
                    </a:lnTo>
                    <a:lnTo>
                      <a:pt x="2448" y="580"/>
                    </a:lnTo>
                    <a:lnTo>
                      <a:pt x="2438" y="592"/>
                    </a:lnTo>
                    <a:lnTo>
                      <a:pt x="2428" y="604"/>
                    </a:lnTo>
                    <a:lnTo>
                      <a:pt x="2416" y="615"/>
                    </a:lnTo>
                    <a:lnTo>
                      <a:pt x="2404" y="625"/>
                    </a:lnTo>
                    <a:lnTo>
                      <a:pt x="2392" y="634"/>
                    </a:lnTo>
                    <a:lnTo>
                      <a:pt x="2378" y="643"/>
                    </a:lnTo>
                    <a:lnTo>
                      <a:pt x="2365" y="650"/>
                    </a:lnTo>
                    <a:lnTo>
                      <a:pt x="2351" y="656"/>
                    </a:lnTo>
                    <a:lnTo>
                      <a:pt x="2336" y="661"/>
                    </a:lnTo>
                    <a:lnTo>
                      <a:pt x="2322" y="665"/>
                    </a:lnTo>
                    <a:lnTo>
                      <a:pt x="2308" y="668"/>
                    </a:lnTo>
                    <a:lnTo>
                      <a:pt x="1866" y="766"/>
                    </a:lnTo>
                    <a:lnTo>
                      <a:pt x="1866" y="766"/>
                    </a:lnTo>
                    <a:lnTo>
                      <a:pt x="1852" y="770"/>
                    </a:lnTo>
                    <a:lnTo>
                      <a:pt x="1837" y="772"/>
                    </a:lnTo>
                    <a:lnTo>
                      <a:pt x="1822" y="774"/>
                    </a:lnTo>
                    <a:lnTo>
                      <a:pt x="1807" y="774"/>
                    </a:lnTo>
                    <a:lnTo>
                      <a:pt x="1792" y="774"/>
                    </a:lnTo>
                    <a:lnTo>
                      <a:pt x="1776" y="772"/>
                    </a:lnTo>
                    <a:lnTo>
                      <a:pt x="1761" y="769"/>
                    </a:lnTo>
                    <a:lnTo>
                      <a:pt x="1745" y="765"/>
                    </a:lnTo>
                    <a:lnTo>
                      <a:pt x="1730" y="760"/>
                    </a:lnTo>
                    <a:lnTo>
                      <a:pt x="1716" y="754"/>
                    </a:lnTo>
                    <a:lnTo>
                      <a:pt x="1702" y="747"/>
                    </a:lnTo>
                    <a:lnTo>
                      <a:pt x="1689" y="739"/>
                    </a:lnTo>
                    <a:lnTo>
                      <a:pt x="1676" y="730"/>
                    </a:lnTo>
                    <a:lnTo>
                      <a:pt x="1664" y="721"/>
                    </a:lnTo>
                    <a:lnTo>
                      <a:pt x="1654" y="711"/>
                    </a:lnTo>
                    <a:lnTo>
                      <a:pt x="1644" y="700"/>
                    </a:lnTo>
                    <a:lnTo>
                      <a:pt x="1387" y="375"/>
                    </a:lnTo>
                    <a:lnTo>
                      <a:pt x="1387" y="375"/>
                    </a:lnTo>
                    <a:lnTo>
                      <a:pt x="1378" y="365"/>
                    </a:lnTo>
                    <a:lnTo>
                      <a:pt x="1368" y="355"/>
                    </a:lnTo>
                    <a:lnTo>
                      <a:pt x="1356" y="346"/>
                    </a:lnTo>
                    <a:lnTo>
                      <a:pt x="1345" y="339"/>
                    </a:lnTo>
                    <a:lnTo>
                      <a:pt x="1332" y="333"/>
                    </a:lnTo>
                    <a:lnTo>
                      <a:pt x="1319" y="328"/>
                    </a:lnTo>
                    <a:lnTo>
                      <a:pt x="1306" y="325"/>
                    </a:lnTo>
                    <a:lnTo>
                      <a:pt x="1293" y="323"/>
                    </a:lnTo>
                    <a:lnTo>
                      <a:pt x="1279" y="322"/>
                    </a:lnTo>
                    <a:lnTo>
                      <a:pt x="1265" y="322"/>
                    </a:lnTo>
                    <a:lnTo>
                      <a:pt x="1252" y="324"/>
                    </a:lnTo>
                    <a:lnTo>
                      <a:pt x="1238" y="327"/>
                    </a:lnTo>
                    <a:lnTo>
                      <a:pt x="1225" y="331"/>
                    </a:lnTo>
                    <a:lnTo>
                      <a:pt x="1213" y="337"/>
                    </a:lnTo>
                    <a:lnTo>
                      <a:pt x="1200" y="344"/>
                    </a:lnTo>
                    <a:lnTo>
                      <a:pt x="1188" y="352"/>
                    </a:lnTo>
                    <a:lnTo>
                      <a:pt x="700" y="739"/>
                    </a:lnTo>
                    <a:lnTo>
                      <a:pt x="700" y="739"/>
                    </a:lnTo>
                    <a:lnTo>
                      <a:pt x="689" y="748"/>
                    </a:lnTo>
                    <a:lnTo>
                      <a:pt x="679" y="759"/>
                    </a:lnTo>
                    <a:lnTo>
                      <a:pt x="671" y="770"/>
                    </a:lnTo>
                    <a:lnTo>
                      <a:pt x="664" y="782"/>
                    </a:lnTo>
                    <a:lnTo>
                      <a:pt x="658" y="794"/>
                    </a:lnTo>
                    <a:lnTo>
                      <a:pt x="653" y="807"/>
                    </a:lnTo>
                    <a:lnTo>
                      <a:pt x="649" y="820"/>
                    </a:lnTo>
                    <a:lnTo>
                      <a:pt x="647" y="834"/>
                    </a:lnTo>
                    <a:lnTo>
                      <a:pt x="646" y="847"/>
                    </a:lnTo>
                    <a:lnTo>
                      <a:pt x="647" y="861"/>
                    </a:lnTo>
                    <a:lnTo>
                      <a:pt x="648" y="874"/>
                    </a:lnTo>
                    <a:lnTo>
                      <a:pt x="651" y="888"/>
                    </a:lnTo>
                    <a:lnTo>
                      <a:pt x="656" y="901"/>
                    </a:lnTo>
                    <a:lnTo>
                      <a:pt x="661" y="914"/>
                    </a:lnTo>
                    <a:lnTo>
                      <a:pt x="668" y="926"/>
                    </a:lnTo>
                    <a:lnTo>
                      <a:pt x="677" y="938"/>
                    </a:lnTo>
                    <a:lnTo>
                      <a:pt x="933" y="1262"/>
                    </a:lnTo>
                    <a:lnTo>
                      <a:pt x="933" y="1262"/>
                    </a:lnTo>
                    <a:lnTo>
                      <a:pt x="942" y="1274"/>
                    </a:lnTo>
                    <a:lnTo>
                      <a:pt x="950" y="1287"/>
                    </a:lnTo>
                    <a:lnTo>
                      <a:pt x="956" y="1301"/>
                    </a:lnTo>
                    <a:lnTo>
                      <a:pt x="962" y="1315"/>
                    </a:lnTo>
                    <a:lnTo>
                      <a:pt x="966" y="1330"/>
                    </a:lnTo>
                    <a:lnTo>
                      <a:pt x="970" y="1345"/>
                    </a:lnTo>
                    <a:lnTo>
                      <a:pt x="972" y="1361"/>
                    </a:lnTo>
                    <a:lnTo>
                      <a:pt x="974" y="1376"/>
                    </a:lnTo>
                    <a:lnTo>
                      <a:pt x="974" y="1392"/>
                    </a:lnTo>
                    <a:lnTo>
                      <a:pt x="973" y="1408"/>
                    </a:lnTo>
                    <a:lnTo>
                      <a:pt x="971" y="1423"/>
                    </a:lnTo>
                    <a:lnTo>
                      <a:pt x="969" y="1438"/>
                    </a:lnTo>
                    <a:lnTo>
                      <a:pt x="965" y="1453"/>
                    </a:lnTo>
                    <a:lnTo>
                      <a:pt x="960" y="1467"/>
                    </a:lnTo>
                    <a:lnTo>
                      <a:pt x="954" y="1481"/>
                    </a:lnTo>
                    <a:lnTo>
                      <a:pt x="947" y="1494"/>
                    </a:lnTo>
                    <a:lnTo>
                      <a:pt x="749" y="1901"/>
                    </a:lnTo>
                    <a:lnTo>
                      <a:pt x="749" y="1901"/>
                    </a:lnTo>
                    <a:lnTo>
                      <a:pt x="744" y="1914"/>
                    </a:lnTo>
                    <a:lnTo>
                      <a:pt x="737" y="1927"/>
                    </a:lnTo>
                    <a:lnTo>
                      <a:pt x="728" y="1940"/>
                    </a:lnTo>
                    <a:lnTo>
                      <a:pt x="719" y="1952"/>
                    </a:lnTo>
                    <a:lnTo>
                      <a:pt x="709" y="1964"/>
                    </a:lnTo>
                    <a:lnTo>
                      <a:pt x="698" y="1975"/>
                    </a:lnTo>
                    <a:lnTo>
                      <a:pt x="686" y="1985"/>
                    </a:lnTo>
                    <a:lnTo>
                      <a:pt x="673" y="1994"/>
                    </a:lnTo>
                    <a:lnTo>
                      <a:pt x="660" y="2003"/>
                    </a:lnTo>
                    <a:lnTo>
                      <a:pt x="646" y="2010"/>
                    </a:lnTo>
                    <a:lnTo>
                      <a:pt x="632" y="2017"/>
                    </a:lnTo>
                    <a:lnTo>
                      <a:pt x="617" y="2023"/>
                    </a:lnTo>
                    <a:lnTo>
                      <a:pt x="603" y="2027"/>
                    </a:lnTo>
                    <a:lnTo>
                      <a:pt x="588" y="2030"/>
                    </a:lnTo>
                    <a:lnTo>
                      <a:pt x="573" y="2032"/>
                    </a:lnTo>
                    <a:lnTo>
                      <a:pt x="558" y="2033"/>
                    </a:lnTo>
                    <a:lnTo>
                      <a:pt x="145" y="2031"/>
                    </a:lnTo>
                    <a:lnTo>
                      <a:pt x="145" y="2031"/>
                    </a:lnTo>
                    <a:lnTo>
                      <a:pt x="130" y="2032"/>
                    </a:lnTo>
                    <a:lnTo>
                      <a:pt x="116" y="2034"/>
                    </a:lnTo>
                    <a:lnTo>
                      <a:pt x="103" y="2037"/>
                    </a:lnTo>
                    <a:lnTo>
                      <a:pt x="90" y="2042"/>
                    </a:lnTo>
                    <a:lnTo>
                      <a:pt x="77" y="2048"/>
                    </a:lnTo>
                    <a:lnTo>
                      <a:pt x="65" y="2055"/>
                    </a:lnTo>
                    <a:lnTo>
                      <a:pt x="55" y="2063"/>
                    </a:lnTo>
                    <a:lnTo>
                      <a:pt x="44" y="2072"/>
                    </a:lnTo>
                    <a:lnTo>
                      <a:pt x="35" y="2083"/>
                    </a:lnTo>
                    <a:lnTo>
                      <a:pt x="27" y="2093"/>
                    </a:lnTo>
                    <a:lnTo>
                      <a:pt x="20" y="2105"/>
                    </a:lnTo>
                    <a:lnTo>
                      <a:pt x="14" y="2117"/>
                    </a:lnTo>
                    <a:lnTo>
                      <a:pt x="9" y="2130"/>
                    </a:lnTo>
                    <a:lnTo>
                      <a:pt x="5" y="2144"/>
                    </a:lnTo>
                    <a:lnTo>
                      <a:pt x="3" y="2158"/>
                    </a:lnTo>
                    <a:lnTo>
                      <a:pt x="2" y="2172"/>
                    </a:lnTo>
                    <a:lnTo>
                      <a:pt x="0" y="2797"/>
                    </a:lnTo>
                    <a:lnTo>
                      <a:pt x="0" y="2797"/>
                    </a:lnTo>
                    <a:lnTo>
                      <a:pt x="1" y="2811"/>
                    </a:lnTo>
                    <a:lnTo>
                      <a:pt x="3" y="2825"/>
                    </a:lnTo>
                    <a:lnTo>
                      <a:pt x="6" y="2839"/>
                    </a:lnTo>
                    <a:lnTo>
                      <a:pt x="11" y="2852"/>
                    </a:lnTo>
                    <a:lnTo>
                      <a:pt x="17" y="2864"/>
                    </a:lnTo>
                    <a:lnTo>
                      <a:pt x="24" y="2876"/>
                    </a:lnTo>
                    <a:lnTo>
                      <a:pt x="32" y="2887"/>
                    </a:lnTo>
                    <a:lnTo>
                      <a:pt x="41" y="2897"/>
                    </a:lnTo>
                    <a:lnTo>
                      <a:pt x="51" y="2906"/>
                    </a:lnTo>
                    <a:lnTo>
                      <a:pt x="62" y="2914"/>
                    </a:lnTo>
                    <a:lnTo>
                      <a:pt x="74" y="2921"/>
                    </a:lnTo>
                    <a:lnTo>
                      <a:pt x="86" y="2927"/>
                    </a:lnTo>
                    <a:lnTo>
                      <a:pt x="99" y="2932"/>
                    </a:lnTo>
                    <a:lnTo>
                      <a:pt x="113" y="2936"/>
                    </a:lnTo>
                    <a:lnTo>
                      <a:pt x="127" y="2938"/>
                    </a:lnTo>
                    <a:lnTo>
                      <a:pt x="141" y="2939"/>
                    </a:lnTo>
                    <a:lnTo>
                      <a:pt x="555" y="2941"/>
                    </a:lnTo>
                    <a:lnTo>
                      <a:pt x="555" y="2941"/>
                    </a:lnTo>
                    <a:lnTo>
                      <a:pt x="570" y="2941"/>
                    </a:lnTo>
                    <a:lnTo>
                      <a:pt x="584" y="2944"/>
                    </a:lnTo>
                    <a:lnTo>
                      <a:pt x="599" y="2947"/>
                    </a:lnTo>
                    <a:lnTo>
                      <a:pt x="614" y="2951"/>
                    </a:lnTo>
                    <a:lnTo>
                      <a:pt x="628" y="2957"/>
                    </a:lnTo>
                    <a:lnTo>
                      <a:pt x="642" y="2964"/>
                    </a:lnTo>
                    <a:lnTo>
                      <a:pt x="656" y="2972"/>
                    </a:lnTo>
                    <a:lnTo>
                      <a:pt x="669" y="2980"/>
                    </a:lnTo>
                    <a:lnTo>
                      <a:pt x="682" y="2990"/>
                    </a:lnTo>
                    <a:lnTo>
                      <a:pt x="694" y="3000"/>
                    </a:lnTo>
                    <a:lnTo>
                      <a:pt x="705" y="3011"/>
                    </a:lnTo>
                    <a:lnTo>
                      <a:pt x="715" y="3023"/>
                    </a:lnTo>
                    <a:lnTo>
                      <a:pt x="724" y="3035"/>
                    </a:lnTo>
                    <a:lnTo>
                      <a:pt x="732" y="3048"/>
                    </a:lnTo>
                    <a:lnTo>
                      <a:pt x="739" y="3061"/>
                    </a:lnTo>
                    <a:lnTo>
                      <a:pt x="745" y="3075"/>
                    </a:lnTo>
                    <a:lnTo>
                      <a:pt x="939" y="3482"/>
                    </a:lnTo>
                    <a:lnTo>
                      <a:pt x="939" y="3482"/>
                    </a:lnTo>
                    <a:lnTo>
                      <a:pt x="946" y="3495"/>
                    </a:lnTo>
                    <a:lnTo>
                      <a:pt x="952" y="3509"/>
                    </a:lnTo>
                    <a:lnTo>
                      <a:pt x="956" y="3523"/>
                    </a:lnTo>
                    <a:lnTo>
                      <a:pt x="960" y="3538"/>
                    </a:lnTo>
                    <a:lnTo>
                      <a:pt x="963" y="3553"/>
                    </a:lnTo>
                    <a:lnTo>
                      <a:pt x="964" y="3569"/>
                    </a:lnTo>
                    <a:lnTo>
                      <a:pt x="965" y="3585"/>
                    </a:lnTo>
                    <a:lnTo>
                      <a:pt x="965" y="3600"/>
                    </a:lnTo>
                    <a:lnTo>
                      <a:pt x="963" y="3616"/>
                    </a:lnTo>
                    <a:lnTo>
                      <a:pt x="960" y="3632"/>
                    </a:lnTo>
                    <a:lnTo>
                      <a:pt x="957" y="3647"/>
                    </a:lnTo>
                    <a:lnTo>
                      <a:pt x="952" y="3661"/>
                    </a:lnTo>
                    <a:lnTo>
                      <a:pt x="947" y="3676"/>
                    </a:lnTo>
                    <a:lnTo>
                      <a:pt x="940" y="3689"/>
                    </a:lnTo>
                    <a:lnTo>
                      <a:pt x="932" y="3702"/>
                    </a:lnTo>
                    <a:lnTo>
                      <a:pt x="924" y="3714"/>
                    </a:lnTo>
                    <a:lnTo>
                      <a:pt x="664" y="4036"/>
                    </a:lnTo>
                    <a:lnTo>
                      <a:pt x="664" y="4036"/>
                    </a:lnTo>
                    <a:lnTo>
                      <a:pt x="656" y="4048"/>
                    </a:lnTo>
                    <a:lnTo>
                      <a:pt x="649" y="4060"/>
                    </a:lnTo>
                    <a:lnTo>
                      <a:pt x="643" y="4073"/>
                    </a:lnTo>
                    <a:lnTo>
                      <a:pt x="639" y="4086"/>
                    </a:lnTo>
                    <a:lnTo>
                      <a:pt x="636" y="4100"/>
                    </a:lnTo>
                    <a:lnTo>
                      <a:pt x="634" y="4113"/>
                    </a:lnTo>
                    <a:lnTo>
                      <a:pt x="633" y="4127"/>
                    </a:lnTo>
                    <a:lnTo>
                      <a:pt x="634" y="4141"/>
                    </a:lnTo>
                    <a:lnTo>
                      <a:pt x="636" y="4154"/>
                    </a:lnTo>
                    <a:lnTo>
                      <a:pt x="640" y="4167"/>
                    </a:lnTo>
                    <a:lnTo>
                      <a:pt x="644" y="4180"/>
                    </a:lnTo>
                    <a:lnTo>
                      <a:pt x="650" y="4192"/>
                    </a:lnTo>
                    <a:lnTo>
                      <a:pt x="657" y="4204"/>
                    </a:lnTo>
                    <a:lnTo>
                      <a:pt x="666" y="4216"/>
                    </a:lnTo>
                    <a:lnTo>
                      <a:pt x="675" y="4226"/>
                    </a:lnTo>
                    <a:lnTo>
                      <a:pt x="686" y="4236"/>
                    </a:lnTo>
                    <a:lnTo>
                      <a:pt x="1172" y="4626"/>
                    </a:lnTo>
                    <a:lnTo>
                      <a:pt x="1172" y="4626"/>
                    </a:lnTo>
                    <a:lnTo>
                      <a:pt x="1183" y="4634"/>
                    </a:lnTo>
                    <a:lnTo>
                      <a:pt x="1196" y="4642"/>
                    </a:lnTo>
                    <a:lnTo>
                      <a:pt x="1208" y="4647"/>
                    </a:lnTo>
                    <a:lnTo>
                      <a:pt x="1221" y="4652"/>
                    </a:lnTo>
                    <a:lnTo>
                      <a:pt x="1235" y="4655"/>
                    </a:lnTo>
                    <a:lnTo>
                      <a:pt x="1248" y="4657"/>
                    </a:lnTo>
                    <a:lnTo>
                      <a:pt x="1262" y="4657"/>
                    </a:lnTo>
                    <a:lnTo>
                      <a:pt x="1276" y="4656"/>
                    </a:lnTo>
                    <a:lnTo>
                      <a:pt x="1289" y="4654"/>
                    </a:lnTo>
                    <a:lnTo>
                      <a:pt x="1302" y="4651"/>
                    </a:lnTo>
                    <a:lnTo>
                      <a:pt x="1315" y="4646"/>
                    </a:lnTo>
                    <a:lnTo>
                      <a:pt x="1328" y="4640"/>
                    </a:lnTo>
                    <a:lnTo>
                      <a:pt x="1339" y="4633"/>
                    </a:lnTo>
                    <a:lnTo>
                      <a:pt x="1351" y="4625"/>
                    </a:lnTo>
                    <a:lnTo>
                      <a:pt x="1361" y="4615"/>
                    </a:lnTo>
                    <a:lnTo>
                      <a:pt x="1371" y="4604"/>
                    </a:lnTo>
                    <a:lnTo>
                      <a:pt x="1630" y="4283"/>
                    </a:lnTo>
                    <a:lnTo>
                      <a:pt x="1630" y="4283"/>
                    </a:lnTo>
                    <a:lnTo>
                      <a:pt x="1639" y="4272"/>
                    </a:lnTo>
                    <a:lnTo>
                      <a:pt x="1650" y="4262"/>
                    </a:lnTo>
                    <a:lnTo>
                      <a:pt x="1662" y="4252"/>
                    </a:lnTo>
                    <a:lnTo>
                      <a:pt x="1675" y="4244"/>
                    </a:lnTo>
                    <a:lnTo>
                      <a:pt x="1688" y="4236"/>
                    </a:lnTo>
                    <a:lnTo>
                      <a:pt x="1702" y="4229"/>
                    </a:lnTo>
                    <a:lnTo>
                      <a:pt x="1717" y="4223"/>
                    </a:lnTo>
                    <a:lnTo>
                      <a:pt x="1732" y="4219"/>
                    </a:lnTo>
                    <a:lnTo>
                      <a:pt x="1747" y="4215"/>
                    </a:lnTo>
                    <a:lnTo>
                      <a:pt x="1762" y="4212"/>
                    </a:lnTo>
                    <a:lnTo>
                      <a:pt x="1778" y="4210"/>
                    </a:lnTo>
                    <a:lnTo>
                      <a:pt x="1793" y="4210"/>
                    </a:lnTo>
                    <a:lnTo>
                      <a:pt x="1809" y="4210"/>
                    </a:lnTo>
                    <a:lnTo>
                      <a:pt x="1824" y="4212"/>
                    </a:lnTo>
                    <a:lnTo>
                      <a:pt x="1838" y="4215"/>
                    </a:lnTo>
                    <a:lnTo>
                      <a:pt x="1852" y="4219"/>
                    </a:lnTo>
                    <a:lnTo>
                      <a:pt x="2295" y="4319"/>
                    </a:lnTo>
                    <a:lnTo>
                      <a:pt x="2295" y="4319"/>
                    </a:lnTo>
                    <a:lnTo>
                      <a:pt x="2309" y="4322"/>
                    </a:lnTo>
                    <a:lnTo>
                      <a:pt x="2324" y="4326"/>
                    </a:lnTo>
                    <a:lnTo>
                      <a:pt x="2338" y="4331"/>
                    </a:lnTo>
                    <a:lnTo>
                      <a:pt x="2352" y="4337"/>
                    </a:lnTo>
                    <a:lnTo>
                      <a:pt x="2366" y="4345"/>
                    </a:lnTo>
                    <a:lnTo>
                      <a:pt x="2379" y="4353"/>
                    </a:lnTo>
                    <a:lnTo>
                      <a:pt x="2391" y="4363"/>
                    </a:lnTo>
                    <a:lnTo>
                      <a:pt x="2403" y="4373"/>
                    </a:lnTo>
                    <a:lnTo>
                      <a:pt x="2415" y="4384"/>
                    </a:lnTo>
                    <a:lnTo>
                      <a:pt x="2425" y="4396"/>
                    </a:lnTo>
                    <a:lnTo>
                      <a:pt x="2435" y="4408"/>
                    </a:lnTo>
                    <a:lnTo>
                      <a:pt x="2443" y="4421"/>
                    </a:lnTo>
                    <a:lnTo>
                      <a:pt x="2451" y="4434"/>
                    </a:lnTo>
                    <a:lnTo>
                      <a:pt x="2457" y="4448"/>
                    </a:lnTo>
                    <a:lnTo>
                      <a:pt x="2464" y="4462"/>
                    </a:lnTo>
                    <a:lnTo>
                      <a:pt x="2468" y="4476"/>
                    </a:lnTo>
                    <a:lnTo>
                      <a:pt x="2558" y="4880"/>
                    </a:lnTo>
                    <a:lnTo>
                      <a:pt x="2558" y="4880"/>
                    </a:lnTo>
                    <a:lnTo>
                      <a:pt x="2562" y="4894"/>
                    </a:lnTo>
                    <a:lnTo>
                      <a:pt x="2567" y="4907"/>
                    </a:lnTo>
                    <a:lnTo>
                      <a:pt x="2574" y="4919"/>
                    </a:lnTo>
                    <a:lnTo>
                      <a:pt x="2581" y="4931"/>
                    </a:lnTo>
                    <a:lnTo>
                      <a:pt x="2590" y="4942"/>
                    </a:lnTo>
                    <a:lnTo>
                      <a:pt x="2600" y="4952"/>
                    </a:lnTo>
                    <a:lnTo>
                      <a:pt x="2610" y="4960"/>
                    </a:lnTo>
                    <a:lnTo>
                      <a:pt x="2621" y="4968"/>
                    </a:lnTo>
                    <a:lnTo>
                      <a:pt x="2633" y="4975"/>
                    </a:lnTo>
                    <a:lnTo>
                      <a:pt x="2645" y="4981"/>
                    </a:lnTo>
                    <a:lnTo>
                      <a:pt x="2658" y="4985"/>
                    </a:lnTo>
                    <a:lnTo>
                      <a:pt x="2672" y="4988"/>
                    </a:lnTo>
                    <a:lnTo>
                      <a:pt x="2685" y="4990"/>
                    </a:lnTo>
                    <a:lnTo>
                      <a:pt x="2699" y="4990"/>
                    </a:lnTo>
                    <a:lnTo>
                      <a:pt x="2714" y="4989"/>
                    </a:lnTo>
                    <a:lnTo>
                      <a:pt x="2728" y="4987"/>
                    </a:lnTo>
                    <a:lnTo>
                      <a:pt x="3336" y="4850"/>
                    </a:lnTo>
                    <a:lnTo>
                      <a:pt x="3336" y="4850"/>
                    </a:lnTo>
                    <a:lnTo>
                      <a:pt x="3350" y="4846"/>
                    </a:lnTo>
                    <a:lnTo>
                      <a:pt x="3363" y="4841"/>
                    </a:lnTo>
                    <a:lnTo>
                      <a:pt x="3376" y="4835"/>
                    </a:lnTo>
                    <a:lnTo>
                      <a:pt x="3387" y="4827"/>
                    </a:lnTo>
                    <a:lnTo>
                      <a:pt x="3398" y="4819"/>
                    </a:lnTo>
                    <a:lnTo>
                      <a:pt x="3408" y="4809"/>
                    </a:lnTo>
                    <a:lnTo>
                      <a:pt x="3417" y="4799"/>
                    </a:lnTo>
                    <a:lnTo>
                      <a:pt x="3425" y="4787"/>
                    </a:lnTo>
                    <a:lnTo>
                      <a:pt x="3431" y="4776"/>
                    </a:lnTo>
                    <a:lnTo>
                      <a:pt x="3437" y="4763"/>
                    </a:lnTo>
                    <a:lnTo>
                      <a:pt x="3441" y="4750"/>
                    </a:lnTo>
                    <a:lnTo>
                      <a:pt x="3444" y="4737"/>
                    </a:lnTo>
                    <a:lnTo>
                      <a:pt x="3446" y="4723"/>
                    </a:lnTo>
                    <a:lnTo>
                      <a:pt x="3447" y="4709"/>
                    </a:lnTo>
                    <a:lnTo>
                      <a:pt x="3446" y="4695"/>
                    </a:lnTo>
                    <a:lnTo>
                      <a:pt x="3443" y="4681"/>
                    </a:lnTo>
                    <a:lnTo>
                      <a:pt x="3352" y="4278"/>
                    </a:lnTo>
                    <a:lnTo>
                      <a:pt x="3352" y="4278"/>
                    </a:lnTo>
                    <a:lnTo>
                      <a:pt x="3350" y="4263"/>
                    </a:lnTo>
                    <a:lnTo>
                      <a:pt x="3349" y="4248"/>
                    </a:lnTo>
                    <a:lnTo>
                      <a:pt x="3349" y="4233"/>
                    </a:lnTo>
                    <a:lnTo>
                      <a:pt x="3350" y="4218"/>
                    </a:lnTo>
                    <a:lnTo>
                      <a:pt x="3352" y="4203"/>
                    </a:lnTo>
                    <a:lnTo>
                      <a:pt x="3356" y="4187"/>
                    </a:lnTo>
                    <a:lnTo>
                      <a:pt x="3360" y="4172"/>
                    </a:lnTo>
                    <a:lnTo>
                      <a:pt x="3366" y="4158"/>
                    </a:lnTo>
                    <a:lnTo>
                      <a:pt x="3372" y="4143"/>
                    </a:lnTo>
                    <a:lnTo>
                      <a:pt x="3379" y="4129"/>
                    </a:lnTo>
                    <a:lnTo>
                      <a:pt x="3388" y="4116"/>
                    </a:lnTo>
                    <a:lnTo>
                      <a:pt x="3397" y="4103"/>
                    </a:lnTo>
                    <a:lnTo>
                      <a:pt x="3407" y="4092"/>
                    </a:lnTo>
                    <a:lnTo>
                      <a:pt x="3417" y="4081"/>
                    </a:lnTo>
                    <a:lnTo>
                      <a:pt x="3429" y="4071"/>
                    </a:lnTo>
                    <a:lnTo>
                      <a:pt x="3441" y="4063"/>
                    </a:lnTo>
                    <a:lnTo>
                      <a:pt x="3795" y="3783"/>
                    </a:lnTo>
                    <a:lnTo>
                      <a:pt x="3795" y="3783"/>
                    </a:lnTo>
                    <a:lnTo>
                      <a:pt x="3806" y="3773"/>
                    </a:lnTo>
                    <a:lnTo>
                      <a:pt x="3818" y="3764"/>
                    </a:lnTo>
                    <a:lnTo>
                      <a:pt x="3831" y="3756"/>
                    </a:lnTo>
                    <a:lnTo>
                      <a:pt x="3845" y="3749"/>
                    </a:lnTo>
                    <a:lnTo>
                      <a:pt x="3859" y="3743"/>
                    </a:lnTo>
                    <a:lnTo>
                      <a:pt x="3874" y="3738"/>
                    </a:lnTo>
                    <a:lnTo>
                      <a:pt x="3889" y="3734"/>
                    </a:lnTo>
                    <a:lnTo>
                      <a:pt x="3905" y="3731"/>
                    </a:lnTo>
                    <a:lnTo>
                      <a:pt x="3920" y="3729"/>
                    </a:lnTo>
                    <a:lnTo>
                      <a:pt x="3936" y="3728"/>
                    </a:lnTo>
                    <a:lnTo>
                      <a:pt x="3952" y="3728"/>
                    </a:lnTo>
                    <a:lnTo>
                      <a:pt x="3967" y="3730"/>
                    </a:lnTo>
                    <a:lnTo>
                      <a:pt x="3982" y="3732"/>
                    </a:lnTo>
                    <a:lnTo>
                      <a:pt x="3997" y="3735"/>
                    </a:lnTo>
                    <a:lnTo>
                      <a:pt x="4011" y="3740"/>
                    </a:lnTo>
                    <a:lnTo>
                      <a:pt x="4024" y="3746"/>
                    </a:lnTo>
                    <a:lnTo>
                      <a:pt x="4396" y="3926"/>
                    </a:lnTo>
                    <a:lnTo>
                      <a:pt x="4396" y="3926"/>
                    </a:lnTo>
                    <a:lnTo>
                      <a:pt x="4409" y="3932"/>
                    </a:lnTo>
                    <a:lnTo>
                      <a:pt x="4423" y="3936"/>
                    </a:lnTo>
                    <a:lnTo>
                      <a:pt x="4436" y="3939"/>
                    </a:lnTo>
                    <a:lnTo>
                      <a:pt x="4450" y="3940"/>
                    </a:lnTo>
                    <a:lnTo>
                      <a:pt x="4464" y="3940"/>
                    </a:lnTo>
                    <a:lnTo>
                      <a:pt x="4477" y="3939"/>
                    </a:lnTo>
                    <a:lnTo>
                      <a:pt x="4491" y="3936"/>
                    </a:lnTo>
                    <a:lnTo>
                      <a:pt x="4504" y="3932"/>
                    </a:lnTo>
                    <a:lnTo>
                      <a:pt x="4516" y="3927"/>
                    </a:lnTo>
                    <a:lnTo>
                      <a:pt x="4529" y="3921"/>
                    </a:lnTo>
                    <a:lnTo>
                      <a:pt x="4540" y="3914"/>
                    </a:lnTo>
                    <a:lnTo>
                      <a:pt x="4551" y="3905"/>
                    </a:lnTo>
                    <a:lnTo>
                      <a:pt x="4561" y="3896"/>
                    </a:lnTo>
                    <a:lnTo>
                      <a:pt x="4570" y="3885"/>
                    </a:lnTo>
                    <a:lnTo>
                      <a:pt x="4578" y="3873"/>
                    </a:lnTo>
                    <a:lnTo>
                      <a:pt x="4585" y="3860"/>
                    </a:lnTo>
                    <a:lnTo>
                      <a:pt x="4857" y="3300"/>
                    </a:lnTo>
                    <a:lnTo>
                      <a:pt x="4857" y="3300"/>
                    </a:lnTo>
                    <a:lnTo>
                      <a:pt x="4863" y="3286"/>
                    </a:lnTo>
                    <a:lnTo>
                      <a:pt x="4867" y="3273"/>
                    </a:lnTo>
                    <a:lnTo>
                      <a:pt x="4870" y="3259"/>
                    </a:lnTo>
                    <a:lnTo>
                      <a:pt x="4871" y="3245"/>
                    </a:lnTo>
                    <a:lnTo>
                      <a:pt x="4872" y="3231"/>
                    </a:lnTo>
                    <a:lnTo>
                      <a:pt x="4870" y="3218"/>
                    </a:lnTo>
                    <a:lnTo>
                      <a:pt x="4868" y="3204"/>
                    </a:lnTo>
                    <a:lnTo>
                      <a:pt x="4864" y="3191"/>
                    </a:lnTo>
                    <a:lnTo>
                      <a:pt x="4859" y="3179"/>
                    </a:lnTo>
                    <a:lnTo>
                      <a:pt x="4853" y="3167"/>
                    </a:lnTo>
                    <a:lnTo>
                      <a:pt x="4845" y="3155"/>
                    </a:lnTo>
                    <a:lnTo>
                      <a:pt x="4837" y="3144"/>
                    </a:lnTo>
                    <a:lnTo>
                      <a:pt x="4827" y="3134"/>
                    </a:lnTo>
                    <a:lnTo>
                      <a:pt x="4816" y="3125"/>
                    </a:lnTo>
                    <a:lnTo>
                      <a:pt x="4805" y="3117"/>
                    </a:lnTo>
                    <a:lnTo>
                      <a:pt x="4792" y="3110"/>
                    </a:lnTo>
                    <a:lnTo>
                      <a:pt x="4421" y="2930"/>
                    </a:lnTo>
                    <a:lnTo>
                      <a:pt x="4421" y="2930"/>
                    </a:lnTo>
                    <a:lnTo>
                      <a:pt x="4408" y="2923"/>
                    </a:lnTo>
                    <a:lnTo>
                      <a:pt x="4396" y="2915"/>
                    </a:lnTo>
                    <a:lnTo>
                      <a:pt x="4384" y="2905"/>
                    </a:lnTo>
                    <a:lnTo>
                      <a:pt x="4373" y="2895"/>
                    </a:lnTo>
                    <a:lnTo>
                      <a:pt x="4363" y="2884"/>
                    </a:lnTo>
                    <a:lnTo>
                      <a:pt x="4354" y="2872"/>
                    </a:lnTo>
                    <a:lnTo>
                      <a:pt x="4345" y="2859"/>
                    </a:lnTo>
                    <a:lnTo>
                      <a:pt x="4338" y="2845"/>
                    </a:lnTo>
                    <a:lnTo>
                      <a:pt x="4331" y="2831"/>
                    </a:lnTo>
                    <a:lnTo>
                      <a:pt x="4325" y="2817"/>
                    </a:lnTo>
                    <a:lnTo>
                      <a:pt x="4321" y="2802"/>
                    </a:lnTo>
                    <a:lnTo>
                      <a:pt x="4317" y="2787"/>
                    </a:lnTo>
                    <a:lnTo>
                      <a:pt x="4315" y="2772"/>
                    </a:lnTo>
                    <a:lnTo>
                      <a:pt x="4314" y="2758"/>
                    </a:lnTo>
                    <a:lnTo>
                      <a:pt x="4314" y="2743"/>
                    </a:lnTo>
                    <a:lnTo>
                      <a:pt x="4316" y="2728"/>
                    </a:lnTo>
                    <a:lnTo>
                      <a:pt x="4316" y="2728"/>
                    </a:lnTo>
                    <a:lnTo>
                      <a:pt x="4318" y="2710"/>
                    </a:lnTo>
                    <a:lnTo>
                      <a:pt x="4323" y="2662"/>
                    </a:lnTo>
                    <a:lnTo>
                      <a:pt x="4326" y="2629"/>
                    </a:lnTo>
                    <a:lnTo>
                      <a:pt x="4329" y="2590"/>
                    </a:lnTo>
                    <a:lnTo>
                      <a:pt x="4331" y="2548"/>
                    </a:lnTo>
                    <a:lnTo>
                      <a:pt x="4332" y="2502"/>
                    </a:lnTo>
                    <a:lnTo>
                      <a:pt x="4332" y="2502"/>
                    </a:lnTo>
                    <a:close/>
                    <a:moveTo>
                      <a:pt x="3788" y="2500"/>
                    </a:moveTo>
                    <a:lnTo>
                      <a:pt x="3788" y="2500"/>
                    </a:lnTo>
                    <a:lnTo>
                      <a:pt x="3787" y="2533"/>
                    </a:lnTo>
                    <a:lnTo>
                      <a:pt x="3786" y="2567"/>
                    </a:lnTo>
                    <a:lnTo>
                      <a:pt x="3784" y="2600"/>
                    </a:lnTo>
                    <a:lnTo>
                      <a:pt x="3780" y="2633"/>
                    </a:lnTo>
                    <a:lnTo>
                      <a:pt x="3777" y="2666"/>
                    </a:lnTo>
                    <a:lnTo>
                      <a:pt x="3772" y="2698"/>
                    </a:lnTo>
                    <a:lnTo>
                      <a:pt x="3767" y="2730"/>
                    </a:lnTo>
                    <a:lnTo>
                      <a:pt x="3760" y="2762"/>
                    </a:lnTo>
                    <a:lnTo>
                      <a:pt x="3753" y="2794"/>
                    </a:lnTo>
                    <a:lnTo>
                      <a:pt x="3746" y="2825"/>
                    </a:lnTo>
                    <a:lnTo>
                      <a:pt x="3737" y="2856"/>
                    </a:lnTo>
                    <a:lnTo>
                      <a:pt x="3728" y="2887"/>
                    </a:lnTo>
                    <a:lnTo>
                      <a:pt x="3718" y="2917"/>
                    </a:lnTo>
                    <a:lnTo>
                      <a:pt x="3707" y="2947"/>
                    </a:lnTo>
                    <a:lnTo>
                      <a:pt x="3696" y="2977"/>
                    </a:lnTo>
                    <a:lnTo>
                      <a:pt x="3684" y="3006"/>
                    </a:lnTo>
                    <a:lnTo>
                      <a:pt x="3671" y="3035"/>
                    </a:lnTo>
                    <a:lnTo>
                      <a:pt x="3657" y="3064"/>
                    </a:lnTo>
                    <a:lnTo>
                      <a:pt x="3643" y="3092"/>
                    </a:lnTo>
                    <a:lnTo>
                      <a:pt x="3628" y="3120"/>
                    </a:lnTo>
                    <a:lnTo>
                      <a:pt x="3613" y="3147"/>
                    </a:lnTo>
                    <a:lnTo>
                      <a:pt x="3597" y="3174"/>
                    </a:lnTo>
                    <a:lnTo>
                      <a:pt x="3580" y="3201"/>
                    </a:lnTo>
                    <a:lnTo>
                      <a:pt x="3563" y="3227"/>
                    </a:lnTo>
                    <a:lnTo>
                      <a:pt x="3545" y="3252"/>
                    </a:lnTo>
                    <a:lnTo>
                      <a:pt x="3526" y="3278"/>
                    </a:lnTo>
                    <a:lnTo>
                      <a:pt x="3507" y="3302"/>
                    </a:lnTo>
                    <a:lnTo>
                      <a:pt x="3487" y="3327"/>
                    </a:lnTo>
                    <a:lnTo>
                      <a:pt x="3467" y="3350"/>
                    </a:lnTo>
                    <a:lnTo>
                      <a:pt x="3446" y="3374"/>
                    </a:lnTo>
                    <a:lnTo>
                      <a:pt x="3425" y="3396"/>
                    </a:lnTo>
                    <a:lnTo>
                      <a:pt x="3403" y="3419"/>
                    </a:lnTo>
                    <a:lnTo>
                      <a:pt x="3381" y="3440"/>
                    </a:lnTo>
                    <a:lnTo>
                      <a:pt x="3358" y="3462"/>
                    </a:lnTo>
                    <a:lnTo>
                      <a:pt x="3334" y="3482"/>
                    </a:lnTo>
                    <a:lnTo>
                      <a:pt x="3310" y="3502"/>
                    </a:lnTo>
                    <a:lnTo>
                      <a:pt x="3286" y="3522"/>
                    </a:lnTo>
                    <a:lnTo>
                      <a:pt x="3261" y="3541"/>
                    </a:lnTo>
                    <a:lnTo>
                      <a:pt x="3236" y="3559"/>
                    </a:lnTo>
                    <a:lnTo>
                      <a:pt x="3210" y="3577"/>
                    </a:lnTo>
                    <a:lnTo>
                      <a:pt x="3184" y="3594"/>
                    </a:lnTo>
                    <a:lnTo>
                      <a:pt x="3157" y="3611"/>
                    </a:lnTo>
                    <a:lnTo>
                      <a:pt x="3130" y="3626"/>
                    </a:lnTo>
                    <a:lnTo>
                      <a:pt x="3102" y="3642"/>
                    </a:lnTo>
                    <a:lnTo>
                      <a:pt x="3074" y="3656"/>
                    </a:lnTo>
                    <a:lnTo>
                      <a:pt x="3046" y="3670"/>
                    </a:lnTo>
                    <a:lnTo>
                      <a:pt x="3017" y="3683"/>
                    </a:lnTo>
                    <a:lnTo>
                      <a:pt x="2988" y="3696"/>
                    </a:lnTo>
                    <a:lnTo>
                      <a:pt x="2959" y="3708"/>
                    </a:lnTo>
                    <a:lnTo>
                      <a:pt x="2929" y="3719"/>
                    </a:lnTo>
                    <a:lnTo>
                      <a:pt x="2899" y="3730"/>
                    </a:lnTo>
                    <a:lnTo>
                      <a:pt x="2868" y="3739"/>
                    </a:lnTo>
                    <a:lnTo>
                      <a:pt x="2838" y="3748"/>
                    </a:lnTo>
                    <a:lnTo>
                      <a:pt x="2807" y="3757"/>
                    </a:lnTo>
                    <a:lnTo>
                      <a:pt x="2775" y="3764"/>
                    </a:lnTo>
                    <a:lnTo>
                      <a:pt x="2744" y="3771"/>
                    </a:lnTo>
                    <a:lnTo>
                      <a:pt x="2712" y="3777"/>
                    </a:lnTo>
                    <a:lnTo>
                      <a:pt x="2679" y="3782"/>
                    </a:lnTo>
                    <a:lnTo>
                      <a:pt x="2647" y="3787"/>
                    </a:lnTo>
                    <a:lnTo>
                      <a:pt x="2614" y="3790"/>
                    </a:lnTo>
                    <a:lnTo>
                      <a:pt x="2581" y="3793"/>
                    </a:lnTo>
                    <a:lnTo>
                      <a:pt x="2548" y="3795"/>
                    </a:lnTo>
                    <a:lnTo>
                      <a:pt x="2515" y="3796"/>
                    </a:lnTo>
                    <a:lnTo>
                      <a:pt x="2481" y="3796"/>
                    </a:lnTo>
                    <a:lnTo>
                      <a:pt x="2481" y="3796"/>
                    </a:lnTo>
                    <a:lnTo>
                      <a:pt x="2446" y="3796"/>
                    </a:lnTo>
                    <a:lnTo>
                      <a:pt x="2413" y="3794"/>
                    </a:lnTo>
                    <a:lnTo>
                      <a:pt x="2380" y="3792"/>
                    </a:lnTo>
                    <a:lnTo>
                      <a:pt x="2347" y="3789"/>
                    </a:lnTo>
                    <a:lnTo>
                      <a:pt x="2314" y="3785"/>
                    </a:lnTo>
                    <a:lnTo>
                      <a:pt x="2282" y="3781"/>
                    </a:lnTo>
                    <a:lnTo>
                      <a:pt x="2250" y="3775"/>
                    </a:lnTo>
                    <a:lnTo>
                      <a:pt x="2218" y="3769"/>
                    </a:lnTo>
                    <a:lnTo>
                      <a:pt x="2186" y="3762"/>
                    </a:lnTo>
                    <a:lnTo>
                      <a:pt x="2155" y="3754"/>
                    </a:lnTo>
                    <a:lnTo>
                      <a:pt x="2124" y="3746"/>
                    </a:lnTo>
                    <a:lnTo>
                      <a:pt x="2093" y="3736"/>
                    </a:lnTo>
                    <a:lnTo>
                      <a:pt x="2063" y="3726"/>
                    </a:lnTo>
                    <a:lnTo>
                      <a:pt x="2033" y="3716"/>
                    </a:lnTo>
                    <a:lnTo>
                      <a:pt x="2003" y="3704"/>
                    </a:lnTo>
                    <a:lnTo>
                      <a:pt x="1974" y="3692"/>
                    </a:lnTo>
                    <a:lnTo>
                      <a:pt x="1945" y="3679"/>
                    </a:lnTo>
                    <a:lnTo>
                      <a:pt x="1916" y="3666"/>
                    </a:lnTo>
                    <a:lnTo>
                      <a:pt x="1888" y="3652"/>
                    </a:lnTo>
                    <a:lnTo>
                      <a:pt x="1860" y="3637"/>
                    </a:lnTo>
                    <a:lnTo>
                      <a:pt x="1833" y="3621"/>
                    </a:lnTo>
                    <a:lnTo>
                      <a:pt x="1806" y="3605"/>
                    </a:lnTo>
                    <a:lnTo>
                      <a:pt x="1779" y="3589"/>
                    </a:lnTo>
                    <a:lnTo>
                      <a:pt x="1753" y="3571"/>
                    </a:lnTo>
                    <a:lnTo>
                      <a:pt x="1728" y="3553"/>
                    </a:lnTo>
                    <a:lnTo>
                      <a:pt x="1702" y="3535"/>
                    </a:lnTo>
                    <a:lnTo>
                      <a:pt x="1678" y="3516"/>
                    </a:lnTo>
                    <a:lnTo>
                      <a:pt x="1653" y="3496"/>
                    </a:lnTo>
                    <a:lnTo>
                      <a:pt x="1630" y="3476"/>
                    </a:lnTo>
                    <a:lnTo>
                      <a:pt x="1606" y="3455"/>
                    </a:lnTo>
                    <a:lnTo>
                      <a:pt x="1584" y="3433"/>
                    </a:lnTo>
                    <a:lnTo>
                      <a:pt x="1561" y="3412"/>
                    </a:lnTo>
                    <a:lnTo>
                      <a:pt x="1540" y="3389"/>
                    </a:lnTo>
                    <a:lnTo>
                      <a:pt x="1518" y="3366"/>
                    </a:lnTo>
                    <a:lnTo>
                      <a:pt x="1498" y="3343"/>
                    </a:lnTo>
                    <a:lnTo>
                      <a:pt x="1478" y="3319"/>
                    </a:lnTo>
                    <a:lnTo>
                      <a:pt x="1458" y="3294"/>
                    </a:lnTo>
                    <a:lnTo>
                      <a:pt x="1439" y="3269"/>
                    </a:lnTo>
                    <a:lnTo>
                      <a:pt x="1421" y="3244"/>
                    </a:lnTo>
                    <a:lnTo>
                      <a:pt x="1403" y="3218"/>
                    </a:lnTo>
                    <a:lnTo>
                      <a:pt x="1386" y="3192"/>
                    </a:lnTo>
                    <a:lnTo>
                      <a:pt x="1370" y="3165"/>
                    </a:lnTo>
                    <a:lnTo>
                      <a:pt x="1354" y="3138"/>
                    </a:lnTo>
                    <a:lnTo>
                      <a:pt x="1338" y="3111"/>
                    </a:lnTo>
                    <a:lnTo>
                      <a:pt x="1324" y="3083"/>
                    </a:lnTo>
                    <a:lnTo>
                      <a:pt x="1310" y="3054"/>
                    </a:lnTo>
                    <a:lnTo>
                      <a:pt x="1297" y="3026"/>
                    </a:lnTo>
                    <a:lnTo>
                      <a:pt x="1284" y="2997"/>
                    </a:lnTo>
                    <a:lnTo>
                      <a:pt x="1272" y="2967"/>
                    </a:lnTo>
                    <a:lnTo>
                      <a:pt x="1261" y="2937"/>
                    </a:lnTo>
                    <a:lnTo>
                      <a:pt x="1250" y="2907"/>
                    </a:lnTo>
                    <a:lnTo>
                      <a:pt x="1241" y="2877"/>
                    </a:lnTo>
                    <a:lnTo>
                      <a:pt x="1232" y="2846"/>
                    </a:lnTo>
                    <a:lnTo>
                      <a:pt x="1223" y="2815"/>
                    </a:lnTo>
                    <a:lnTo>
                      <a:pt x="1216" y="2784"/>
                    </a:lnTo>
                    <a:lnTo>
                      <a:pt x="1209" y="2752"/>
                    </a:lnTo>
                    <a:lnTo>
                      <a:pt x="1203" y="2720"/>
                    </a:lnTo>
                    <a:lnTo>
                      <a:pt x="1198" y="2688"/>
                    </a:lnTo>
                    <a:lnTo>
                      <a:pt x="1194" y="2655"/>
                    </a:lnTo>
                    <a:lnTo>
                      <a:pt x="1190" y="2623"/>
                    </a:lnTo>
                    <a:lnTo>
                      <a:pt x="1187" y="2590"/>
                    </a:lnTo>
                    <a:lnTo>
                      <a:pt x="1185" y="2557"/>
                    </a:lnTo>
                    <a:lnTo>
                      <a:pt x="1184" y="2523"/>
                    </a:lnTo>
                    <a:lnTo>
                      <a:pt x="1184" y="2490"/>
                    </a:lnTo>
                    <a:lnTo>
                      <a:pt x="1184" y="2490"/>
                    </a:lnTo>
                    <a:lnTo>
                      <a:pt x="1184" y="2455"/>
                    </a:lnTo>
                    <a:lnTo>
                      <a:pt x="1186" y="2422"/>
                    </a:lnTo>
                    <a:lnTo>
                      <a:pt x="1188" y="2388"/>
                    </a:lnTo>
                    <a:lnTo>
                      <a:pt x="1191" y="2356"/>
                    </a:lnTo>
                    <a:lnTo>
                      <a:pt x="1195" y="2323"/>
                    </a:lnTo>
                    <a:lnTo>
                      <a:pt x="1199" y="2290"/>
                    </a:lnTo>
                    <a:lnTo>
                      <a:pt x="1205" y="2258"/>
                    </a:lnTo>
                    <a:lnTo>
                      <a:pt x="1211" y="2226"/>
                    </a:lnTo>
                    <a:lnTo>
                      <a:pt x="1218" y="2195"/>
                    </a:lnTo>
                    <a:lnTo>
                      <a:pt x="1226" y="2163"/>
                    </a:lnTo>
                    <a:lnTo>
                      <a:pt x="1234" y="2132"/>
                    </a:lnTo>
                    <a:lnTo>
                      <a:pt x="1244" y="2102"/>
                    </a:lnTo>
                    <a:lnTo>
                      <a:pt x="1254" y="2071"/>
                    </a:lnTo>
                    <a:lnTo>
                      <a:pt x="1264" y="2041"/>
                    </a:lnTo>
                    <a:lnTo>
                      <a:pt x="1276" y="2012"/>
                    </a:lnTo>
                    <a:lnTo>
                      <a:pt x="1288" y="1982"/>
                    </a:lnTo>
                    <a:lnTo>
                      <a:pt x="1301" y="1953"/>
                    </a:lnTo>
                    <a:lnTo>
                      <a:pt x="1314" y="1925"/>
                    </a:lnTo>
                    <a:lnTo>
                      <a:pt x="1328" y="1897"/>
                    </a:lnTo>
                    <a:lnTo>
                      <a:pt x="1343" y="1869"/>
                    </a:lnTo>
                    <a:lnTo>
                      <a:pt x="1359" y="1841"/>
                    </a:lnTo>
                    <a:lnTo>
                      <a:pt x="1375" y="1814"/>
                    </a:lnTo>
                    <a:lnTo>
                      <a:pt x="1391" y="1788"/>
                    </a:lnTo>
                    <a:lnTo>
                      <a:pt x="1409" y="1762"/>
                    </a:lnTo>
                    <a:lnTo>
                      <a:pt x="1427" y="1736"/>
                    </a:lnTo>
                    <a:lnTo>
                      <a:pt x="1445" y="1711"/>
                    </a:lnTo>
                    <a:lnTo>
                      <a:pt x="1464" y="1686"/>
                    </a:lnTo>
                    <a:lnTo>
                      <a:pt x="1484" y="1662"/>
                    </a:lnTo>
                    <a:lnTo>
                      <a:pt x="1504" y="1638"/>
                    </a:lnTo>
                    <a:lnTo>
                      <a:pt x="1525" y="1615"/>
                    </a:lnTo>
                    <a:lnTo>
                      <a:pt x="1547" y="1592"/>
                    </a:lnTo>
                    <a:lnTo>
                      <a:pt x="1569" y="1570"/>
                    </a:lnTo>
                    <a:lnTo>
                      <a:pt x="1591" y="1548"/>
                    </a:lnTo>
                    <a:lnTo>
                      <a:pt x="1614" y="1527"/>
                    </a:lnTo>
                    <a:lnTo>
                      <a:pt x="1637" y="1506"/>
                    </a:lnTo>
                    <a:lnTo>
                      <a:pt x="1661" y="1486"/>
                    </a:lnTo>
                    <a:lnTo>
                      <a:pt x="1686" y="1467"/>
                    </a:lnTo>
                    <a:lnTo>
                      <a:pt x="1711" y="1448"/>
                    </a:lnTo>
                    <a:lnTo>
                      <a:pt x="1736" y="1429"/>
                    </a:lnTo>
                    <a:lnTo>
                      <a:pt x="1762" y="1412"/>
                    </a:lnTo>
                    <a:lnTo>
                      <a:pt x="1788" y="1395"/>
                    </a:lnTo>
                    <a:lnTo>
                      <a:pt x="1815" y="1378"/>
                    </a:lnTo>
                    <a:lnTo>
                      <a:pt x="1842" y="1362"/>
                    </a:lnTo>
                    <a:lnTo>
                      <a:pt x="1869" y="1347"/>
                    </a:lnTo>
                    <a:lnTo>
                      <a:pt x="1897" y="1332"/>
                    </a:lnTo>
                    <a:lnTo>
                      <a:pt x="1926" y="1318"/>
                    </a:lnTo>
                    <a:lnTo>
                      <a:pt x="1954" y="1305"/>
                    </a:lnTo>
                    <a:lnTo>
                      <a:pt x="1983" y="1293"/>
                    </a:lnTo>
                    <a:lnTo>
                      <a:pt x="2013" y="1281"/>
                    </a:lnTo>
                    <a:lnTo>
                      <a:pt x="2043" y="1270"/>
                    </a:lnTo>
                    <a:lnTo>
                      <a:pt x="2073" y="1259"/>
                    </a:lnTo>
                    <a:lnTo>
                      <a:pt x="2103" y="1249"/>
                    </a:lnTo>
                    <a:lnTo>
                      <a:pt x="2134" y="1240"/>
                    </a:lnTo>
                    <a:lnTo>
                      <a:pt x="2165" y="1232"/>
                    </a:lnTo>
                    <a:lnTo>
                      <a:pt x="2196" y="1225"/>
                    </a:lnTo>
                    <a:lnTo>
                      <a:pt x="2228" y="1218"/>
                    </a:lnTo>
                    <a:lnTo>
                      <a:pt x="2260" y="1212"/>
                    </a:lnTo>
                    <a:lnTo>
                      <a:pt x="2292" y="1207"/>
                    </a:lnTo>
                    <a:lnTo>
                      <a:pt x="2325" y="1202"/>
                    </a:lnTo>
                    <a:lnTo>
                      <a:pt x="2357" y="1199"/>
                    </a:lnTo>
                    <a:lnTo>
                      <a:pt x="2390" y="1196"/>
                    </a:lnTo>
                    <a:lnTo>
                      <a:pt x="2424" y="1194"/>
                    </a:lnTo>
                    <a:lnTo>
                      <a:pt x="2457" y="1193"/>
                    </a:lnTo>
                    <a:lnTo>
                      <a:pt x="2492" y="1192"/>
                    </a:lnTo>
                    <a:lnTo>
                      <a:pt x="2492" y="1192"/>
                    </a:lnTo>
                    <a:lnTo>
                      <a:pt x="2525" y="1193"/>
                    </a:lnTo>
                    <a:lnTo>
                      <a:pt x="2558" y="1194"/>
                    </a:lnTo>
                    <a:lnTo>
                      <a:pt x="2592" y="1197"/>
                    </a:lnTo>
                    <a:lnTo>
                      <a:pt x="2625" y="1200"/>
                    </a:lnTo>
                    <a:lnTo>
                      <a:pt x="2657" y="1204"/>
                    </a:lnTo>
                    <a:lnTo>
                      <a:pt x="2690" y="1208"/>
                    </a:lnTo>
                    <a:lnTo>
                      <a:pt x="2722" y="1214"/>
                    </a:lnTo>
                    <a:lnTo>
                      <a:pt x="2754" y="1220"/>
                    </a:lnTo>
                    <a:lnTo>
                      <a:pt x="2785" y="1227"/>
                    </a:lnTo>
                    <a:lnTo>
                      <a:pt x="2817" y="1235"/>
                    </a:lnTo>
                    <a:lnTo>
                      <a:pt x="2848" y="1243"/>
                    </a:lnTo>
                    <a:lnTo>
                      <a:pt x="2878" y="1252"/>
                    </a:lnTo>
                    <a:lnTo>
                      <a:pt x="2909" y="1262"/>
                    </a:lnTo>
                    <a:lnTo>
                      <a:pt x="2939" y="1273"/>
                    </a:lnTo>
                    <a:lnTo>
                      <a:pt x="2968" y="1285"/>
                    </a:lnTo>
                    <a:lnTo>
                      <a:pt x="2998" y="1297"/>
                    </a:lnTo>
                    <a:lnTo>
                      <a:pt x="3027" y="1309"/>
                    </a:lnTo>
                    <a:lnTo>
                      <a:pt x="3055" y="1323"/>
                    </a:lnTo>
                    <a:lnTo>
                      <a:pt x="3083" y="1337"/>
                    </a:lnTo>
                    <a:lnTo>
                      <a:pt x="3111" y="1352"/>
                    </a:lnTo>
                    <a:lnTo>
                      <a:pt x="3139" y="1367"/>
                    </a:lnTo>
                    <a:lnTo>
                      <a:pt x="3166" y="1383"/>
                    </a:lnTo>
                    <a:lnTo>
                      <a:pt x="3192" y="1400"/>
                    </a:lnTo>
                    <a:lnTo>
                      <a:pt x="3218" y="1418"/>
                    </a:lnTo>
                    <a:lnTo>
                      <a:pt x="3244" y="1435"/>
                    </a:lnTo>
                    <a:lnTo>
                      <a:pt x="3269" y="1454"/>
                    </a:lnTo>
                    <a:lnTo>
                      <a:pt x="3294" y="1473"/>
                    </a:lnTo>
                    <a:lnTo>
                      <a:pt x="3318" y="1493"/>
                    </a:lnTo>
                    <a:lnTo>
                      <a:pt x="3342" y="1513"/>
                    </a:lnTo>
                    <a:lnTo>
                      <a:pt x="3365" y="1534"/>
                    </a:lnTo>
                    <a:lnTo>
                      <a:pt x="3388" y="1555"/>
                    </a:lnTo>
                    <a:lnTo>
                      <a:pt x="3410" y="1577"/>
                    </a:lnTo>
                    <a:lnTo>
                      <a:pt x="3432" y="1600"/>
                    </a:lnTo>
                    <a:lnTo>
                      <a:pt x="3453" y="1623"/>
                    </a:lnTo>
                    <a:lnTo>
                      <a:pt x="3474" y="1646"/>
                    </a:lnTo>
                    <a:lnTo>
                      <a:pt x="3494" y="1670"/>
                    </a:lnTo>
                    <a:lnTo>
                      <a:pt x="3513" y="1694"/>
                    </a:lnTo>
                    <a:lnTo>
                      <a:pt x="3532" y="1719"/>
                    </a:lnTo>
                    <a:lnTo>
                      <a:pt x="3551" y="1745"/>
                    </a:lnTo>
                    <a:lnTo>
                      <a:pt x="3568" y="1770"/>
                    </a:lnTo>
                    <a:lnTo>
                      <a:pt x="3585" y="1797"/>
                    </a:lnTo>
                    <a:lnTo>
                      <a:pt x="3602" y="1823"/>
                    </a:lnTo>
                    <a:lnTo>
                      <a:pt x="3618" y="1850"/>
                    </a:lnTo>
                    <a:lnTo>
                      <a:pt x="3633" y="1878"/>
                    </a:lnTo>
                    <a:lnTo>
                      <a:pt x="3648" y="1906"/>
                    </a:lnTo>
                    <a:lnTo>
                      <a:pt x="3662" y="1934"/>
                    </a:lnTo>
                    <a:lnTo>
                      <a:pt x="3675" y="1963"/>
                    </a:lnTo>
                    <a:lnTo>
                      <a:pt x="3687" y="1992"/>
                    </a:lnTo>
                    <a:lnTo>
                      <a:pt x="3699" y="2021"/>
                    </a:lnTo>
                    <a:lnTo>
                      <a:pt x="3711" y="2051"/>
                    </a:lnTo>
                    <a:lnTo>
                      <a:pt x="3721" y="2081"/>
                    </a:lnTo>
                    <a:lnTo>
                      <a:pt x="3731" y="2112"/>
                    </a:lnTo>
                    <a:lnTo>
                      <a:pt x="3740" y="2142"/>
                    </a:lnTo>
                    <a:lnTo>
                      <a:pt x="3748" y="2173"/>
                    </a:lnTo>
                    <a:lnTo>
                      <a:pt x="3756" y="2205"/>
                    </a:lnTo>
                    <a:lnTo>
                      <a:pt x="3762" y="2236"/>
                    </a:lnTo>
                    <a:lnTo>
                      <a:pt x="3768" y="2268"/>
                    </a:lnTo>
                    <a:lnTo>
                      <a:pt x="3773" y="2301"/>
                    </a:lnTo>
                    <a:lnTo>
                      <a:pt x="3778" y="2333"/>
                    </a:lnTo>
                    <a:lnTo>
                      <a:pt x="3781" y="2366"/>
                    </a:lnTo>
                    <a:lnTo>
                      <a:pt x="3784" y="2399"/>
                    </a:lnTo>
                    <a:lnTo>
                      <a:pt x="3786" y="2432"/>
                    </a:lnTo>
                    <a:lnTo>
                      <a:pt x="3787" y="2466"/>
                    </a:lnTo>
                    <a:lnTo>
                      <a:pt x="3788" y="2500"/>
                    </a:lnTo>
                    <a:lnTo>
                      <a:pt x="3788" y="250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551" name="SAGD, Siemens, healthineers, evolve">
              <a:extLst>
                <a:ext uri="{FF2B5EF4-FFF2-40B4-BE49-F238E27FC236}">
                  <a16:creationId xmlns:a16="http://schemas.microsoft.com/office/drawing/2014/main" id="{4FDEE4CC-BE7B-48E0-97D8-502FDD1E6280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511096" y="5155090"/>
              <a:ext cx="233643" cy="234138"/>
              <a:chOff x="1188" y="1252"/>
              <a:chExt cx="2268" cy="2268"/>
            </a:xfrm>
          </p:grpSpPr>
          <p:sp>
            <p:nvSpPr>
              <p:cNvPr id="552" name="AutoShape 4">
                <a:extLst>
                  <a:ext uri="{FF2B5EF4-FFF2-40B4-BE49-F238E27FC236}">
                    <a16:creationId xmlns:a16="http://schemas.microsoft.com/office/drawing/2014/main" id="{9D2F9EB1-E86F-4B6D-A66F-D7A74DA3D8C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gray">
              <a:xfrm>
                <a:off x="1188" y="1252"/>
                <a:ext cx="2268" cy="22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53" name="Freeform 6">
                <a:extLst>
                  <a:ext uri="{FF2B5EF4-FFF2-40B4-BE49-F238E27FC236}">
                    <a16:creationId xmlns:a16="http://schemas.microsoft.com/office/drawing/2014/main" id="{116F968A-1000-46C4-963A-64FBEFB1A7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  <a:close/>
                  </a:path>
                </a:pathLst>
              </a:custGeom>
              <a:solidFill>
                <a:srgbClr val="7A162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54" name="Freeform 7">
                <a:extLst>
                  <a:ext uri="{FF2B5EF4-FFF2-40B4-BE49-F238E27FC236}">
                    <a16:creationId xmlns:a16="http://schemas.microsoft.com/office/drawing/2014/main" id="{F37B2E89-02E6-4ABA-96D8-910A2CB626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55" name="Freeform 8">
                <a:extLst>
                  <a:ext uri="{FF2B5EF4-FFF2-40B4-BE49-F238E27FC236}">
                    <a16:creationId xmlns:a16="http://schemas.microsoft.com/office/drawing/2014/main" id="{D3D618D0-9DCB-47D8-8F14-A2DF05E6348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510" y="1566"/>
                <a:ext cx="1615" cy="1653"/>
              </a:xfrm>
              <a:custGeom>
                <a:avLst/>
                <a:gdLst/>
                <a:ahLst/>
                <a:cxnLst>
                  <a:cxn ang="0">
                    <a:pos x="4319" y="2213"/>
                  </a:cxn>
                  <a:cxn ang="0">
                    <a:pos x="4796" y="1894"/>
                  </a:cxn>
                  <a:cxn ang="0">
                    <a:pos x="4876" y="1759"/>
                  </a:cxn>
                  <a:cxn ang="0">
                    <a:pos x="4526" y="1075"/>
                  </a:cxn>
                  <a:cxn ang="0">
                    <a:pos x="4005" y="1264"/>
                  </a:cxn>
                  <a:cxn ang="0">
                    <a:pos x="3815" y="1225"/>
                  </a:cxn>
                  <a:cxn ang="0">
                    <a:pos x="3367" y="807"/>
                  </a:cxn>
                  <a:cxn ang="0">
                    <a:pos x="3456" y="245"/>
                  </a:cxn>
                  <a:cxn ang="0">
                    <a:pos x="2745" y="3"/>
                  </a:cxn>
                  <a:cxn ang="0">
                    <a:pos x="2590" y="70"/>
                  </a:cxn>
                  <a:cxn ang="0">
                    <a:pos x="2416" y="615"/>
                  </a:cxn>
                  <a:cxn ang="0">
                    <a:pos x="1822" y="774"/>
                  </a:cxn>
                  <a:cxn ang="0">
                    <a:pos x="1644" y="700"/>
                  </a:cxn>
                  <a:cxn ang="0">
                    <a:pos x="1252" y="324"/>
                  </a:cxn>
                  <a:cxn ang="0">
                    <a:pos x="653" y="807"/>
                  </a:cxn>
                  <a:cxn ang="0">
                    <a:pos x="942" y="1274"/>
                  </a:cxn>
                  <a:cxn ang="0">
                    <a:pos x="960" y="1467"/>
                  </a:cxn>
                  <a:cxn ang="0">
                    <a:pos x="660" y="2003"/>
                  </a:cxn>
                  <a:cxn ang="0">
                    <a:pos x="90" y="2042"/>
                  </a:cxn>
                  <a:cxn ang="0">
                    <a:pos x="0" y="2797"/>
                  </a:cxn>
                  <a:cxn ang="0">
                    <a:pos x="86" y="2927"/>
                  </a:cxn>
                  <a:cxn ang="0">
                    <a:pos x="656" y="2972"/>
                  </a:cxn>
                  <a:cxn ang="0">
                    <a:pos x="952" y="3509"/>
                  </a:cxn>
                  <a:cxn ang="0">
                    <a:pos x="932" y="3702"/>
                  </a:cxn>
                  <a:cxn ang="0">
                    <a:pos x="640" y="4167"/>
                  </a:cxn>
                  <a:cxn ang="0">
                    <a:pos x="1235" y="4655"/>
                  </a:cxn>
                  <a:cxn ang="0">
                    <a:pos x="1630" y="4283"/>
                  </a:cxn>
                  <a:cxn ang="0">
                    <a:pos x="1809" y="4210"/>
                  </a:cxn>
                  <a:cxn ang="0">
                    <a:pos x="2403" y="4373"/>
                  </a:cxn>
                  <a:cxn ang="0">
                    <a:pos x="2574" y="4919"/>
                  </a:cxn>
                  <a:cxn ang="0">
                    <a:pos x="2728" y="4987"/>
                  </a:cxn>
                  <a:cxn ang="0">
                    <a:pos x="3441" y="4750"/>
                  </a:cxn>
                  <a:cxn ang="0">
                    <a:pos x="3356" y="4187"/>
                  </a:cxn>
                  <a:cxn ang="0">
                    <a:pos x="3806" y="3773"/>
                  </a:cxn>
                  <a:cxn ang="0">
                    <a:pos x="3997" y="3735"/>
                  </a:cxn>
                  <a:cxn ang="0">
                    <a:pos x="4516" y="3927"/>
                  </a:cxn>
                  <a:cxn ang="0">
                    <a:pos x="4871" y="3245"/>
                  </a:cxn>
                  <a:cxn ang="0">
                    <a:pos x="4421" y="2930"/>
                  </a:cxn>
                  <a:cxn ang="0">
                    <a:pos x="4317" y="2787"/>
                  </a:cxn>
                  <a:cxn ang="0">
                    <a:pos x="3788" y="2500"/>
                  </a:cxn>
                  <a:cxn ang="0">
                    <a:pos x="3728" y="2887"/>
                  </a:cxn>
                  <a:cxn ang="0">
                    <a:pos x="3545" y="3252"/>
                  </a:cxn>
                  <a:cxn ang="0">
                    <a:pos x="3261" y="3541"/>
                  </a:cxn>
                  <a:cxn ang="0">
                    <a:pos x="2899" y="3730"/>
                  </a:cxn>
                  <a:cxn ang="0">
                    <a:pos x="2481" y="3796"/>
                  </a:cxn>
                  <a:cxn ang="0">
                    <a:pos x="2093" y="3736"/>
                  </a:cxn>
                  <a:cxn ang="0">
                    <a:pos x="1728" y="3553"/>
                  </a:cxn>
                  <a:cxn ang="0">
                    <a:pos x="1439" y="3269"/>
                  </a:cxn>
                  <a:cxn ang="0">
                    <a:pos x="1250" y="2907"/>
                  </a:cxn>
                  <a:cxn ang="0">
                    <a:pos x="1184" y="2490"/>
                  </a:cxn>
                  <a:cxn ang="0">
                    <a:pos x="1244" y="2102"/>
                  </a:cxn>
                  <a:cxn ang="0">
                    <a:pos x="1427" y="1736"/>
                  </a:cxn>
                  <a:cxn ang="0">
                    <a:pos x="1711" y="1448"/>
                  </a:cxn>
                  <a:cxn ang="0">
                    <a:pos x="2073" y="1259"/>
                  </a:cxn>
                  <a:cxn ang="0">
                    <a:pos x="2492" y="1192"/>
                  </a:cxn>
                  <a:cxn ang="0">
                    <a:pos x="2878" y="1252"/>
                  </a:cxn>
                  <a:cxn ang="0">
                    <a:pos x="3244" y="1435"/>
                  </a:cxn>
                  <a:cxn ang="0">
                    <a:pos x="3532" y="1719"/>
                  </a:cxn>
                  <a:cxn ang="0">
                    <a:pos x="3721" y="2081"/>
                  </a:cxn>
                  <a:cxn ang="0">
                    <a:pos x="3788" y="2500"/>
                  </a:cxn>
                </a:cxnLst>
                <a:rect l="0" t="0" r="r" b="b"/>
                <a:pathLst>
                  <a:path w="4876" h="4990">
                    <a:moveTo>
                      <a:pt x="4332" y="2502"/>
                    </a:moveTo>
                    <a:lnTo>
                      <a:pt x="4332" y="2502"/>
                    </a:lnTo>
                    <a:lnTo>
                      <a:pt x="4331" y="2455"/>
                    </a:lnTo>
                    <a:lnTo>
                      <a:pt x="4329" y="2412"/>
                    </a:lnTo>
                    <a:lnTo>
                      <a:pt x="4327" y="2373"/>
                    </a:lnTo>
                    <a:lnTo>
                      <a:pt x="4324" y="2340"/>
                    </a:lnTo>
                    <a:lnTo>
                      <a:pt x="4319" y="2291"/>
                    </a:lnTo>
                    <a:lnTo>
                      <a:pt x="4317" y="2273"/>
                    </a:lnTo>
                    <a:lnTo>
                      <a:pt x="4317" y="2273"/>
                    </a:lnTo>
                    <a:lnTo>
                      <a:pt x="4315" y="2258"/>
                    </a:lnTo>
                    <a:lnTo>
                      <a:pt x="4315" y="2243"/>
                    </a:lnTo>
                    <a:lnTo>
                      <a:pt x="4317" y="2228"/>
                    </a:lnTo>
                    <a:lnTo>
                      <a:pt x="4319" y="2213"/>
                    </a:lnTo>
                    <a:lnTo>
                      <a:pt x="4323" y="2199"/>
                    </a:lnTo>
                    <a:lnTo>
                      <a:pt x="4327" y="2184"/>
                    </a:lnTo>
                    <a:lnTo>
                      <a:pt x="4333" y="2170"/>
                    </a:lnTo>
                    <a:lnTo>
                      <a:pt x="4340" y="2156"/>
                    </a:lnTo>
                    <a:lnTo>
                      <a:pt x="4348" y="2142"/>
                    </a:lnTo>
                    <a:lnTo>
                      <a:pt x="4356" y="2130"/>
                    </a:lnTo>
                    <a:lnTo>
                      <a:pt x="4366" y="2117"/>
                    </a:lnTo>
                    <a:lnTo>
                      <a:pt x="4376" y="2106"/>
                    </a:lnTo>
                    <a:lnTo>
                      <a:pt x="4387" y="2096"/>
                    </a:lnTo>
                    <a:lnTo>
                      <a:pt x="4399" y="2087"/>
                    </a:lnTo>
                    <a:lnTo>
                      <a:pt x="4411" y="2078"/>
                    </a:lnTo>
                    <a:lnTo>
                      <a:pt x="4424" y="2071"/>
                    </a:lnTo>
                    <a:lnTo>
                      <a:pt x="4796" y="1894"/>
                    </a:lnTo>
                    <a:lnTo>
                      <a:pt x="4796" y="1894"/>
                    </a:lnTo>
                    <a:lnTo>
                      <a:pt x="4809" y="1887"/>
                    </a:lnTo>
                    <a:lnTo>
                      <a:pt x="4820" y="1879"/>
                    </a:lnTo>
                    <a:lnTo>
                      <a:pt x="4831" y="1870"/>
                    </a:lnTo>
                    <a:lnTo>
                      <a:pt x="4841" y="1860"/>
                    </a:lnTo>
                    <a:lnTo>
                      <a:pt x="4849" y="1849"/>
                    </a:lnTo>
                    <a:lnTo>
                      <a:pt x="4857" y="1838"/>
                    </a:lnTo>
                    <a:lnTo>
                      <a:pt x="4863" y="1826"/>
                    </a:lnTo>
                    <a:lnTo>
                      <a:pt x="4868" y="1813"/>
                    </a:lnTo>
                    <a:lnTo>
                      <a:pt x="4872" y="1800"/>
                    </a:lnTo>
                    <a:lnTo>
                      <a:pt x="4875" y="1787"/>
                    </a:lnTo>
                    <a:lnTo>
                      <a:pt x="4876" y="1773"/>
                    </a:lnTo>
                    <a:lnTo>
                      <a:pt x="4876" y="1759"/>
                    </a:lnTo>
                    <a:lnTo>
                      <a:pt x="4875" y="1746"/>
                    </a:lnTo>
                    <a:lnTo>
                      <a:pt x="4872" y="1732"/>
                    </a:lnTo>
                    <a:lnTo>
                      <a:pt x="4868" y="1718"/>
                    </a:lnTo>
                    <a:lnTo>
                      <a:pt x="4863" y="1705"/>
                    </a:lnTo>
                    <a:lnTo>
                      <a:pt x="4595" y="1142"/>
                    </a:lnTo>
                    <a:lnTo>
                      <a:pt x="4595" y="1142"/>
                    </a:lnTo>
                    <a:lnTo>
                      <a:pt x="4588" y="1130"/>
                    </a:lnTo>
                    <a:lnTo>
                      <a:pt x="4580" y="1118"/>
                    </a:lnTo>
                    <a:lnTo>
                      <a:pt x="4571" y="1107"/>
                    </a:lnTo>
                    <a:lnTo>
                      <a:pt x="4561" y="1097"/>
                    </a:lnTo>
                    <a:lnTo>
                      <a:pt x="4550" y="1089"/>
                    </a:lnTo>
                    <a:lnTo>
                      <a:pt x="4539" y="1081"/>
                    </a:lnTo>
                    <a:lnTo>
                      <a:pt x="4526" y="1075"/>
                    </a:lnTo>
                    <a:lnTo>
                      <a:pt x="4514" y="1070"/>
                    </a:lnTo>
                    <a:lnTo>
                      <a:pt x="4501" y="1066"/>
                    </a:lnTo>
                    <a:lnTo>
                      <a:pt x="4487" y="1063"/>
                    </a:lnTo>
                    <a:lnTo>
                      <a:pt x="4474" y="1062"/>
                    </a:lnTo>
                    <a:lnTo>
                      <a:pt x="4460" y="1062"/>
                    </a:lnTo>
                    <a:lnTo>
                      <a:pt x="4446" y="1063"/>
                    </a:lnTo>
                    <a:lnTo>
                      <a:pt x="4433" y="1066"/>
                    </a:lnTo>
                    <a:lnTo>
                      <a:pt x="4419" y="1070"/>
                    </a:lnTo>
                    <a:lnTo>
                      <a:pt x="4406" y="1075"/>
                    </a:lnTo>
                    <a:lnTo>
                      <a:pt x="4033" y="1253"/>
                    </a:lnTo>
                    <a:lnTo>
                      <a:pt x="4033" y="1253"/>
                    </a:lnTo>
                    <a:lnTo>
                      <a:pt x="4019" y="1259"/>
                    </a:lnTo>
                    <a:lnTo>
                      <a:pt x="4005" y="1264"/>
                    </a:lnTo>
                    <a:lnTo>
                      <a:pt x="3990" y="1267"/>
                    </a:lnTo>
                    <a:lnTo>
                      <a:pt x="3975" y="1269"/>
                    </a:lnTo>
                    <a:lnTo>
                      <a:pt x="3960" y="1271"/>
                    </a:lnTo>
                    <a:lnTo>
                      <a:pt x="3944" y="1271"/>
                    </a:lnTo>
                    <a:lnTo>
                      <a:pt x="3928" y="1270"/>
                    </a:lnTo>
                    <a:lnTo>
                      <a:pt x="3913" y="1267"/>
                    </a:lnTo>
                    <a:lnTo>
                      <a:pt x="3897" y="1264"/>
                    </a:lnTo>
                    <a:lnTo>
                      <a:pt x="3882" y="1260"/>
                    </a:lnTo>
                    <a:lnTo>
                      <a:pt x="3867" y="1255"/>
                    </a:lnTo>
                    <a:lnTo>
                      <a:pt x="3853" y="1249"/>
                    </a:lnTo>
                    <a:lnTo>
                      <a:pt x="3839" y="1242"/>
                    </a:lnTo>
                    <a:lnTo>
                      <a:pt x="3827" y="1234"/>
                    </a:lnTo>
                    <a:lnTo>
                      <a:pt x="3815" y="1225"/>
                    </a:lnTo>
                    <a:lnTo>
                      <a:pt x="3804" y="1215"/>
                    </a:lnTo>
                    <a:lnTo>
                      <a:pt x="3451" y="932"/>
                    </a:lnTo>
                    <a:lnTo>
                      <a:pt x="3451" y="932"/>
                    </a:lnTo>
                    <a:lnTo>
                      <a:pt x="3439" y="924"/>
                    </a:lnTo>
                    <a:lnTo>
                      <a:pt x="3428" y="914"/>
                    </a:lnTo>
                    <a:lnTo>
                      <a:pt x="3417" y="903"/>
                    </a:lnTo>
                    <a:lnTo>
                      <a:pt x="3407" y="891"/>
                    </a:lnTo>
                    <a:lnTo>
                      <a:pt x="3398" y="879"/>
                    </a:lnTo>
                    <a:lnTo>
                      <a:pt x="3390" y="865"/>
                    </a:lnTo>
                    <a:lnTo>
                      <a:pt x="3383" y="852"/>
                    </a:lnTo>
                    <a:lnTo>
                      <a:pt x="3376" y="837"/>
                    </a:lnTo>
                    <a:lnTo>
                      <a:pt x="3371" y="822"/>
                    </a:lnTo>
                    <a:lnTo>
                      <a:pt x="3367" y="807"/>
                    </a:lnTo>
                    <a:lnTo>
                      <a:pt x="3363" y="792"/>
                    </a:lnTo>
                    <a:lnTo>
                      <a:pt x="3361" y="777"/>
                    </a:lnTo>
                    <a:lnTo>
                      <a:pt x="3360" y="761"/>
                    </a:lnTo>
                    <a:lnTo>
                      <a:pt x="3360" y="746"/>
                    </a:lnTo>
                    <a:lnTo>
                      <a:pt x="3362" y="731"/>
                    </a:lnTo>
                    <a:lnTo>
                      <a:pt x="3364" y="717"/>
                    </a:lnTo>
                    <a:lnTo>
                      <a:pt x="3458" y="314"/>
                    </a:lnTo>
                    <a:lnTo>
                      <a:pt x="3458" y="314"/>
                    </a:lnTo>
                    <a:lnTo>
                      <a:pt x="3460" y="300"/>
                    </a:lnTo>
                    <a:lnTo>
                      <a:pt x="3461" y="286"/>
                    </a:lnTo>
                    <a:lnTo>
                      <a:pt x="3461" y="272"/>
                    </a:lnTo>
                    <a:lnTo>
                      <a:pt x="3459" y="258"/>
                    </a:lnTo>
                    <a:lnTo>
                      <a:pt x="3456" y="245"/>
                    </a:lnTo>
                    <a:lnTo>
                      <a:pt x="3452" y="232"/>
                    </a:lnTo>
                    <a:lnTo>
                      <a:pt x="3447" y="219"/>
                    </a:lnTo>
                    <a:lnTo>
                      <a:pt x="3440" y="207"/>
                    </a:lnTo>
                    <a:lnTo>
                      <a:pt x="3432" y="196"/>
                    </a:lnTo>
                    <a:lnTo>
                      <a:pt x="3423" y="186"/>
                    </a:lnTo>
                    <a:lnTo>
                      <a:pt x="3414" y="176"/>
                    </a:lnTo>
                    <a:lnTo>
                      <a:pt x="3403" y="168"/>
                    </a:lnTo>
                    <a:lnTo>
                      <a:pt x="3391" y="160"/>
                    </a:lnTo>
                    <a:lnTo>
                      <a:pt x="3379" y="153"/>
                    </a:lnTo>
                    <a:lnTo>
                      <a:pt x="3366" y="148"/>
                    </a:lnTo>
                    <a:lnTo>
                      <a:pt x="3352" y="144"/>
                    </a:lnTo>
                    <a:lnTo>
                      <a:pt x="2745" y="3"/>
                    </a:lnTo>
                    <a:lnTo>
                      <a:pt x="2745" y="3"/>
                    </a:lnTo>
                    <a:lnTo>
                      <a:pt x="2730" y="1"/>
                    </a:lnTo>
                    <a:lnTo>
                      <a:pt x="2716" y="0"/>
                    </a:lnTo>
                    <a:lnTo>
                      <a:pt x="2702" y="0"/>
                    </a:lnTo>
                    <a:lnTo>
                      <a:pt x="2688" y="2"/>
                    </a:lnTo>
                    <a:lnTo>
                      <a:pt x="2675" y="5"/>
                    </a:lnTo>
                    <a:lnTo>
                      <a:pt x="2662" y="9"/>
                    </a:lnTo>
                    <a:lnTo>
                      <a:pt x="2649" y="15"/>
                    </a:lnTo>
                    <a:lnTo>
                      <a:pt x="2638" y="21"/>
                    </a:lnTo>
                    <a:lnTo>
                      <a:pt x="2626" y="29"/>
                    </a:lnTo>
                    <a:lnTo>
                      <a:pt x="2616" y="38"/>
                    </a:lnTo>
                    <a:lnTo>
                      <a:pt x="2606" y="48"/>
                    </a:lnTo>
                    <a:lnTo>
                      <a:pt x="2598" y="58"/>
                    </a:lnTo>
                    <a:lnTo>
                      <a:pt x="2590" y="70"/>
                    </a:lnTo>
                    <a:lnTo>
                      <a:pt x="2584" y="82"/>
                    </a:lnTo>
                    <a:lnTo>
                      <a:pt x="2578" y="96"/>
                    </a:lnTo>
                    <a:lnTo>
                      <a:pt x="2574" y="110"/>
                    </a:lnTo>
                    <a:lnTo>
                      <a:pt x="2481" y="512"/>
                    </a:lnTo>
                    <a:lnTo>
                      <a:pt x="2481" y="512"/>
                    </a:lnTo>
                    <a:lnTo>
                      <a:pt x="2477" y="526"/>
                    </a:lnTo>
                    <a:lnTo>
                      <a:pt x="2472" y="540"/>
                    </a:lnTo>
                    <a:lnTo>
                      <a:pt x="2465" y="554"/>
                    </a:lnTo>
                    <a:lnTo>
                      <a:pt x="2457" y="567"/>
                    </a:lnTo>
                    <a:lnTo>
                      <a:pt x="2448" y="580"/>
                    </a:lnTo>
                    <a:lnTo>
                      <a:pt x="2438" y="592"/>
                    </a:lnTo>
                    <a:lnTo>
                      <a:pt x="2428" y="604"/>
                    </a:lnTo>
                    <a:lnTo>
                      <a:pt x="2416" y="615"/>
                    </a:lnTo>
                    <a:lnTo>
                      <a:pt x="2404" y="625"/>
                    </a:lnTo>
                    <a:lnTo>
                      <a:pt x="2392" y="634"/>
                    </a:lnTo>
                    <a:lnTo>
                      <a:pt x="2378" y="643"/>
                    </a:lnTo>
                    <a:lnTo>
                      <a:pt x="2365" y="650"/>
                    </a:lnTo>
                    <a:lnTo>
                      <a:pt x="2351" y="656"/>
                    </a:lnTo>
                    <a:lnTo>
                      <a:pt x="2336" y="661"/>
                    </a:lnTo>
                    <a:lnTo>
                      <a:pt x="2322" y="665"/>
                    </a:lnTo>
                    <a:lnTo>
                      <a:pt x="2308" y="668"/>
                    </a:lnTo>
                    <a:lnTo>
                      <a:pt x="1866" y="766"/>
                    </a:lnTo>
                    <a:lnTo>
                      <a:pt x="1866" y="766"/>
                    </a:lnTo>
                    <a:lnTo>
                      <a:pt x="1852" y="770"/>
                    </a:lnTo>
                    <a:lnTo>
                      <a:pt x="1837" y="772"/>
                    </a:lnTo>
                    <a:lnTo>
                      <a:pt x="1822" y="774"/>
                    </a:lnTo>
                    <a:lnTo>
                      <a:pt x="1807" y="774"/>
                    </a:lnTo>
                    <a:lnTo>
                      <a:pt x="1792" y="774"/>
                    </a:lnTo>
                    <a:lnTo>
                      <a:pt x="1776" y="772"/>
                    </a:lnTo>
                    <a:lnTo>
                      <a:pt x="1761" y="769"/>
                    </a:lnTo>
                    <a:lnTo>
                      <a:pt x="1745" y="765"/>
                    </a:lnTo>
                    <a:lnTo>
                      <a:pt x="1730" y="760"/>
                    </a:lnTo>
                    <a:lnTo>
                      <a:pt x="1716" y="754"/>
                    </a:lnTo>
                    <a:lnTo>
                      <a:pt x="1702" y="747"/>
                    </a:lnTo>
                    <a:lnTo>
                      <a:pt x="1689" y="739"/>
                    </a:lnTo>
                    <a:lnTo>
                      <a:pt x="1676" y="730"/>
                    </a:lnTo>
                    <a:lnTo>
                      <a:pt x="1664" y="721"/>
                    </a:lnTo>
                    <a:lnTo>
                      <a:pt x="1654" y="711"/>
                    </a:lnTo>
                    <a:lnTo>
                      <a:pt x="1644" y="700"/>
                    </a:lnTo>
                    <a:lnTo>
                      <a:pt x="1387" y="375"/>
                    </a:lnTo>
                    <a:lnTo>
                      <a:pt x="1387" y="375"/>
                    </a:lnTo>
                    <a:lnTo>
                      <a:pt x="1378" y="365"/>
                    </a:lnTo>
                    <a:lnTo>
                      <a:pt x="1368" y="355"/>
                    </a:lnTo>
                    <a:lnTo>
                      <a:pt x="1356" y="346"/>
                    </a:lnTo>
                    <a:lnTo>
                      <a:pt x="1345" y="339"/>
                    </a:lnTo>
                    <a:lnTo>
                      <a:pt x="1332" y="333"/>
                    </a:lnTo>
                    <a:lnTo>
                      <a:pt x="1319" y="328"/>
                    </a:lnTo>
                    <a:lnTo>
                      <a:pt x="1306" y="325"/>
                    </a:lnTo>
                    <a:lnTo>
                      <a:pt x="1293" y="323"/>
                    </a:lnTo>
                    <a:lnTo>
                      <a:pt x="1279" y="322"/>
                    </a:lnTo>
                    <a:lnTo>
                      <a:pt x="1265" y="322"/>
                    </a:lnTo>
                    <a:lnTo>
                      <a:pt x="1252" y="324"/>
                    </a:lnTo>
                    <a:lnTo>
                      <a:pt x="1238" y="327"/>
                    </a:lnTo>
                    <a:lnTo>
                      <a:pt x="1225" y="331"/>
                    </a:lnTo>
                    <a:lnTo>
                      <a:pt x="1213" y="337"/>
                    </a:lnTo>
                    <a:lnTo>
                      <a:pt x="1200" y="344"/>
                    </a:lnTo>
                    <a:lnTo>
                      <a:pt x="1188" y="352"/>
                    </a:lnTo>
                    <a:lnTo>
                      <a:pt x="700" y="739"/>
                    </a:lnTo>
                    <a:lnTo>
                      <a:pt x="700" y="739"/>
                    </a:lnTo>
                    <a:lnTo>
                      <a:pt x="689" y="748"/>
                    </a:lnTo>
                    <a:lnTo>
                      <a:pt x="679" y="759"/>
                    </a:lnTo>
                    <a:lnTo>
                      <a:pt x="671" y="770"/>
                    </a:lnTo>
                    <a:lnTo>
                      <a:pt x="664" y="782"/>
                    </a:lnTo>
                    <a:lnTo>
                      <a:pt x="658" y="794"/>
                    </a:lnTo>
                    <a:lnTo>
                      <a:pt x="653" y="807"/>
                    </a:lnTo>
                    <a:lnTo>
                      <a:pt x="649" y="820"/>
                    </a:lnTo>
                    <a:lnTo>
                      <a:pt x="647" y="834"/>
                    </a:lnTo>
                    <a:lnTo>
                      <a:pt x="646" y="847"/>
                    </a:lnTo>
                    <a:lnTo>
                      <a:pt x="647" y="861"/>
                    </a:lnTo>
                    <a:lnTo>
                      <a:pt x="648" y="874"/>
                    </a:lnTo>
                    <a:lnTo>
                      <a:pt x="651" y="888"/>
                    </a:lnTo>
                    <a:lnTo>
                      <a:pt x="656" y="901"/>
                    </a:lnTo>
                    <a:lnTo>
                      <a:pt x="661" y="914"/>
                    </a:lnTo>
                    <a:lnTo>
                      <a:pt x="668" y="926"/>
                    </a:lnTo>
                    <a:lnTo>
                      <a:pt x="677" y="938"/>
                    </a:lnTo>
                    <a:lnTo>
                      <a:pt x="933" y="1262"/>
                    </a:lnTo>
                    <a:lnTo>
                      <a:pt x="933" y="1262"/>
                    </a:lnTo>
                    <a:lnTo>
                      <a:pt x="942" y="1274"/>
                    </a:lnTo>
                    <a:lnTo>
                      <a:pt x="950" y="1287"/>
                    </a:lnTo>
                    <a:lnTo>
                      <a:pt x="956" y="1301"/>
                    </a:lnTo>
                    <a:lnTo>
                      <a:pt x="962" y="1315"/>
                    </a:lnTo>
                    <a:lnTo>
                      <a:pt x="966" y="1330"/>
                    </a:lnTo>
                    <a:lnTo>
                      <a:pt x="970" y="1345"/>
                    </a:lnTo>
                    <a:lnTo>
                      <a:pt x="972" y="1361"/>
                    </a:lnTo>
                    <a:lnTo>
                      <a:pt x="974" y="1376"/>
                    </a:lnTo>
                    <a:lnTo>
                      <a:pt x="974" y="1392"/>
                    </a:lnTo>
                    <a:lnTo>
                      <a:pt x="973" y="1408"/>
                    </a:lnTo>
                    <a:lnTo>
                      <a:pt x="971" y="1423"/>
                    </a:lnTo>
                    <a:lnTo>
                      <a:pt x="969" y="1438"/>
                    </a:lnTo>
                    <a:lnTo>
                      <a:pt x="965" y="1453"/>
                    </a:lnTo>
                    <a:lnTo>
                      <a:pt x="960" y="1467"/>
                    </a:lnTo>
                    <a:lnTo>
                      <a:pt x="954" y="1481"/>
                    </a:lnTo>
                    <a:lnTo>
                      <a:pt x="947" y="1494"/>
                    </a:lnTo>
                    <a:lnTo>
                      <a:pt x="749" y="1901"/>
                    </a:lnTo>
                    <a:lnTo>
                      <a:pt x="749" y="1901"/>
                    </a:lnTo>
                    <a:lnTo>
                      <a:pt x="744" y="1914"/>
                    </a:lnTo>
                    <a:lnTo>
                      <a:pt x="737" y="1927"/>
                    </a:lnTo>
                    <a:lnTo>
                      <a:pt x="728" y="1940"/>
                    </a:lnTo>
                    <a:lnTo>
                      <a:pt x="719" y="1952"/>
                    </a:lnTo>
                    <a:lnTo>
                      <a:pt x="709" y="1964"/>
                    </a:lnTo>
                    <a:lnTo>
                      <a:pt x="698" y="1975"/>
                    </a:lnTo>
                    <a:lnTo>
                      <a:pt x="686" y="1985"/>
                    </a:lnTo>
                    <a:lnTo>
                      <a:pt x="673" y="1994"/>
                    </a:lnTo>
                    <a:lnTo>
                      <a:pt x="660" y="2003"/>
                    </a:lnTo>
                    <a:lnTo>
                      <a:pt x="646" y="2010"/>
                    </a:lnTo>
                    <a:lnTo>
                      <a:pt x="632" y="2017"/>
                    </a:lnTo>
                    <a:lnTo>
                      <a:pt x="617" y="2023"/>
                    </a:lnTo>
                    <a:lnTo>
                      <a:pt x="603" y="2027"/>
                    </a:lnTo>
                    <a:lnTo>
                      <a:pt x="588" y="2030"/>
                    </a:lnTo>
                    <a:lnTo>
                      <a:pt x="573" y="2032"/>
                    </a:lnTo>
                    <a:lnTo>
                      <a:pt x="558" y="2033"/>
                    </a:lnTo>
                    <a:lnTo>
                      <a:pt x="145" y="2031"/>
                    </a:lnTo>
                    <a:lnTo>
                      <a:pt x="145" y="2031"/>
                    </a:lnTo>
                    <a:lnTo>
                      <a:pt x="130" y="2032"/>
                    </a:lnTo>
                    <a:lnTo>
                      <a:pt x="116" y="2034"/>
                    </a:lnTo>
                    <a:lnTo>
                      <a:pt x="103" y="2037"/>
                    </a:lnTo>
                    <a:lnTo>
                      <a:pt x="90" y="2042"/>
                    </a:lnTo>
                    <a:lnTo>
                      <a:pt x="77" y="2048"/>
                    </a:lnTo>
                    <a:lnTo>
                      <a:pt x="65" y="2055"/>
                    </a:lnTo>
                    <a:lnTo>
                      <a:pt x="55" y="2063"/>
                    </a:lnTo>
                    <a:lnTo>
                      <a:pt x="44" y="2072"/>
                    </a:lnTo>
                    <a:lnTo>
                      <a:pt x="35" y="2083"/>
                    </a:lnTo>
                    <a:lnTo>
                      <a:pt x="27" y="2093"/>
                    </a:lnTo>
                    <a:lnTo>
                      <a:pt x="20" y="2105"/>
                    </a:lnTo>
                    <a:lnTo>
                      <a:pt x="14" y="2117"/>
                    </a:lnTo>
                    <a:lnTo>
                      <a:pt x="9" y="2130"/>
                    </a:lnTo>
                    <a:lnTo>
                      <a:pt x="5" y="2144"/>
                    </a:lnTo>
                    <a:lnTo>
                      <a:pt x="3" y="2158"/>
                    </a:lnTo>
                    <a:lnTo>
                      <a:pt x="2" y="2172"/>
                    </a:lnTo>
                    <a:lnTo>
                      <a:pt x="0" y="2797"/>
                    </a:lnTo>
                    <a:lnTo>
                      <a:pt x="0" y="2797"/>
                    </a:lnTo>
                    <a:lnTo>
                      <a:pt x="1" y="2811"/>
                    </a:lnTo>
                    <a:lnTo>
                      <a:pt x="3" y="2825"/>
                    </a:lnTo>
                    <a:lnTo>
                      <a:pt x="6" y="2839"/>
                    </a:lnTo>
                    <a:lnTo>
                      <a:pt x="11" y="2852"/>
                    </a:lnTo>
                    <a:lnTo>
                      <a:pt x="17" y="2864"/>
                    </a:lnTo>
                    <a:lnTo>
                      <a:pt x="24" y="2876"/>
                    </a:lnTo>
                    <a:lnTo>
                      <a:pt x="32" y="2887"/>
                    </a:lnTo>
                    <a:lnTo>
                      <a:pt x="41" y="2897"/>
                    </a:lnTo>
                    <a:lnTo>
                      <a:pt x="51" y="2906"/>
                    </a:lnTo>
                    <a:lnTo>
                      <a:pt x="62" y="2914"/>
                    </a:lnTo>
                    <a:lnTo>
                      <a:pt x="74" y="2921"/>
                    </a:lnTo>
                    <a:lnTo>
                      <a:pt x="86" y="2927"/>
                    </a:lnTo>
                    <a:lnTo>
                      <a:pt x="99" y="2932"/>
                    </a:lnTo>
                    <a:lnTo>
                      <a:pt x="113" y="2936"/>
                    </a:lnTo>
                    <a:lnTo>
                      <a:pt x="127" y="2938"/>
                    </a:lnTo>
                    <a:lnTo>
                      <a:pt x="141" y="2939"/>
                    </a:lnTo>
                    <a:lnTo>
                      <a:pt x="555" y="2941"/>
                    </a:lnTo>
                    <a:lnTo>
                      <a:pt x="555" y="2941"/>
                    </a:lnTo>
                    <a:lnTo>
                      <a:pt x="570" y="2941"/>
                    </a:lnTo>
                    <a:lnTo>
                      <a:pt x="584" y="2944"/>
                    </a:lnTo>
                    <a:lnTo>
                      <a:pt x="599" y="2947"/>
                    </a:lnTo>
                    <a:lnTo>
                      <a:pt x="614" y="2951"/>
                    </a:lnTo>
                    <a:lnTo>
                      <a:pt x="628" y="2957"/>
                    </a:lnTo>
                    <a:lnTo>
                      <a:pt x="642" y="2964"/>
                    </a:lnTo>
                    <a:lnTo>
                      <a:pt x="656" y="2972"/>
                    </a:lnTo>
                    <a:lnTo>
                      <a:pt x="669" y="2980"/>
                    </a:lnTo>
                    <a:lnTo>
                      <a:pt x="682" y="2990"/>
                    </a:lnTo>
                    <a:lnTo>
                      <a:pt x="694" y="3000"/>
                    </a:lnTo>
                    <a:lnTo>
                      <a:pt x="705" y="3011"/>
                    </a:lnTo>
                    <a:lnTo>
                      <a:pt x="715" y="3023"/>
                    </a:lnTo>
                    <a:lnTo>
                      <a:pt x="724" y="3035"/>
                    </a:lnTo>
                    <a:lnTo>
                      <a:pt x="732" y="3048"/>
                    </a:lnTo>
                    <a:lnTo>
                      <a:pt x="739" y="3061"/>
                    </a:lnTo>
                    <a:lnTo>
                      <a:pt x="745" y="3075"/>
                    </a:lnTo>
                    <a:lnTo>
                      <a:pt x="939" y="3482"/>
                    </a:lnTo>
                    <a:lnTo>
                      <a:pt x="939" y="3482"/>
                    </a:lnTo>
                    <a:lnTo>
                      <a:pt x="946" y="3495"/>
                    </a:lnTo>
                    <a:lnTo>
                      <a:pt x="952" y="3509"/>
                    </a:lnTo>
                    <a:lnTo>
                      <a:pt x="956" y="3523"/>
                    </a:lnTo>
                    <a:lnTo>
                      <a:pt x="960" y="3538"/>
                    </a:lnTo>
                    <a:lnTo>
                      <a:pt x="963" y="3553"/>
                    </a:lnTo>
                    <a:lnTo>
                      <a:pt x="964" y="3569"/>
                    </a:lnTo>
                    <a:lnTo>
                      <a:pt x="965" y="3585"/>
                    </a:lnTo>
                    <a:lnTo>
                      <a:pt x="965" y="3600"/>
                    </a:lnTo>
                    <a:lnTo>
                      <a:pt x="963" y="3616"/>
                    </a:lnTo>
                    <a:lnTo>
                      <a:pt x="960" y="3632"/>
                    </a:lnTo>
                    <a:lnTo>
                      <a:pt x="957" y="3647"/>
                    </a:lnTo>
                    <a:lnTo>
                      <a:pt x="952" y="3661"/>
                    </a:lnTo>
                    <a:lnTo>
                      <a:pt x="947" y="3676"/>
                    </a:lnTo>
                    <a:lnTo>
                      <a:pt x="940" y="3689"/>
                    </a:lnTo>
                    <a:lnTo>
                      <a:pt x="932" y="3702"/>
                    </a:lnTo>
                    <a:lnTo>
                      <a:pt x="924" y="3714"/>
                    </a:lnTo>
                    <a:lnTo>
                      <a:pt x="664" y="4036"/>
                    </a:lnTo>
                    <a:lnTo>
                      <a:pt x="664" y="4036"/>
                    </a:lnTo>
                    <a:lnTo>
                      <a:pt x="656" y="4048"/>
                    </a:lnTo>
                    <a:lnTo>
                      <a:pt x="649" y="4060"/>
                    </a:lnTo>
                    <a:lnTo>
                      <a:pt x="643" y="4073"/>
                    </a:lnTo>
                    <a:lnTo>
                      <a:pt x="639" y="4086"/>
                    </a:lnTo>
                    <a:lnTo>
                      <a:pt x="636" y="4100"/>
                    </a:lnTo>
                    <a:lnTo>
                      <a:pt x="634" y="4113"/>
                    </a:lnTo>
                    <a:lnTo>
                      <a:pt x="633" y="4127"/>
                    </a:lnTo>
                    <a:lnTo>
                      <a:pt x="634" y="4141"/>
                    </a:lnTo>
                    <a:lnTo>
                      <a:pt x="636" y="4154"/>
                    </a:lnTo>
                    <a:lnTo>
                      <a:pt x="640" y="4167"/>
                    </a:lnTo>
                    <a:lnTo>
                      <a:pt x="644" y="4180"/>
                    </a:lnTo>
                    <a:lnTo>
                      <a:pt x="650" y="4192"/>
                    </a:lnTo>
                    <a:lnTo>
                      <a:pt x="657" y="4204"/>
                    </a:lnTo>
                    <a:lnTo>
                      <a:pt x="666" y="4216"/>
                    </a:lnTo>
                    <a:lnTo>
                      <a:pt x="675" y="4226"/>
                    </a:lnTo>
                    <a:lnTo>
                      <a:pt x="686" y="4236"/>
                    </a:lnTo>
                    <a:lnTo>
                      <a:pt x="1172" y="4626"/>
                    </a:lnTo>
                    <a:lnTo>
                      <a:pt x="1172" y="4626"/>
                    </a:lnTo>
                    <a:lnTo>
                      <a:pt x="1183" y="4634"/>
                    </a:lnTo>
                    <a:lnTo>
                      <a:pt x="1196" y="4642"/>
                    </a:lnTo>
                    <a:lnTo>
                      <a:pt x="1208" y="4647"/>
                    </a:lnTo>
                    <a:lnTo>
                      <a:pt x="1221" y="4652"/>
                    </a:lnTo>
                    <a:lnTo>
                      <a:pt x="1235" y="4655"/>
                    </a:lnTo>
                    <a:lnTo>
                      <a:pt x="1248" y="4657"/>
                    </a:lnTo>
                    <a:lnTo>
                      <a:pt x="1262" y="4657"/>
                    </a:lnTo>
                    <a:lnTo>
                      <a:pt x="1276" y="4656"/>
                    </a:lnTo>
                    <a:lnTo>
                      <a:pt x="1289" y="4654"/>
                    </a:lnTo>
                    <a:lnTo>
                      <a:pt x="1302" y="4651"/>
                    </a:lnTo>
                    <a:lnTo>
                      <a:pt x="1315" y="4646"/>
                    </a:lnTo>
                    <a:lnTo>
                      <a:pt x="1328" y="4640"/>
                    </a:lnTo>
                    <a:lnTo>
                      <a:pt x="1339" y="4633"/>
                    </a:lnTo>
                    <a:lnTo>
                      <a:pt x="1351" y="4625"/>
                    </a:lnTo>
                    <a:lnTo>
                      <a:pt x="1361" y="4615"/>
                    </a:lnTo>
                    <a:lnTo>
                      <a:pt x="1371" y="4604"/>
                    </a:lnTo>
                    <a:lnTo>
                      <a:pt x="1630" y="4283"/>
                    </a:lnTo>
                    <a:lnTo>
                      <a:pt x="1630" y="4283"/>
                    </a:lnTo>
                    <a:lnTo>
                      <a:pt x="1639" y="4272"/>
                    </a:lnTo>
                    <a:lnTo>
                      <a:pt x="1650" y="4262"/>
                    </a:lnTo>
                    <a:lnTo>
                      <a:pt x="1662" y="4252"/>
                    </a:lnTo>
                    <a:lnTo>
                      <a:pt x="1675" y="4244"/>
                    </a:lnTo>
                    <a:lnTo>
                      <a:pt x="1688" y="4236"/>
                    </a:lnTo>
                    <a:lnTo>
                      <a:pt x="1702" y="4229"/>
                    </a:lnTo>
                    <a:lnTo>
                      <a:pt x="1717" y="4223"/>
                    </a:lnTo>
                    <a:lnTo>
                      <a:pt x="1732" y="4219"/>
                    </a:lnTo>
                    <a:lnTo>
                      <a:pt x="1747" y="4215"/>
                    </a:lnTo>
                    <a:lnTo>
                      <a:pt x="1762" y="4212"/>
                    </a:lnTo>
                    <a:lnTo>
                      <a:pt x="1778" y="4210"/>
                    </a:lnTo>
                    <a:lnTo>
                      <a:pt x="1793" y="4210"/>
                    </a:lnTo>
                    <a:lnTo>
                      <a:pt x="1809" y="4210"/>
                    </a:lnTo>
                    <a:lnTo>
                      <a:pt x="1824" y="4212"/>
                    </a:lnTo>
                    <a:lnTo>
                      <a:pt x="1838" y="4215"/>
                    </a:lnTo>
                    <a:lnTo>
                      <a:pt x="1852" y="4219"/>
                    </a:lnTo>
                    <a:lnTo>
                      <a:pt x="2295" y="4319"/>
                    </a:lnTo>
                    <a:lnTo>
                      <a:pt x="2295" y="4319"/>
                    </a:lnTo>
                    <a:lnTo>
                      <a:pt x="2309" y="4322"/>
                    </a:lnTo>
                    <a:lnTo>
                      <a:pt x="2324" y="4326"/>
                    </a:lnTo>
                    <a:lnTo>
                      <a:pt x="2338" y="4331"/>
                    </a:lnTo>
                    <a:lnTo>
                      <a:pt x="2352" y="4337"/>
                    </a:lnTo>
                    <a:lnTo>
                      <a:pt x="2366" y="4345"/>
                    </a:lnTo>
                    <a:lnTo>
                      <a:pt x="2379" y="4353"/>
                    </a:lnTo>
                    <a:lnTo>
                      <a:pt x="2391" y="4363"/>
                    </a:lnTo>
                    <a:lnTo>
                      <a:pt x="2403" y="4373"/>
                    </a:lnTo>
                    <a:lnTo>
                      <a:pt x="2415" y="4384"/>
                    </a:lnTo>
                    <a:lnTo>
                      <a:pt x="2425" y="4396"/>
                    </a:lnTo>
                    <a:lnTo>
                      <a:pt x="2435" y="4408"/>
                    </a:lnTo>
                    <a:lnTo>
                      <a:pt x="2443" y="4421"/>
                    </a:lnTo>
                    <a:lnTo>
                      <a:pt x="2451" y="4434"/>
                    </a:lnTo>
                    <a:lnTo>
                      <a:pt x="2457" y="4448"/>
                    </a:lnTo>
                    <a:lnTo>
                      <a:pt x="2464" y="4462"/>
                    </a:lnTo>
                    <a:lnTo>
                      <a:pt x="2468" y="4476"/>
                    </a:lnTo>
                    <a:lnTo>
                      <a:pt x="2558" y="4880"/>
                    </a:lnTo>
                    <a:lnTo>
                      <a:pt x="2558" y="4880"/>
                    </a:lnTo>
                    <a:lnTo>
                      <a:pt x="2562" y="4894"/>
                    </a:lnTo>
                    <a:lnTo>
                      <a:pt x="2567" y="4907"/>
                    </a:lnTo>
                    <a:lnTo>
                      <a:pt x="2574" y="4919"/>
                    </a:lnTo>
                    <a:lnTo>
                      <a:pt x="2581" y="4931"/>
                    </a:lnTo>
                    <a:lnTo>
                      <a:pt x="2590" y="4942"/>
                    </a:lnTo>
                    <a:lnTo>
                      <a:pt x="2600" y="4952"/>
                    </a:lnTo>
                    <a:lnTo>
                      <a:pt x="2610" y="4960"/>
                    </a:lnTo>
                    <a:lnTo>
                      <a:pt x="2621" y="4968"/>
                    </a:lnTo>
                    <a:lnTo>
                      <a:pt x="2633" y="4975"/>
                    </a:lnTo>
                    <a:lnTo>
                      <a:pt x="2645" y="4981"/>
                    </a:lnTo>
                    <a:lnTo>
                      <a:pt x="2658" y="4985"/>
                    </a:lnTo>
                    <a:lnTo>
                      <a:pt x="2672" y="4988"/>
                    </a:lnTo>
                    <a:lnTo>
                      <a:pt x="2685" y="4990"/>
                    </a:lnTo>
                    <a:lnTo>
                      <a:pt x="2699" y="4990"/>
                    </a:lnTo>
                    <a:lnTo>
                      <a:pt x="2714" y="4989"/>
                    </a:lnTo>
                    <a:lnTo>
                      <a:pt x="2728" y="4987"/>
                    </a:lnTo>
                    <a:lnTo>
                      <a:pt x="3336" y="4850"/>
                    </a:lnTo>
                    <a:lnTo>
                      <a:pt x="3336" y="4850"/>
                    </a:lnTo>
                    <a:lnTo>
                      <a:pt x="3350" y="4846"/>
                    </a:lnTo>
                    <a:lnTo>
                      <a:pt x="3363" y="4841"/>
                    </a:lnTo>
                    <a:lnTo>
                      <a:pt x="3376" y="4835"/>
                    </a:lnTo>
                    <a:lnTo>
                      <a:pt x="3387" y="4827"/>
                    </a:lnTo>
                    <a:lnTo>
                      <a:pt x="3398" y="4819"/>
                    </a:lnTo>
                    <a:lnTo>
                      <a:pt x="3408" y="4809"/>
                    </a:lnTo>
                    <a:lnTo>
                      <a:pt x="3417" y="4799"/>
                    </a:lnTo>
                    <a:lnTo>
                      <a:pt x="3425" y="4787"/>
                    </a:lnTo>
                    <a:lnTo>
                      <a:pt x="3431" y="4776"/>
                    </a:lnTo>
                    <a:lnTo>
                      <a:pt x="3437" y="4763"/>
                    </a:lnTo>
                    <a:lnTo>
                      <a:pt x="3441" y="4750"/>
                    </a:lnTo>
                    <a:lnTo>
                      <a:pt x="3444" y="4737"/>
                    </a:lnTo>
                    <a:lnTo>
                      <a:pt x="3446" y="4723"/>
                    </a:lnTo>
                    <a:lnTo>
                      <a:pt x="3447" y="4709"/>
                    </a:lnTo>
                    <a:lnTo>
                      <a:pt x="3446" y="4695"/>
                    </a:lnTo>
                    <a:lnTo>
                      <a:pt x="3443" y="4681"/>
                    </a:lnTo>
                    <a:lnTo>
                      <a:pt x="3352" y="4278"/>
                    </a:lnTo>
                    <a:lnTo>
                      <a:pt x="3352" y="4278"/>
                    </a:lnTo>
                    <a:lnTo>
                      <a:pt x="3350" y="4263"/>
                    </a:lnTo>
                    <a:lnTo>
                      <a:pt x="3349" y="4248"/>
                    </a:lnTo>
                    <a:lnTo>
                      <a:pt x="3349" y="4233"/>
                    </a:lnTo>
                    <a:lnTo>
                      <a:pt x="3350" y="4218"/>
                    </a:lnTo>
                    <a:lnTo>
                      <a:pt x="3352" y="4203"/>
                    </a:lnTo>
                    <a:lnTo>
                      <a:pt x="3356" y="4187"/>
                    </a:lnTo>
                    <a:lnTo>
                      <a:pt x="3360" y="4172"/>
                    </a:lnTo>
                    <a:lnTo>
                      <a:pt x="3366" y="4158"/>
                    </a:lnTo>
                    <a:lnTo>
                      <a:pt x="3372" y="4143"/>
                    </a:lnTo>
                    <a:lnTo>
                      <a:pt x="3379" y="4129"/>
                    </a:lnTo>
                    <a:lnTo>
                      <a:pt x="3388" y="4116"/>
                    </a:lnTo>
                    <a:lnTo>
                      <a:pt x="3397" y="4103"/>
                    </a:lnTo>
                    <a:lnTo>
                      <a:pt x="3407" y="4092"/>
                    </a:lnTo>
                    <a:lnTo>
                      <a:pt x="3417" y="4081"/>
                    </a:lnTo>
                    <a:lnTo>
                      <a:pt x="3429" y="4071"/>
                    </a:lnTo>
                    <a:lnTo>
                      <a:pt x="3441" y="4063"/>
                    </a:lnTo>
                    <a:lnTo>
                      <a:pt x="3795" y="3783"/>
                    </a:lnTo>
                    <a:lnTo>
                      <a:pt x="3795" y="3783"/>
                    </a:lnTo>
                    <a:lnTo>
                      <a:pt x="3806" y="3773"/>
                    </a:lnTo>
                    <a:lnTo>
                      <a:pt x="3818" y="3764"/>
                    </a:lnTo>
                    <a:lnTo>
                      <a:pt x="3831" y="3756"/>
                    </a:lnTo>
                    <a:lnTo>
                      <a:pt x="3845" y="3749"/>
                    </a:lnTo>
                    <a:lnTo>
                      <a:pt x="3859" y="3743"/>
                    </a:lnTo>
                    <a:lnTo>
                      <a:pt x="3874" y="3738"/>
                    </a:lnTo>
                    <a:lnTo>
                      <a:pt x="3889" y="3734"/>
                    </a:lnTo>
                    <a:lnTo>
                      <a:pt x="3905" y="3731"/>
                    </a:lnTo>
                    <a:lnTo>
                      <a:pt x="3920" y="3729"/>
                    </a:lnTo>
                    <a:lnTo>
                      <a:pt x="3936" y="3728"/>
                    </a:lnTo>
                    <a:lnTo>
                      <a:pt x="3952" y="3728"/>
                    </a:lnTo>
                    <a:lnTo>
                      <a:pt x="3967" y="3730"/>
                    </a:lnTo>
                    <a:lnTo>
                      <a:pt x="3982" y="3732"/>
                    </a:lnTo>
                    <a:lnTo>
                      <a:pt x="3997" y="3735"/>
                    </a:lnTo>
                    <a:lnTo>
                      <a:pt x="4011" y="3740"/>
                    </a:lnTo>
                    <a:lnTo>
                      <a:pt x="4024" y="3746"/>
                    </a:lnTo>
                    <a:lnTo>
                      <a:pt x="4396" y="3926"/>
                    </a:lnTo>
                    <a:lnTo>
                      <a:pt x="4396" y="3926"/>
                    </a:lnTo>
                    <a:lnTo>
                      <a:pt x="4409" y="3932"/>
                    </a:lnTo>
                    <a:lnTo>
                      <a:pt x="4423" y="3936"/>
                    </a:lnTo>
                    <a:lnTo>
                      <a:pt x="4436" y="3939"/>
                    </a:lnTo>
                    <a:lnTo>
                      <a:pt x="4450" y="3940"/>
                    </a:lnTo>
                    <a:lnTo>
                      <a:pt x="4464" y="3940"/>
                    </a:lnTo>
                    <a:lnTo>
                      <a:pt x="4477" y="3939"/>
                    </a:lnTo>
                    <a:lnTo>
                      <a:pt x="4491" y="3936"/>
                    </a:lnTo>
                    <a:lnTo>
                      <a:pt x="4504" y="3932"/>
                    </a:lnTo>
                    <a:lnTo>
                      <a:pt x="4516" y="3927"/>
                    </a:lnTo>
                    <a:lnTo>
                      <a:pt x="4529" y="3921"/>
                    </a:lnTo>
                    <a:lnTo>
                      <a:pt x="4540" y="3914"/>
                    </a:lnTo>
                    <a:lnTo>
                      <a:pt x="4551" y="3905"/>
                    </a:lnTo>
                    <a:lnTo>
                      <a:pt x="4561" y="3896"/>
                    </a:lnTo>
                    <a:lnTo>
                      <a:pt x="4570" y="3885"/>
                    </a:lnTo>
                    <a:lnTo>
                      <a:pt x="4578" y="3873"/>
                    </a:lnTo>
                    <a:lnTo>
                      <a:pt x="4585" y="3860"/>
                    </a:lnTo>
                    <a:lnTo>
                      <a:pt x="4857" y="3300"/>
                    </a:lnTo>
                    <a:lnTo>
                      <a:pt x="4857" y="3300"/>
                    </a:lnTo>
                    <a:lnTo>
                      <a:pt x="4863" y="3286"/>
                    </a:lnTo>
                    <a:lnTo>
                      <a:pt x="4867" y="3273"/>
                    </a:lnTo>
                    <a:lnTo>
                      <a:pt x="4870" y="3259"/>
                    </a:lnTo>
                    <a:lnTo>
                      <a:pt x="4871" y="3245"/>
                    </a:lnTo>
                    <a:lnTo>
                      <a:pt x="4872" y="3231"/>
                    </a:lnTo>
                    <a:lnTo>
                      <a:pt x="4870" y="3218"/>
                    </a:lnTo>
                    <a:lnTo>
                      <a:pt x="4868" y="3204"/>
                    </a:lnTo>
                    <a:lnTo>
                      <a:pt x="4864" y="3191"/>
                    </a:lnTo>
                    <a:lnTo>
                      <a:pt x="4859" y="3179"/>
                    </a:lnTo>
                    <a:lnTo>
                      <a:pt x="4853" y="3167"/>
                    </a:lnTo>
                    <a:lnTo>
                      <a:pt x="4845" y="3155"/>
                    </a:lnTo>
                    <a:lnTo>
                      <a:pt x="4837" y="3144"/>
                    </a:lnTo>
                    <a:lnTo>
                      <a:pt x="4827" y="3134"/>
                    </a:lnTo>
                    <a:lnTo>
                      <a:pt x="4816" y="3125"/>
                    </a:lnTo>
                    <a:lnTo>
                      <a:pt x="4805" y="3117"/>
                    </a:lnTo>
                    <a:lnTo>
                      <a:pt x="4792" y="3110"/>
                    </a:lnTo>
                    <a:lnTo>
                      <a:pt x="4421" y="2930"/>
                    </a:lnTo>
                    <a:lnTo>
                      <a:pt x="4421" y="2930"/>
                    </a:lnTo>
                    <a:lnTo>
                      <a:pt x="4408" y="2923"/>
                    </a:lnTo>
                    <a:lnTo>
                      <a:pt x="4396" y="2915"/>
                    </a:lnTo>
                    <a:lnTo>
                      <a:pt x="4384" y="2905"/>
                    </a:lnTo>
                    <a:lnTo>
                      <a:pt x="4373" y="2895"/>
                    </a:lnTo>
                    <a:lnTo>
                      <a:pt x="4363" y="2884"/>
                    </a:lnTo>
                    <a:lnTo>
                      <a:pt x="4354" y="2872"/>
                    </a:lnTo>
                    <a:lnTo>
                      <a:pt x="4345" y="2859"/>
                    </a:lnTo>
                    <a:lnTo>
                      <a:pt x="4338" y="2845"/>
                    </a:lnTo>
                    <a:lnTo>
                      <a:pt x="4331" y="2831"/>
                    </a:lnTo>
                    <a:lnTo>
                      <a:pt x="4325" y="2817"/>
                    </a:lnTo>
                    <a:lnTo>
                      <a:pt x="4321" y="2802"/>
                    </a:lnTo>
                    <a:lnTo>
                      <a:pt x="4317" y="2787"/>
                    </a:lnTo>
                    <a:lnTo>
                      <a:pt x="4315" y="2772"/>
                    </a:lnTo>
                    <a:lnTo>
                      <a:pt x="4314" y="2758"/>
                    </a:lnTo>
                    <a:lnTo>
                      <a:pt x="4314" y="2743"/>
                    </a:lnTo>
                    <a:lnTo>
                      <a:pt x="4316" y="2728"/>
                    </a:lnTo>
                    <a:lnTo>
                      <a:pt x="4316" y="2728"/>
                    </a:lnTo>
                    <a:lnTo>
                      <a:pt x="4318" y="2710"/>
                    </a:lnTo>
                    <a:lnTo>
                      <a:pt x="4323" y="2662"/>
                    </a:lnTo>
                    <a:lnTo>
                      <a:pt x="4326" y="2629"/>
                    </a:lnTo>
                    <a:lnTo>
                      <a:pt x="4329" y="2590"/>
                    </a:lnTo>
                    <a:lnTo>
                      <a:pt x="4331" y="2548"/>
                    </a:lnTo>
                    <a:lnTo>
                      <a:pt x="4332" y="2502"/>
                    </a:lnTo>
                    <a:lnTo>
                      <a:pt x="4332" y="2502"/>
                    </a:lnTo>
                    <a:close/>
                    <a:moveTo>
                      <a:pt x="3788" y="2500"/>
                    </a:moveTo>
                    <a:lnTo>
                      <a:pt x="3788" y="2500"/>
                    </a:lnTo>
                    <a:lnTo>
                      <a:pt x="3787" y="2533"/>
                    </a:lnTo>
                    <a:lnTo>
                      <a:pt x="3786" y="2567"/>
                    </a:lnTo>
                    <a:lnTo>
                      <a:pt x="3784" y="2600"/>
                    </a:lnTo>
                    <a:lnTo>
                      <a:pt x="3780" y="2633"/>
                    </a:lnTo>
                    <a:lnTo>
                      <a:pt x="3777" y="2666"/>
                    </a:lnTo>
                    <a:lnTo>
                      <a:pt x="3772" y="2698"/>
                    </a:lnTo>
                    <a:lnTo>
                      <a:pt x="3767" y="2730"/>
                    </a:lnTo>
                    <a:lnTo>
                      <a:pt x="3760" y="2762"/>
                    </a:lnTo>
                    <a:lnTo>
                      <a:pt x="3753" y="2794"/>
                    </a:lnTo>
                    <a:lnTo>
                      <a:pt x="3746" y="2825"/>
                    </a:lnTo>
                    <a:lnTo>
                      <a:pt x="3737" y="2856"/>
                    </a:lnTo>
                    <a:lnTo>
                      <a:pt x="3728" y="2887"/>
                    </a:lnTo>
                    <a:lnTo>
                      <a:pt x="3718" y="2917"/>
                    </a:lnTo>
                    <a:lnTo>
                      <a:pt x="3707" y="2947"/>
                    </a:lnTo>
                    <a:lnTo>
                      <a:pt x="3696" y="2977"/>
                    </a:lnTo>
                    <a:lnTo>
                      <a:pt x="3684" y="3006"/>
                    </a:lnTo>
                    <a:lnTo>
                      <a:pt x="3671" y="3035"/>
                    </a:lnTo>
                    <a:lnTo>
                      <a:pt x="3657" y="3064"/>
                    </a:lnTo>
                    <a:lnTo>
                      <a:pt x="3643" y="3092"/>
                    </a:lnTo>
                    <a:lnTo>
                      <a:pt x="3628" y="3120"/>
                    </a:lnTo>
                    <a:lnTo>
                      <a:pt x="3613" y="3147"/>
                    </a:lnTo>
                    <a:lnTo>
                      <a:pt x="3597" y="3174"/>
                    </a:lnTo>
                    <a:lnTo>
                      <a:pt x="3580" y="3201"/>
                    </a:lnTo>
                    <a:lnTo>
                      <a:pt x="3563" y="3227"/>
                    </a:lnTo>
                    <a:lnTo>
                      <a:pt x="3545" y="3252"/>
                    </a:lnTo>
                    <a:lnTo>
                      <a:pt x="3526" y="3278"/>
                    </a:lnTo>
                    <a:lnTo>
                      <a:pt x="3507" y="3302"/>
                    </a:lnTo>
                    <a:lnTo>
                      <a:pt x="3487" y="3327"/>
                    </a:lnTo>
                    <a:lnTo>
                      <a:pt x="3467" y="3350"/>
                    </a:lnTo>
                    <a:lnTo>
                      <a:pt x="3446" y="3374"/>
                    </a:lnTo>
                    <a:lnTo>
                      <a:pt x="3425" y="3396"/>
                    </a:lnTo>
                    <a:lnTo>
                      <a:pt x="3403" y="3419"/>
                    </a:lnTo>
                    <a:lnTo>
                      <a:pt x="3381" y="3440"/>
                    </a:lnTo>
                    <a:lnTo>
                      <a:pt x="3358" y="3462"/>
                    </a:lnTo>
                    <a:lnTo>
                      <a:pt x="3334" y="3482"/>
                    </a:lnTo>
                    <a:lnTo>
                      <a:pt x="3310" y="3502"/>
                    </a:lnTo>
                    <a:lnTo>
                      <a:pt x="3286" y="3522"/>
                    </a:lnTo>
                    <a:lnTo>
                      <a:pt x="3261" y="3541"/>
                    </a:lnTo>
                    <a:lnTo>
                      <a:pt x="3236" y="3559"/>
                    </a:lnTo>
                    <a:lnTo>
                      <a:pt x="3210" y="3577"/>
                    </a:lnTo>
                    <a:lnTo>
                      <a:pt x="3184" y="3594"/>
                    </a:lnTo>
                    <a:lnTo>
                      <a:pt x="3157" y="3611"/>
                    </a:lnTo>
                    <a:lnTo>
                      <a:pt x="3130" y="3626"/>
                    </a:lnTo>
                    <a:lnTo>
                      <a:pt x="3102" y="3642"/>
                    </a:lnTo>
                    <a:lnTo>
                      <a:pt x="3074" y="3656"/>
                    </a:lnTo>
                    <a:lnTo>
                      <a:pt x="3046" y="3670"/>
                    </a:lnTo>
                    <a:lnTo>
                      <a:pt x="3017" y="3683"/>
                    </a:lnTo>
                    <a:lnTo>
                      <a:pt x="2988" y="3696"/>
                    </a:lnTo>
                    <a:lnTo>
                      <a:pt x="2959" y="3708"/>
                    </a:lnTo>
                    <a:lnTo>
                      <a:pt x="2929" y="3719"/>
                    </a:lnTo>
                    <a:lnTo>
                      <a:pt x="2899" y="3730"/>
                    </a:lnTo>
                    <a:lnTo>
                      <a:pt x="2868" y="3739"/>
                    </a:lnTo>
                    <a:lnTo>
                      <a:pt x="2838" y="3748"/>
                    </a:lnTo>
                    <a:lnTo>
                      <a:pt x="2807" y="3757"/>
                    </a:lnTo>
                    <a:lnTo>
                      <a:pt x="2775" y="3764"/>
                    </a:lnTo>
                    <a:lnTo>
                      <a:pt x="2744" y="3771"/>
                    </a:lnTo>
                    <a:lnTo>
                      <a:pt x="2712" y="3777"/>
                    </a:lnTo>
                    <a:lnTo>
                      <a:pt x="2679" y="3782"/>
                    </a:lnTo>
                    <a:lnTo>
                      <a:pt x="2647" y="3787"/>
                    </a:lnTo>
                    <a:lnTo>
                      <a:pt x="2614" y="3790"/>
                    </a:lnTo>
                    <a:lnTo>
                      <a:pt x="2581" y="3793"/>
                    </a:lnTo>
                    <a:lnTo>
                      <a:pt x="2548" y="3795"/>
                    </a:lnTo>
                    <a:lnTo>
                      <a:pt x="2515" y="3796"/>
                    </a:lnTo>
                    <a:lnTo>
                      <a:pt x="2481" y="3796"/>
                    </a:lnTo>
                    <a:lnTo>
                      <a:pt x="2481" y="3796"/>
                    </a:lnTo>
                    <a:lnTo>
                      <a:pt x="2446" y="3796"/>
                    </a:lnTo>
                    <a:lnTo>
                      <a:pt x="2413" y="3794"/>
                    </a:lnTo>
                    <a:lnTo>
                      <a:pt x="2380" y="3792"/>
                    </a:lnTo>
                    <a:lnTo>
                      <a:pt x="2347" y="3789"/>
                    </a:lnTo>
                    <a:lnTo>
                      <a:pt x="2314" y="3785"/>
                    </a:lnTo>
                    <a:lnTo>
                      <a:pt x="2282" y="3781"/>
                    </a:lnTo>
                    <a:lnTo>
                      <a:pt x="2250" y="3775"/>
                    </a:lnTo>
                    <a:lnTo>
                      <a:pt x="2218" y="3769"/>
                    </a:lnTo>
                    <a:lnTo>
                      <a:pt x="2186" y="3762"/>
                    </a:lnTo>
                    <a:lnTo>
                      <a:pt x="2155" y="3754"/>
                    </a:lnTo>
                    <a:lnTo>
                      <a:pt x="2124" y="3746"/>
                    </a:lnTo>
                    <a:lnTo>
                      <a:pt x="2093" y="3736"/>
                    </a:lnTo>
                    <a:lnTo>
                      <a:pt x="2063" y="3726"/>
                    </a:lnTo>
                    <a:lnTo>
                      <a:pt x="2033" y="3716"/>
                    </a:lnTo>
                    <a:lnTo>
                      <a:pt x="2003" y="3704"/>
                    </a:lnTo>
                    <a:lnTo>
                      <a:pt x="1974" y="3692"/>
                    </a:lnTo>
                    <a:lnTo>
                      <a:pt x="1945" y="3679"/>
                    </a:lnTo>
                    <a:lnTo>
                      <a:pt x="1916" y="3666"/>
                    </a:lnTo>
                    <a:lnTo>
                      <a:pt x="1888" y="3652"/>
                    </a:lnTo>
                    <a:lnTo>
                      <a:pt x="1860" y="3637"/>
                    </a:lnTo>
                    <a:lnTo>
                      <a:pt x="1833" y="3621"/>
                    </a:lnTo>
                    <a:lnTo>
                      <a:pt x="1806" y="3605"/>
                    </a:lnTo>
                    <a:lnTo>
                      <a:pt x="1779" y="3589"/>
                    </a:lnTo>
                    <a:lnTo>
                      <a:pt x="1753" y="3571"/>
                    </a:lnTo>
                    <a:lnTo>
                      <a:pt x="1728" y="3553"/>
                    </a:lnTo>
                    <a:lnTo>
                      <a:pt x="1702" y="3535"/>
                    </a:lnTo>
                    <a:lnTo>
                      <a:pt x="1678" y="3516"/>
                    </a:lnTo>
                    <a:lnTo>
                      <a:pt x="1653" y="3496"/>
                    </a:lnTo>
                    <a:lnTo>
                      <a:pt x="1630" y="3476"/>
                    </a:lnTo>
                    <a:lnTo>
                      <a:pt x="1606" y="3455"/>
                    </a:lnTo>
                    <a:lnTo>
                      <a:pt x="1584" y="3433"/>
                    </a:lnTo>
                    <a:lnTo>
                      <a:pt x="1561" y="3412"/>
                    </a:lnTo>
                    <a:lnTo>
                      <a:pt x="1540" y="3389"/>
                    </a:lnTo>
                    <a:lnTo>
                      <a:pt x="1518" y="3366"/>
                    </a:lnTo>
                    <a:lnTo>
                      <a:pt x="1498" y="3343"/>
                    </a:lnTo>
                    <a:lnTo>
                      <a:pt x="1478" y="3319"/>
                    </a:lnTo>
                    <a:lnTo>
                      <a:pt x="1458" y="3294"/>
                    </a:lnTo>
                    <a:lnTo>
                      <a:pt x="1439" y="3269"/>
                    </a:lnTo>
                    <a:lnTo>
                      <a:pt x="1421" y="3244"/>
                    </a:lnTo>
                    <a:lnTo>
                      <a:pt x="1403" y="3218"/>
                    </a:lnTo>
                    <a:lnTo>
                      <a:pt x="1386" y="3192"/>
                    </a:lnTo>
                    <a:lnTo>
                      <a:pt x="1370" y="3165"/>
                    </a:lnTo>
                    <a:lnTo>
                      <a:pt x="1354" y="3138"/>
                    </a:lnTo>
                    <a:lnTo>
                      <a:pt x="1338" y="3111"/>
                    </a:lnTo>
                    <a:lnTo>
                      <a:pt x="1324" y="3083"/>
                    </a:lnTo>
                    <a:lnTo>
                      <a:pt x="1310" y="3054"/>
                    </a:lnTo>
                    <a:lnTo>
                      <a:pt x="1297" y="3026"/>
                    </a:lnTo>
                    <a:lnTo>
                      <a:pt x="1284" y="2997"/>
                    </a:lnTo>
                    <a:lnTo>
                      <a:pt x="1272" y="2967"/>
                    </a:lnTo>
                    <a:lnTo>
                      <a:pt x="1261" y="2937"/>
                    </a:lnTo>
                    <a:lnTo>
                      <a:pt x="1250" y="2907"/>
                    </a:lnTo>
                    <a:lnTo>
                      <a:pt x="1241" y="2877"/>
                    </a:lnTo>
                    <a:lnTo>
                      <a:pt x="1232" y="2846"/>
                    </a:lnTo>
                    <a:lnTo>
                      <a:pt x="1223" y="2815"/>
                    </a:lnTo>
                    <a:lnTo>
                      <a:pt x="1216" y="2784"/>
                    </a:lnTo>
                    <a:lnTo>
                      <a:pt x="1209" y="2752"/>
                    </a:lnTo>
                    <a:lnTo>
                      <a:pt x="1203" y="2720"/>
                    </a:lnTo>
                    <a:lnTo>
                      <a:pt x="1198" y="2688"/>
                    </a:lnTo>
                    <a:lnTo>
                      <a:pt x="1194" y="2655"/>
                    </a:lnTo>
                    <a:lnTo>
                      <a:pt x="1190" y="2623"/>
                    </a:lnTo>
                    <a:lnTo>
                      <a:pt x="1187" y="2590"/>
                    </a:lnTo>
                    <a:lnTo>
                      <a:pt x="1185" y="2557"/>
                    </a:lnTo>
                    <a:lnTo>
                      <a:pt x="1184" y="2523"/>
                    </a:lnTo>
                    <a:lnTo>
                      <a:pt x="1184" y="2490"/>
                    </a:lnTo>
                    <a:lnTo>
                      <a:pt x="1184" y="2490"/>
                    </a:lnTo>
                    <a:lnTo>
                      <a:pt x="1184" y="2455"/>
                    </a:lnTo>
                    <a:lnTo>
                      <a:pt x="1186" y="2422"/>
                    </a:lnTo>
                    <a:lnTo>
                      <a:pt x="1188" y="2388"/>
                    </a:lnTo>
                    <a:lnTo>
                      <a:pt x="1191" y="2356"/>
                    </a:lnTo>
                    <a:lnTo>
                      <a:pt x="1195" y="2323"/>
                    </a:lnTo>
                    <a:lnTo>
                      <a:pt x="1199" y="2290"/>
                    </a:lnTo>
                    <a:lnTo>
                      <a:pt x="1205" y="2258"/>
                    </a:lnTo>
                    <a:lnTo>
                      <a:pt x="1211" y="2226"/>
                    </a:lnTo>
                    <a:lnTo>
                      <a:pt x="1218" y="2195"/>
                    </a:lnTo>
                    <a:lnTo>
                      <a:pt x="1226" y="2163"/>
                    </a:lnTo>
                    <a:lnTo>
                      <a:pt x="1234" y="2132"/>
                    </a:lnTo>
                    <a:lnTo>
                      <a:pt x="1244" y="2102"/>
                    </a:lnTo>
                    <a:lnTo>
                      <a:pt x="1254" y="2071"/>
                    </a:lnTo>
                    <a:lnTo>
                      <a:pt x="1264" y="2041"/>
                    </a:lnTo>
                    <a:lnTo>
                      <a:pt x="1276" y="2012"/>
                    </a:lnTo>
                    <a:lnTo>
                      <a:pt x="1288" y="1982"/>
                    </a:lnTo>
                    <a:lnTo>
                      <a:pt x="1301" y="1953"/>
                    </a:lnTo>
                    <a:lnTo>
                      <a:pt x="1314" y="1925"/>
                    </a:lnTo>
                    <a:lnTo>
                      <a:pt x="1328" y="1897"/>
                    </a:lnTo>
                    <a:lnTo>
                      <a:pt x="1343" y="1869"/>
                    </a:lnTo>
                    <a:lnTo>
                      <a:pt x="1359" y="1841"/>
                    </a:lnTo>
                    <a:lnTo>
                      <a:pt x="1375" y="1814"/>
                    </a:lnTo>
                    <a:lnTo>
                      <a:pt x="1391" y="1788"/>
                    </a:lnTo>
                    <a:lnTo>
                      <a:pt x="1409" y="1762"/>
                    </a:lnTo>
                    <a:lnTo>
                      <a:pt x="1427" y="1736"/>
                    </a:lnTo>
                    <a:lnTo>
                      <a:pt x="1445" y="1711"/>
                    </a:lnTo>
                    <a:lnTo>
                      <a:pt x="1464" y="1686"/>
                    </a:lnTo>
                    <a:lnTo>
                      <a:pt x="1484" y="1662"/>
                    </a:lnTo>
                    <a:lnTo>
                      <a:pt x="1504" y="1638"/>
                    </a:lnTo>
                    <a:lnTo>
                      <a:pt x="1525" y="1615"/>
                    </a:lnTo>
                    <a:lnTo>
                      <a:pt x="1547" y="1592"/>
                    </a:lnTo>
                    <a:lnTo>
                      <a:pt x="1569" y="1570"/>
                    </a:lnTo>
                    <a:lnTo>
                      <a:pt x="1591" y="1548"/>
                    </a:lnTo>
                    <a:lnTo>
                      <a:pt x="1614" y="1527"/>
                    </a:lnTo>
                    <a:lnTo>
                      <a:pt x="1637" y="1506"/>
                    </a:lnTo>
                    <a:lnTo>
                      <a:pt x="1661" y="1486"/>
                    </a:lnTo>
                    <a:lnTo>
                      <a:pt x="1686" y="1467"/>
                    </a:lnTo>
                    <a:lnTo>
                      <a:pt x="1711" y="1448"/>
                    </a:lnTo>
                    <a:lnTo>
                      <a:pt x="1736" y="1429"/>
                    </a:lnTo>
                    <a:lnTo>
                      <a:pt x="1762" y="1412"/>
                    </a:lnTo>
                    <a:lnTo>
                      <a:pt x="1788" y="1395"/>
                    </a:lnTo>
                    <a:lnTo>
                      <a:pt x="1815" y="1378"/>
                    </a:lnTo>
                    <a:lnTo>
                      <a:pt x="1842" y="1362"/>
                    </a:lnTo>
                    <a:lnTo>
                      <a:pt x="1869" y="1347"/>
                    </a:lnTo>
                    <a:lnTo>
                      <a:pt x="1897" y="1332"/>
                    </a:lnTo>
                    <a:lnTo>
                      <a:pt x="1926" y="1318"/>
                    </a:lnTo>
                    <a:lnTo>
                      <a:pt x="1954" y="1305"/>
                    </a:lnTo>
                    <a:lnTo>
                      <a:pt x="1983" y="1293"/>
                    </a:lnTo>
                    <a:lnTo>
                      <a:pt x="2013" y="1281"/>
                    </a:lnTo>
                    <a:lnTo>
                      <a:pt x="2043" y="1270"/>
                    </a:lnTo>
                    <a:lnTo>
                      <a:pt x="2073" y="1259"/>
                    </a:lnTo>
                    <a:lnTo>
                      <a:pt x="2103" y="1249"/>
                    </a:lnTo>
                    <a:lnTo>
                      <a:pt x="2134" y="1240"/>
                    </a:lnTo>
                    <a:lnTo>
                      <a:pt x="2165" y="1232"/>
                    </a:lnTo>
                    <a:lnTo>
                      <a:pt x="2196" y="1225"/>
                    </a:lnTo>
                    <a:lnTo>
                      <a:pt x="2228" y="1218"/>
                    </a:lnTo>
                    <a:lnTo>
                      <a:pt x="2260" y="1212"/>
                    </a:lnTo>
                    <a:lnTo>
                      <a:pt x="2292" y="1207"/>
                    </a:lnTo>
                    <a:lnTo>
                      <a:pt x="2325" y="1202"/>
                    </a:lnTo>
                    <a:lnTo>
                      <a:pt x="2357" y="1199"/>
                    </a:lnTo>
                    <a:lnTo>
                      <a:pt x="2390" y="1196"/>
                    </a:lnTo>
                    <a:lnTo>
                      <a:pt x="2424" y="1194"/>
                    </a:lnTo>
                    <a:lnTo>
                      <a:pt x="2457" y="1193"/>
                    </a:lnTo>
                    <a:lnTo>
                      <a:pt x="2492" y="1192"/>
                    </a:lnTo>
                    <a:lnTo>
                      <a:pt x="2492" y="1192"/>
                    </a:lnTo>
                    <a:lnTo>
                      <a:pt x="2525" y="1193"/>
                    </a:lnTo>
                    <a:lnTo>
                      <a:pt x="2558" y="1194"/>
                    </a:lnTo>
                    <a:lnTo>
                      <a:pt x="2592" y="1197"/>
                    </a:lnTo>
                    <a:lnTo>
                      <a:pt x="2625" y="1200"/>
                    </a:lnTo>
                    <a:lnTo>
                      <a:pt x="2657" y="1204"/>
                    </a:lnTo>
                    <a:lnTo>
                      <a:pt x="2690" y="1208"/>
                    </a:lnTo>
                    <a:lnTo>
                      <a:pt x="2722" y="1214"/>
                    </a:lnTo>
                    <a:lnTo>
                      <a:pt x="2754" y="1220"/>
                    </a:lnTo>
                    <a:lnTo>
                      <a:pt x="2785" y="1227"/>
                    </a:lnTo>
                    <a:lnTo>
                      <a:pt x="2817" y="1235"/>
                    </a:lnTo>
                    <a:lnTo>
                      <a:pt x="2848" y="1243"/>
                    </a:lnTo>
                    <a:lnTo>
                      <a:pt x="2878" y="1252"/>
                    </a:lnTo>
                    <a:lnTo>
                      <a:pt x="2909" y="1262"/>
                    </a:lnTo>
                    <a:lnTo>
                      <a:pt x="2939" y="1273"/>
                    </a:lnTo>
                    <a:lnTo>
                      <a:pt x="2968" y="1285"/>
                    </a:lnTo>
                    <a:lnTo>
                      <a:pt x="2998" y="1297"/>
                    </a:lnTo>
                    <a:lnTo>
                      <a:pt x="3027" y="1309"/>
                    </a:lnTo>
                    <a:lnTo>
                      <a:pt x="3055" y="1323"/>
                    </a:lnTo>
                    <a:lnTo>
                      <a:pt x="3083" y="1337"/>
                    </a:lnTo>
                    <a:lnTo>
                      <a:pt x="3111" y="1352"/>
                    </a:lnTo>
                    <a:lnTo>
                      <a:pt x="3139" y="1367"/>
                    </a:lnTo>
                    <a:lnTo>
                      <a:pt x="3166" y="1383"/>
                    </a:lnTo>
                    <a:lnTo>
                      <a:pt x="3192" y="1400"/>
                    </a:lnTo>
                    <a:lnTo>
                      <a:pt x="3218" y="1418"/>
                    </a:lnTo>
                    <a:lnTo>
                      <a:pt x="3244" y="1435"/>
                    </a:lnTo>
                    <a:lnTo>
                      <a:pt x="3269" y="1454"/>
                    </a:lnTo>
                    <a:lnTo>
                      <a:pt x="3294" y="1473"/>
                    </a:lnTo>
                    <a:lnTo>
                      <a:pt x="3318" y="1493"/>
                    </a:lnTo>
                    <a:lnTo>
                      <a:pt x="3342" y="1513"/>
                    </a:lnTo>
                    <a:lnTo>
                      <a:pt x="3365" y="1534"/>
                    </a:lnTo>
                    <a:lnTo>
                      <a:pt x="3388" y="1555"/>
                    </a:lnTo>
                    <a:lnTo>
                      <a:pt x="3410" y="1577"/>
                    </a:lnTo>
                    <a:lnTo>
                      <a:pt x="3432" y="1600"/>
                    </a:lnTo>
                    <a:lnTo>
                      <a:pt x="3453" y="1623"/>
                    </a:lnTo>
                    <a:lnTo>
                      <a:pt x="3474" y="1646"/>
                    </a:lnTo>
                    <a:lnTo>
                      <a:pt x="3494" y="1670"/>
                    </a:lnTo>
                    <a:lnTo>
                      <a:pt x="3513" y="1694"/>
                    </a:lnTo>
                    <a:lnTo>
                      <a:pt x="3532" y="1719"/>
                    </a:lnTo>
                    <a:lnTo>
                      <a:pt x="3551" y="1745"/>
                    </a:lnTo>
                    <a:lnTo>
                      <a:pt x="3568" y="1770"/>
                    </a:lnTo>
                    <a:lnTo>
                      <a:pt x="3585" y="1797"/>
                    </a:lnTo>
                    <a:lnTo>
                      <a:pt x="3602" y="1823"/>
                    </a:lnTo>
                    <a:lnTo>
                      <a:pt x="3618" y="1850"/>
                    </a:lnTo>
                    <a:lnTo>
                      <a:pt x="3633" y="1878"/>
                    </a:lnTo>
                    <a:lnTo>
                      <a:pt x="3648" y="1906"/>
                    </a:lnTo>
                    <a:lnTo>
                      <a:pt x="3662" y="1934"/>
                    </a:lnTo>
                    <a:lnTo>
                      <a:pt x="3675" y="1963"/>
                    </a:lnTo>
                    <a:lnTo>
                      <a:pt x="3687" y="1992"/>
                    </a:lnTo>
                    <a:lnTo>
                      <a:pt x="3699" y="2021"/>
                    </a:lnTo>
                    <a:lnTo>
                      <a:pt x="3711" y="2051"/>
                    </a:lnTo>
                    <a:lnTo>
                      <a:pt x="3721" y="2081"/>
                    </a:lnTo>
                    <a:lnTo>
                      <a:pt x="3731" y="2112"/>
                    </a:lnTo>
                    <a:lnTo>
                      <a:pt x="3740" y="2142"/>
                    </a:lnTo>
                    <a:lnTo>
                      <a:pt x="3748" y="2173"/>
                    </a:lnTo>
                    <a:lnTo>
                      <a:pt x="3756" y="2205"/>
                    </a:lnTo>
                    <a:lnTo>
                      <a:pt x="3762" y="2236"/>
                    </a:lnTo>
                    <a:lnTo>
                      <a:pt x="3768" y="2268"/>
                    </a:lnTo>
                    <a:lnTo>
                      <a:pt x="3773" y="2301"/>
                    </a:lnTo>
                    <a:lnTo>
                      <a:pt x="3778" y="2333"/>
                    </a:lnTo>
                    <a:lnTo>
                      <a:pt x="3781" y="2366"/>
                    </a:lnTo>
                    <a:lnTo>
                      <a:pt x="3784" y="2399"/>
                    </a:lnTo>
                    <a:lnTo>
                      <a:pt x="3786" y="2432"/>
                    </a:lnTo>
                    <a:lnTo>
                      <a:pt x="3787" y="2466"/>
                    </a:lnTo>
                    <a:lnTo>
                      <a:pt x="3788" y="2500"/>
                    </a:lnTo>
                    <a:lnTo>
                      <a:pt x="3788" y="250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556" name="SAGD, Siemens, healthineers, evolve">
              <a:extLst>
                <a:ext uri="{FF2B5EF4-FFF2-40B4-BE49-F238E27FC236}">
                  <a16:creationId xmlns:a16="http://schemas.microsoft.com/office/drawing/2014/main" id="{36050746-532D-4F17-89D6-A357971DC04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511096" y="2433413"/>
              <a:ext cx="233643" cy="234138"/>
              <a:chOff x="1188" y="1252"/>
              <a:chExt cx="2268" cy="2268"/>
            </a:xfrm>
          </p:grpSpPr>
          <p:sp>
            <p:nvSpPr>
              <p:cNvPr id="557" name="AutoShape 4">
                <a:extLst>
                  <a:ext uri="{FF2B5EF4-FFF2-40B4-BE49-F238E27FC236}">
                    <a16:creationId xmlns:a16="http://schemas.microsoft.com/office/drawing/2014/main" id="{81D9A6E7-9342-4BE0-9BF0-A24D1D5EA7E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gray">
              <a:xfrm>
                <a:off x="1188" y="1252"/>
                <a:ext cx="2268" cy="22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58" name="Freeform 6">
                <a:extLst>
                  <a:ext uri="{FF2B5EF4-FFF2-40B4-BE49-F238E27FC236}">
                    <a16:creationId xmlns:a16="http://schemas.microsoft.com/office/drawing/2014/main" id="{E23AA2C1-9B13-425A-9DE2-B1A5AA3EC7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  <a:close/>
                  </a:path>
                </a:pathLst>
              </a:custGeom>
              <a:solidFill>
                <a:srgbClr val="3ABFE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59" name="Freeform 7">
                <a:extLst>
                  <a:ext uri="{FF2B5EF4-FFF2-40B4-BE49-F238E27FC236}">
                    <a16:creationId xmlns:a16="http://schemas.microsoft.com/office/drawing/2014/main" id="{C877C735-CCDB-4F35-B254-7C8E37255B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60" name="Freeform 8">
                <a:extLst>
                  <a:ext uri="{FF2B5EF4-FFF2-40B4-BE49-F238E27FC236}">
                    <a16:creationId xmlns:a16="http://schemas.microsoft.com/office/drawing/2014/main" id="{F076AEBF-E620-4BA3-A437-2F48B62E6DF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510" y="1566"/>
                <a:ext cx="1615" cy="1653"/>
              </a:xfrm>
              <a:custGeom>
                <a:avLst/>
                <a:gdLst/>
                <a:ahLst/>
                <a:cxnLst>
                  <a:cxn ang="0">
                    <a:pos x="4319" y="2213"/>
                  </a:cxn>
                  <a:cxn ang="0">
                    <a:pos x="4796" y="1894"/>
                  </a:cxn>
                  <a:cxn ang="0">
                    <a:pos x="4876" y="1759"/>
                  </a:cxn>
                  <a:cxn ang="0">
                    <a:pos x="4526" y="1075"/>
                  </a:cxn>
                  <a:cxn ang="0">
                    <a:pos x="4005" y="1264"/>
                  </a:cxn>
                  <a:cxn ang="0">
                    <a:pos x="3815" y="1225"/>
                  </a:cxn>
                  <a:cxn ang="0">
                    <a:pos x="3367" y="807"/>
                  </a:cxn>
                  <a:cxn ang="0">
                    <a:pos x="3456" y="245"/>
                  </a:cxn>
                  <a:cxn ang="0">
                    <a:pos x="2745" y="3"/>
                  </a:cxn>
                  <a:cxn ang="0">
                    <a:pos x="2590" y="70"/>
                  </a:cxn>
                  <a:cxn ang="0">
                    <a:pos x="2416" y="615"/>
                  </a:cxn>
                  <a:cxn ang="0">
                    <a:pos x="1822" y="774"/>
                  </a:cxn>
                  <a:cxn ang="0">
                    <a:pos x="1644" y="700"/>
                  </a:cxn>
                  <a:cxn ang="0">
                    <a:pos x="1252" y="324"/>
                  </a:cxn>
                  <a:cxn ang="0">
                    <a:pos x="653" y="807"/>
                  </a:cxn>
                  <a:cxn ang="0">
                    <a:pos x="942" y="1274"/>
                  </a:cxn>
                  <a:cxn ang="0">
                    <a:pos x="960" y="1467"/>
                  </a:cxn>
                  <a:cxn ang="0">
                    <a:pos x="660" y="2003"/>
                  </a:cxn>
                  <a:cxn ang="0">
                    <a:pos x="90" y="2042"/>
                  </a:cxn>
                  <a:cxn ang="0">
                    <a:pos x="0" y="2797"/>
                  </a:cxn>
                  <a:cxn ang="0">
                    <a:pos x="86" y="2927"/>
                  </a:cxn>
                  <a:cxn ang="0">
                    <a:pos x="656" y="2972"/>
                  </a:cxn>
                  <a:cxn ang="0">
                    <a:pos x="952" y="3509"/>
                  </a:cxn>
                  <a:cxn ang="0">
                    <a:pos x="932" y="3702"/>
                  </a:cxn>
                  <a:cxn ang="0">
                    <a:pos x="640" y="4167"/>
                  </a:cxn>
                  <a:cxn ang="0">
                    <a:pos x="1235" y="4655"/>
                  </a:cxn>
                  <a:cxn ang="0">
                    <a:pos x="1630" y="4283"/>
                  </a:cxn>
                  <a:cxn ang="0">
                    <a:pos x="1809" y="4210"/>
                  </a:cxn>
                  <a:cxn ang="0">
                    <a:pos x="2403" y="4373"/>
                  </a:cxn>
                  <a:cxn ang="0">
                    <a:pos x="2574" y="4919"/>
                  </a:cxn>
                  <a:cxn ang="0">
                    <a:pos x="2728" y="4987"/>
                  </a:cxn>
                  <a:cxn ang="0">
                    <a:pos x="3441" y="4750"/>
                  </a:cxn>
                  <a:cxn ang="0">
                    <a:pos x="3356" y="4187"/>
                  </a:cxn>
                  <a:cxn ang="0">
                    <a:pos x="3806" y="3773"/>
                  </a:cxn>
                  <a:cxn ang="0">
                    <a:pos x="3997" y="3735"/>
                  </a:cxn>
                  <a:cxn ang="0">
                    <a:pos x="4516" y="3927"/>
                  </a:cxn>
                  <a:cxn ang="0">
                    <a:pos x="4871" y="3245"/>
                  </a:cxn>
                  <a:cxn ang="0">
                    <a:pos x="4421" y="2930"/>
                  </a:cxn>
                  <a:cxn ang="0">
                    <a:pos x="4317" y="2787"/>
                  </a:cxn>
                  <a:cxn ang="0">
                    <a:pos x="3788" y="2500"/>
                  </a:cxn>
                  <a:cxn ang="0">
                    <a:pos x="3728" y="2887"/>
                  </a:cxn>
                  <a:cxn ang="0">
                    <a:pos x="3545" y="3252"/>
                  </a:cxn>
                  <a:cxn ang="0">
                    <a:pos x="3261" y="3541"/>
                  </a:cxn>
                  <a:cxn ang="0">
                    <a:pos x="2899" y="3730"/>
                  </a:cxn>
                  <a:cxn ang="0">
                    <a:pos x="2481" y="3796"/>
                  </a:cxn>
                  <a:cxn ang="0">
                    <a:pos x="2093" y="3736"/>
                  </a:cxn>
                  <a:cxn ang="0">
                    <a:pos x="1728" y="3553"/>
                  </a:cxn>
                  <a:cxn ang="0">
                    <a:pos x="1439" y="3269"/>
                  </a:cxn>
                  <a:cxn ang="0">
                    <a:pos x="1250" y="2907"/>
                  </a:cxn>
                  <a:cxn ang="0">
                    <a:pos x="1184" y="2490"/>
                  </a:cxn>
                  <a:cxn ang="0">
                    <a:pos x="1244" y="2102"/>
                  </a:cxn>
                  <a:cxn ang="0">
                    <a:pos x="1427" y="1736"/>
                  </a:cxn>
                  <a:cxn ang="0">
                    <a:pos x="1711" y="1448"/>
                  </a:cxn>
                  <a:cxn ang="0">
                    <a:pos x="2073" y="1259"/>
                  </a:cxn>
                  <a:cxn ang="0">
                    <a:pos x="2492" y="1192"/>
                  </a:cxn>
                  <a:cxn ang="0">
                    <a:pos x="2878" y="1252"/>
                  </a:cxn>
                  <a:cxn ang="0">
                    <a:pos x="3244" y="1435"/>
                  </a:cxn>
                  <a:cxn ang="0">
                    <a:pos x="3532" y="1719"/>
                  </a:cxn>
                  <a:cxn ang="0">
                    <a:pos x="3721" y="2081"/>
                  </a:cxn>
                  <a:cxn ang="0">
                    <a:pos x="3788" y="2500"/>
                  </a:cxn>
                </a:cxnLst>
                <a:rect l="0" t="0" r="r" b="b"/>
                <a:pathLst>
                  <a:path w="4876" h="4990">
                    <a:moveTo>
                      <a:pt x="4332" y="2502"/>
                    </a:moveTo>
                    <a:lnTo>
                      <a:pt x="4332" y="2502"/>
                    </a:lnTo>
                    <a:lnTo>
                      <a:pt x="4331" y="2455"/>
                    </a:lnTo>
                    <a:lnTo>
                      <a:pt x="4329" y="2412"/>
                    </a:lnTo>
                    <a:lnTo>
                      <a:pt x="4327" y="2373"/>
                    </a:lnTo>
                    <a:lnTo>
                      <a:pt x="4324" y="2340"/>
                    </a:lnTo>
                    <a:lnTo>
                      <a:pt x="4319" y="2291"/>
                    </a:lnTo>
                    <a:lnTo>
                      <a:pt x="4317" y="2273"/>
                    </a:lnTo>
                    <a:lnTo>
                      <a:pt x="4317" y="2273"/>
                    </a:lnTo>
                    <a:lnTo>
                      <a:pt x="4315" y="2258"/>
                    </a:lnTo>
                    <a:lnTo>
                      <a:pt x="4315" y="2243"/>
                    </a:lnTo>
                    <a:lnTo>
                      <a:pt x="4317" y="2228"/>
                    </a:lnTo>
                    <a:lnTo>
                      <a:pt x="4319" y="2213"/>
                    </a:lnTo>
                    <a:lnTo>
                      <a:pt x="4323" y="2199"/>
                    </a:lnTo>
                    <a:lnTo>
                      <a:pt x="4327" y="2184"/>
                    </a:lnTo>
                    <a:lnTo>
                      <a:pt x="4333" y="2170"/>
                    </a:lnTo>
                    <a:lnTo>
                      <a:pt x="4340" y="2156"/>
                    </a:lnTo>
                    <a:lnTo>
                      <a:pt x="4348" y="2142"/>
                    </a:lnTo>
                    <a:lnTo>
                      <a:pt x="4356" y="2130"/>
                    </a:lnTo>
                    <a:lnTo>
                      <a:pt x="4366" y="2117"/>
                    </a:lnTo>
                    <a:lnTo>
                      <a:pt x="4376" y="2106"/>
                    </a:lnTo>
                    <a:lnTo>
                      <a:pt x="4387" y="2096"/>
                    </a:lnTo>
                    <a:lnTo>
                      <a:pt x="4399" y="2087"/>
                    </a:lnTo>
                    <a:lnTo>
                      <a:pt x="4411" y="2078"/>
                    </a:lnTo>
                    <a:lnTo>
                      <a:pt x="4424" y="2071"/>
                    </a:lnTo>
                    <a:lnTo>
                      <a:pt x="4796" y="1894"/>
                    </a:lnTo>
                    <a:lnTo>
                      <a:pt x="4796" y="1894"/>
                    </a:lnTo>
                    <a:lnTo>
                      <a:pt x="4809" y="1887"/>
                    </a:lnTo>
                    <a:lnTo>
                      <a:pt x="4820" y="1879"/>
                    </a:lnTo>
                    <a:lnTo>
                      <a:pt x="4831" y="1870"/>
                    </a:lnTo>
                    <a:lnTo>
                      <a:pt x="4841" y="1860"/>
                    </a:lnTo>
                    <a:lnTo>
                      <a:pt x="4849" y="1849"/>
                    </a:lnTo>
                    <a:lnTo>
                      <a:pt x="4857" y="1838"/>
                    </a:lnTo>
                    <a:lnTo>
                      <a:pt x="4863" y="1826"/>
                    </a:lnTo>
                    <a:lnTo>
                      <a:pt x="4868" y="1813"/>
                    </a:lnTo>
                    <a:lnTo>
                      <a:pt x="4872" y="1800"/>
                    </a:lnTo>
                    <a:lnTo>
                      <a:pt x="4875" y="1787"/>
                    </a:lnTo>
                    <a:lnTo>
                      <a:pt x="4876" y="1773"/>
                    </a:lnTo>
                    <a:lnTo>
                      <a:pt x="4876" y="1759"/>
                    </a:lnTo>
                    <a:lnTo>
                      <a:pt x="4875" y="1746"/>
                    </a:lnTo>
                    <a:lnTo>
                      <a:pt x="4872" y="1732"/>
                    </a:lnTo>
                    <a:lnTo>
                      <a:pt x="4868" y="1718"/>
                    </a:lnTo>
                    <a:lnTo>
                      <a:pt x="4863" y="1705"/>
                    </a:lnTo>
                    <a:lnTo>
                      <a:pt x="4595" y="1142"/>
                    </a:lnTo>
                    <a:lnTo>
                      <a:pt x="4595" y="1142"/>
                    </a:lnTo>
                    <a:lnTo>
                      <a:pt x="4588" y="1130"/>
                    </a:lnTo>
                    <a:lnTo>
                      <a:pt x="4580" y="1118"/>
                    </a:lnTo>
                    <a:lnTo>
                      <a:pt x="4571" y="1107"/>
                    </a:lnTo>
                    <a:lnTo>
                      <a:pt x="4561" y="1097"/>
                    </a:lnTo>
                    <a:lnTo>
                      <a:pt x="4550" y="1089"/>
                    </a:lnTo>
                    <a:lnTo>
                      <a:pt x="4539" y="1081"/>
                    </a:lnTo>
                    <a:lnTo>
                      <a:pt x="4526" y="1075"/>
                    </a:lnTo>
                    <a:lnTo>
                      <a:pt x="4514" y="1070"/>
                    </a:lnTo>
                    <a:lnTo>
                      <a:pt x="4501" y="1066"/>
                    </a:lnTo>
                    <a:lnTo>
                      <a:pt x="4487" y="1063"/>
                    </a:lnTo>
                    <a:lnTo>
                      <a:pt x="4474" y="1062"/>
                    </a:lnTo>
                    <a:lnTo>
                      <a:pt x="4460" y="1062"/>
                    </a:lnTo>
                    <a:lnTo>
                      <a:pt x="4446" y="1063"/>
                    </a:lnTo>
                    <a:lnTo>
                      <a:pt x="4433" y="1066"/>
                    </a:lnTo>
                    <a:lnTo>
                      <a:pt x="4419" y="1070"/>
                    </a:lnTo>
                    <a:lnTo>
                      <a:pt x="4406" y="1075"/>
                    </a:lnTo>
                    <a:lnTo>
                      <a:pt x="4033" y="1253"/>
                    </a:lnTo>
                    <a:lnTo>
                      <a:pt x="4033" y="1253"/>
                    </a:lnTo>
                    <a:lnTo>
                      <a:pt x="4019" y="1259"/>
                    </a:lnTo>
                    <a:lnTo>
                      <a:pt x="4005" y="1264"/>
                    </a:lnTo>
                    <a:lnTo>
                      <a:pt x="3990" y="1267"/>
                    </a:lnTo>
                    <a:lnTo>
                      <a:pt x="3975" y="1269"/>
                    </a:lnTo>
                    <a:lnTo>
                      <a:pt x="3960" y="1271"/>
                    </a:lnTo>
                    <a:lnTo>
                      <a:pt x="3944" y="1271"/>
                    </a:lnTo>
                    <a:lnTo>
                      <a:pt x="3928" y="1270"/>
                    </a:lnTo>
                    <a:lnTo>
                      <a:pt x="3913" y="1267"/>
                    </a:lnTo>
                    <a:lnTo>
                      <a:pt x="3897" y="1264"/>
                    </a:lnTo>
                    <a:lnTo>
                      <a:pt x="3882" y="1260"/>
                    </a:lnTo>
                    <a:lnTo>
                      <a:pt x="3867" y="1255"/>
                    </a:lnTo>
                    <a:lnTo>
                      <a:pt x="3853" y="1249"/>
                    </a:lnTo>
                    <a:lnTo>
                      <a:pt x="3839" y="1242"/>
                    </a:lnTo>
                    <a:lnTo>
                      <a:pt x="3827" y="1234"/>
                    </a:lnTo>
                    <a:lnTo>
                      <a:pt x="3815" y="1225"/>
                    </a:lnTo>
                    <a:lnTo>
                      <a:pt x="3804" y="1215"/>
                    </a:lnTo>
                    <a:lnTo>
                      <a:pt x="3451" y="932"/>
                    </a:lnTo>
                    <a:lnTo>
                      <a:pt x="3451" y="932"/>
                    </a:lnTo>
                    <a:lnTo>
                      <a:pt x="3439" y="924"/>
                    </a:lnTo>
                    <a:lnTo>
                      <a:pt x="3428" y="914"/>
                    </a:lnTo>
                    <a:lnTo>
                      <a:pt x="3417" y="903"/>
                    </a:lnTo>
                    <a:lnTo>
                      <a:pt x="3407" y="891"/>
                    </a:lnTo>
                    <a:lnTo>
                      <a:pt x="3398" y="879"/>
                    </a:lnTo>
                    <a:lnTo>
                      <a:pt x="3390" y="865"/>
                    </a:lnTo>
                    <a:lnTo>
                      <a:pt x="3383" y="852"/>
                    </a:lnTo>
                    <a:lnTo>
                      <a:pt x="3376" y="837"/>
                    </a:lnTo>
                    <a:lnTo>
                      <a:pt x="3371" y="822"/>
                    </a:lnTo>
                    <a:lnTo>
                      <a:pt x="3367" y="807"/>
                    </a:lnTo>
                    <a:lnTo>
                      <a:pt x="3363" y="792"/>
                    </a:lnTo>
                    <a:lnTo>
                      <a:pt x="3361" y="777"/>
                    </a:lnTo>
                    <a:lnTo>
                      <a:pt x="3360" y="761"/>
                    </a:lnTo>
                    <a:lnTo>
                      <a:pt x="3360" y="746"/>
                    </a:lnTo>
                    <a:lnTo>
                      <a:pt x="3362" y="731"/>
                    </a:lnTo>
                    <a:lnTo>
                      <a:pt x="3364" y="717"/>
                    </a:lnTo>
                    <a:lnTo>
                      <a:pt x="3458" y="314"/>
                    </a:lnTo>
                    <a:lnTo>
                      <a:pt x="3458" y="314"/>
                    </a:lnTo>
                    <a:lnTo>
                      <a:pt x="3460" y="300"/>
                    </a:lnTo>
                    <a:lnTo>
                      <a:pt x="3461" y="286"/>
                    </a:lnTo>
                    <a:lnTo>
                      <a:pt x="3461" y="272"/>
                    </a:lnTo>
                    <a:lnTo>
                      <a:pt x="3459" y="258"/>
                    </a:lnTo>
                    <a:lnTo>
                      <a:pt x="3456" y="245"/>
                    </a:lnTo>
                    <a:lnTo>
                      <a:pt x="3452" y="232"/>
                    </a:lnTo>
                    <a:lnTo>
                      <a:pt x="3447" y="219"/>
                    </a:lnTo>
                    <a:lnTo>
                      <a:pt x="3440" y="207"/>
                    </a:lnTo>
                    <a:lnTo>
                      <a:pt x="3432" y="196"/>
                    </a:lnTo>
                    <a:lnTo>
                      <a:pt x="3423" y="186"/>
                    </a:lnTo>
                    <a:lnTo>
                      <a:pt x="3414" y="176"/>
                    </a:lnTo>
                    <a:lnTo>
                      <a:pt x="3403" y="168"/>
                    </a:lnTo>
                    <a:lnTo>
                      <a:pt x="3391" y="160"/>
                    </a:lnTo>
                    <a:lnTo>
                      <a:pt x="3379" y="153"/>
                    </a:lnTo>
                    <a:lnTo>
                      <a:pt x="3366" y="148"/>
                    </a:lnTo>
                    <a:lnTo>
                      <a:pt x="3352" y="144"/>
                    </a:lnTo>
                    <a:lnTo>
                      <a:pt x="2745" y="3"/>
                    </a:lnTo>
                    <a:lnTo>
                      <a:pt x="2745" y="3"/>
                    </a:lnTo>
                    <a:lnTo>
                      <a:pt x="2730" y="1"/>
                    </a:lnTo>
                    <a:lnTo>
                      <a:pt x="2716" y="0"/>
                    </a:lnTo>
                    <a:lnTo>
                      <a:pt x="2702" y="0"/>
                    </a:lnTo>
                    <a:lnTo>
                      <a:pt x="2688" y="2"/>
                    </a:lnTo>
                    <a:lnTo>
                      <a:pt x="2675" y="5"/>
                    </a:lnTo>
                    <a:lnTo>
                      <a:pt x="2662" y="9"/>
                    </a:lnTo>
                    <a:lnTo>
                      <a:pt x="2649" y="15"/>
                    </a:lnTo>
                    <a:lnTo>
                      <a:pt x="2638" y="21"/>
                    </a:lnTo>
                    <a:lnTo>
                      <a:pt x="2626" y="29"/>
                    </a:lnTo>
                    <a:lnTo>
                      <a:pt x="2616" y="38"/>
                    </a:lnTo>
                    <a:lnTo>
                      <a:pt x="2606" y="48"/>
                    </a:lnTo>
                    <a:lnTo>
                      <a:pt x="2598" y="58"/>
                    </a:lnTo>
                    <a:lnTo>
                      <a:pt x="2590" y="70"/>
                    </a:lnTo>
                    <a:lnTo>
                      <a:pt x="2584" y="82"/>
                    </a:lnTo>
                    <a:lnTo>
                      <a:pt x="2578" y="96"/>
                    </a:lnTo>
                    <a:lnTo>
                      <a:pt x="2574" y="110"/>
                    </a:lnTo>
                    <a:lnTo>
                      <a:pt x="2481" y="512"/>
                    </a:lnTo>
                    <a:lnTo>
                      <a:pt x="2481" y="512"/>
                    </a:lnTo>
                    <a:lnTo>
                      <a:pt x="2477" y="526"/>
                    </a:lnTo>
                    <a:lnTo>
                      <a:pt x="2472" y="540"/>
                    </a:lnTo>
                    <a:lnTo>
                      <a:pt x="2465" y="554"/>
                    </a:lnTo>
                    <a:lnTo>
                      <a:pt x="2457" y="567"/>
                    </a:lnTo>
                    <a:lnTo>
                      <a:pt x="2448" y="580"/>
                    </a:lnTo>
                    <a:lnTo>
                      <a:pt x="2438" y="592"/>
                    </a:lnTo>
                    <a:lnTo>
                      <a:pt x="2428" y="604"/>
                    </a:lnTo>
                    <a:lnTo>
                      <a:pt x="2416" y="615"/>
                    </a:lnTo>
                    <a:lnTo>
                      <a:pt x="2404" y="625"/>
                    </a:lnTo>
                    <a:lnTo>
                      <a:pt x="2392" y="634"/>
                    </a:lnTo>
                    <a:lnTo>
                      <a:pt x="2378" y="643"/>
                    </a:lnTo>
                    <a:lnTo>
                      <a:pt x="2365" y="650"/>
                    </a:lnTo>
                    <a:lnTo>
                      <a:pt x="2351" y="656"/>
                    </a:lnTo>
                    <a:lnTo>
                      <a:pt x="2336" y="661"/>
                    </a:lnTo>
                    <a:lnTo>
                      <a:pt x="2322" y="665"/>
                    </a:lnTo>
                    <a:lnTo>
                      <a:pt x="2308" y="668"/>
                    </a:lnTo>
                    <a:lnTo>
                      <a:pt x="1866" y="766"/>
                    </a:lnTo>
                    <a:lnTo>
                      <a:pt x="1866" y="766"/>
                    </a:lnTo>
                    <a:lnTo>
                      <a:pt x="1852" y="770"/>
                    </a:lnTo>
                    <a:lnTo>
                      <a:pt x="1837" y="772"/>
                    </a:lnTo>
                    <a:lnTo>
                      <a:pt x="1822" y="774"/>
                    </a:lnTo>
                    <a:lnTo>
                      <a:pt x="1807" y="774"/>
                    </a:lnTo>
                    <a:lnTo>
                      <a:pt x="1792" y="774"/>
                    </a:lnTo>
                    <a:lnTo>
                      <a:pt x="1776" y="772"/>
                    </a:lnTo>
                    <a:lnTo>
                      <a:pt x="1761" y="769"/>
                    </a:lnTo>
                    <a:lnTo>
                      <a:pt x="1745" y="765"/>
                    </a:lnTo>
                    <a:lnTo>
                      <a:pt x="1730" y="760"/>
                    </a:lnTo>
                    <a:lnTo>
                      <a:pt x="1716" y="754"/>
                    </a:lnTo>
                    <a:lnTo>
                      <a:pt x="1702" y="747"/>
                    </a:lnTo>
                    <a:lnTo>
                      <a:pt x="1689" y="739"/>
                    </a:lnTo>
                    <a:lnTo>
                      <a:pt x="1676" y="730"/>
                    </a:lnTo>
                    <a:lnTo>
                      <a:pt x="1664" y="721"/>
                    </a:lnTo>
                    <a:lnTo>
                      <a:pt x="1654" y="711"/>
                    </a:lnTo>
                    <a:lnTo>
                      <a:pt x="1644" y="700"/>
                    </a:lnTo>
                    <a:lnTo>
                      <a:pt x="1387" y="375"/>
                    </a:lnTo>
                    <a:lnTo>
                      <a:pt x="1387" y="375"/>
                    </a:lnTo>
                    <a:lnTo>
                      <a:pt x="1378" y="365"/>
                    </a:lnTo>
                    <a:lnTo>
                      <a:pt x="1368" y="355"/>
                    </a:lnTo>
                    <a:lnTo>
                      <a:pt x="1356" y="346"/>
                    </a:lnTo>
                    <a:lnTo>
                      <a:pt x="1345" y="339"/>
                    </a:lnTo>
                    <a:lnTo>
                      <a:pt x="1332" y="333"/>
                    </a:lnTo>
                    <a:lnTo>
                      <a:pt x="1319" y="328"/>
                    </a:lnTo>
                    <a:lnTo>
                      <a:pt x="1306" y="325"/>
                    </a:lnTo>
                    <a:lnTo>
                      <a:pt x="1293" y="323"/>
                    </a:lnTo>
                    <a:lnTo>
                      <a:pt x="1279" y="322"/>
                    </a:lnTo>
                    <a:lnTo>
                      <a:pt x="1265" y="322"/>
                    </a:lnTo>
                    <a:lnTo>
                      <a:pt x="1252" y="324"/>
                    </a:lnTo>
                    <a:lnTo>
                      <a:pt x="1238" y="327"/>
                    </a:lnTo>
                    <a:lnTo>
                      <a:pt x="1225" y="331"/>
                    </a:lnTo>
                    <a:lnTo>
                      <a:pt x="1213" y="337"/>
                    </a:lnTo>
                    <a:lnTo>
                      <a:pt x="1200" y="344"/>
                    </a:lnTo>
                    <a:lnTo>
                      <a:pt x="1188" y="352"/>
                    </a:lnTo>
                    <a:lnTo>
                      <a:pt x="700" y="739"/>
                    </a:lnTo>
                    <a:lnTo>
                      <a:pt x="700" y="739"/>
                    </a:lnTo>
                    <a:lnTo>
                      <a:pt x="689" y="748"/>
                    </a:lnTo>
                    <a:lnTo>
                      <a:pt x="679" y="759"/>
                    </a:lnTo>
                    <a:lnTo>
                      <a:pt x="671" y="770"/>
                    </a:lnTo>
                    <a:lnTo>
                      <a:pt x="664" y="782"/>
                    </a:lnTo>
                    <a:lnTo>
                      <a:pt x="658" y="794"/>
                    </a:lnTo>
                    <a:lnTo>
                      <a:pt x="653" y="807"/>
                    </a:lnTo>
                    <a:lnTo>
                      <a:pt x="649" y="820"/>
                    </a:lnTo>
                    <a:lnTo>
                      <a:pt x="647" y="834"/>
                    </a:lnTo>
                    <a:lnTo>
                      <a:pt x="646" y="847"/>
                    </a:lnTo>
                    <a:lnTo>
                      <a:pt x="647" y="861"/>
                    </a:lnTo>
                    <a:lnTo>
                      <a:pt x="648" y="874"/>
                    </a:lnTo>
                    <a:lnTo>
                      <a:pt x="651" y="888"/>
                    </a:lnTo>
                    <a:lnTo>
                      <a:pt x="656" y="901"/>
                    </a:lnTo>
                    <a:lnTo>
                      <a:pt x="661" y="914"/>
                    </a:lnTo>
                    <a:lnTo>
                      <a:pt x="668" y="926"/>
                    </a:lnTo>
                    <a:lnTo>
                      <a:pt x="677" y="938"/>
                    </a:lnTo>
                    <a:lnTo>
                      <a:pt x="933" y="1262"/>
                    </a:lnTo>
                    <a:lnTo>
                      <a:pt x="933" y="1262"/>
                    </a:lnTo>
                    <a:lnTo>
                      <a:pt x="942" y="1274"/>
                    </a:lnTo>
                    <a:lnTo>
                      <a:pt x="950" y="1287"/>
                    </a:lnTo>
                    <a:lnTo>
                      <a:pt x="956" y="1301"/>
                    </a:lnTo>
                    <a:lnTo>
                      <a:pt x="962" y="1315"/>
                    </a:lnTo>
                    <a:lnTo>
                      <a:pt x="966" y="1330"/>
                    </a:lnTo>
                    <a:lnTo>
                      <a:pt x="970" y="1345"/>
                    </a:lnTo>
                    <a:lnTo>
                      <a:pt x="972" y="1361"/>
                    </a:lnTo>
                    <a:lnTo>
                      <a:pt x="974" y="1376"/>
                    </a:lnTo>
                    <a:lnTo>
                      <a:pt x="974" y="1392"/>
                    </a:lnTo>
                    <a:lnTo>
                      <a:pt x="973" y="1408"/>
                    </a:lnTo>
                    <a:lnTo>
                      <a:pt x="971" y="1423"/>
                    </a:lnTo>
                    <a:lnTo>
                      <a:pt x="969" y="1438"/>
                    </a:lnTo>
                    <a:lnTo>
                      <a:pt x="965" y="1453"/>
                    </a:lnTo>
                    <a:lnTo>
                      <a:pt x="960" y="1467"/>
                    </a:lnTo>
                    <a:lnTo>
                      <a:pt x="954" y="1481"/>
                    </a:lnTo>
                    <a:lnTo>
                      <a:pt x="947" y="1494"/>
                    </a:lnTo>
                    <a:lnTo>
                      <a:pt x="749" y="1901"/>
                    </a:lnTo>
                    <a:lnTo>
                      <a:pt x="749" y="1901"/>
                    </a:lnTo>
                    <a:lnTo>
                      <a:pt x="744" y="1914"/>
                    </a:lnTo>
                    <a:lnTo>
                      <a:pt x="737" y="1927"/>
                    </a:lnTo>
                    <a:lnTo>
                      <a:pt x="728" y="1940"/>
                    </a:lnTo>
                    <a:lnTo>
                      <a:pt x="719" y="1952"/>
                    </a:lnTo>
                    <a:lnTo>
                      <a:pt x="709" y="1964"/>
                    </a:lnTo>
                    <a:lnTo>
                      <a:pt x="698" y="1975"/>
                    </a:lnTo>
                    <a:lnTo>
                      <a:pt x="686" y="1985"/>
                    </a:lnTo>
                    <a:lnTo>
                      <a:pt x="673" y="1994"/>
                    </a:lnTo>
                    <a:lnTo>
                      <a:pt x="660" y="2003"/>
                    </a:lnTo>
                    <a:lnTo>
                      <a:pt x="646" y="2010"/>
                    </a:lnTo>
                    <a:lnTo>
                      <a:pt x="632" y="2017"/>
                    </a:lnTo>
                    <a:lnTo>
                      <a:pt x="617" y="2023"/>
                    </a:lnTo>
                    <a:lnTo>
                      <a:pt x="603" y="2027"/>
                    </a:lnTo>
                    <a:lnTo>
                      <a:pt x="588" y="2030"/>
                    </a:lnTo>
                    <a:lnTo>
                      <a:pt x="573" y="2032"/>
                    </a:lnTo>
                    <a:lnTo>
                      <a:pt x="558" y="2033"/>
                    </a:lnTo>
                    <a:lnTo>
                      <a:pt x="145" y="2031"/>
                    </a:lnTo>
                    <a:lnTo>
                      <a:pt x="145" y="2031"/>
                    </a:lnTo>
                    <a:lnTo>
                      <a:pt x="130" y="2032"/>
                    </a:lnTo>
                    <a:lnTo>
                      <a:pt x="116" y="2034"/>
                    </a:lnTo>
                    <a:lnTo>
                      <a:pt x="103" y="2037"/>
                    </a:lnTo>
                    <a:lnTo>
                      <a:pt x="90" y="2042"/>
                    </a:lnTo>
                    <a:lnTo>
                      <a:pt x="77" y="2048"/>
                    </a:lnTo>
                    <a:lnTo>
                      <a:pt x="65" y="2055"/>
                    </a:lnTo>
                    <a:lnTo>
                      <a:pt x="55" y="2063"/>
                    </a:lnTo>
                    <a:lnTo>
                      <a:pt x="44" y="2072"/>
                    </a:lnTo>
                    <a:lnTo>
                      <a:pt x="35" y="2083"/>
                    </a:lnTo>
                    <a:lnTo>
                      <a:pt x="27" y="2093"/>
                    </a:lnTo>
                    <a:lnTo>
                      <a:pt x="20" y="2105"/>
                    </a:lnTo>
                    <a:lnTo>
                      <a:pt x="14" y="2117"/>
                    </a:lnTo>
                    <a:lnTo>
                      <a:pt x="9" y="2130"/>
                    </a:lnTo>
                    <a:lnTo>
                      <a:pt x="5" y="2144"/>
                    </a:lnTo>
                    <a:lnTo>
                      <a:pt x="3" y="2158"/>
                    </a:lnTo>
                    <a:lnTo>
                      <a:pt x="2" y="2172"/>
                    </a:lnTo>
                    <a:lnTo>
                      <a:pt x="0" y="2797"/>
                    </a:lnTo>
                    <a:lnTo>
                      <a:pt x="0" y="2797"/>
                    </a:lnTo>
                    <a:lnTo>
                      <a:pt x="1" y="2811"/>
                    </a:lnTo>
                    <a:lnTo>
                      <a:pt x="3" y="2825"/>
                    </a:lnTo>
                    <a:lnTo>
                      <a:pt x="6" y="2839"/>
                    </a:lnTo>
                    <a:lnTo>
                      <a:pt x="11" y="2852"/>
                    </a:lnTo>
                    <a:lnTo>
                      <a:pt x="17" y="2864"/>
                    </a:lnTo>
                    <a:lnTo>
                      <a:pt x="24" y="2876"/>
                    </a:lnTo>
                    <a:lnTo>
                      <a:pt x="32" y="2887"/>
                    </a:lnTo>
                    <a:lnTo>
                      <a:pt x="41" y="2897"/>
                    </a:lnTo>
                    <a:lnTo>
                      <a:pt x="51" y="2906"/>
                    </a:lnTo>
                    <a:lnTo>
                      <a:pt x="62" y="2914"/>
                    </a:lnTo>
                    <a:lnTo>
                      <a:pt x="74" y="2921"/>
                    </a:lnTo>
                    <a:lnTo>
                      <a:pt x="86" y="2927"/>
                    </a:lnTo>
                    <a:lnTo>
                      <a:pt x="99" y="2932"/>
                    </a:lnTo>
                    <a:lnTo>
                      <a:pt x="113" y="2936"/>
                    </a:lnTo>
                    <a:lnTo>
                      <a:pt x="127" y="2938"/>
                    </a:lnTo>
                    <a:lnTo>
                      <a:pt x="141" y="2939"/>
                    </a:lnTo>
                    <a:lnTo>
                      <a:pt x="555" y="2941"/>
                    </a:lnTo>
                    <a:lnTo>
                      <a:pt x="555" y="2941"/>
                    </a:lnTo>
                    <a:lnTo>
                      <a:pt x="570" y="2941"/>
                    </a:lnTo>
                    <a:lnTo>
                      <a:pt x="584" y="2944"/>
                    </a:lnTo>
                    <a:lnTo>
                      <a:pt x="599" y="2947"/>
                    </a:lnTo>
                    <a:lnTo>
                      <a:pt x="614" y="2951"/>
                    </a:lnTo>
                    <a:lnTo>
                      <a:pt x="628" y="2957"/>
                    </a:lnTo>
                    <a:lnTo>
                      <a:pt x="642" y="2964"/>
                    </a:lnTo>
                    <a:lnTo>
                      <a:pt x="656" y="2972"/>
                    </a:lnTo>
                    <a:lnTo>
                      <a:pt x="669" y="2980"/>
                    </a:lnTo>
                    <a:lnTo>
                      <a:pt x="682" y="2990"/>
                    </a:lnTo>
                    <a:lnTo>
                      <a:pt x="694" y="3000"/>
                    </a:lnTo>
                    <a:lnTo>
                      <a:pt x="705" y="3011"/>
                    </a:lnTo>
                    <a:lnTo>
                      <a:pt x="715" y="3023"/>
                    </a:lnTo>
                    <a:lnTo>
                      <a:pt x="724" y="3035"/>
                    </a:lnTo>
                    <a:lnTo>
                      <a:pt x="732" y="3048"/>
                    </a:lnTo>
                    <a:lnTo>
                      <a:pt x="739" y="3061"/>
                    </a:lnTo>
                    <a:lnTo>
                      <a:pt x="745" y="3075"/>
                    </a:lnTo>
                    <a:lnTo>
                      <a:pt x="939" y="3482"/>
                    </a:lnTo>
                    <a:lnTo>
                      <a:pt x="939" y="3482"/>
                    </a:lnTo>
                    <a:lnTo>
                      <a:pt x="946" y="3495"/>
                    </a:lnTo>
                    <a:lnTo>
                      <a:pt x="952" y="3509"/>
                    </a:lnTo>
                    <a:lnTo>
                      <a:pt x="956" y="3523"/>
                    </a:lnTo>
                    <a:lnTo>
                      <a:pt x="960" y="3538"/>
                    </a:lnTo>
                    <a:lnTo>
                      <a:pt x="963" y="3553"/>
                    </a:lnTo>
                    <a:lnTo>
                      <a:pt x="964" y="3569"/>
                    </a:lnTo>
                    <a:lnTo>
                      <a:pt x="965" y="3585"/>
                    </a:lnTo>
                    <a:lnTo>
                      <a:pt x="965" y="3600"/>
                    </a:lnTo>
                    <a:lnTo>
                      <a:pt x="963" y="3616"/>
                    </a:lnTo>
                    <a:lnTo>
                      <a:pt x="960" y="3632"/>
                    </a:lnTo>
                    <a:lnTo>
                      <a:pt x="957" y="3647"/>
                    </a:lnTo>
                    <a:lnTo>
                      <a:pt x="952" y="3661"/>
                    </a:lnTo>
                    <a:lnTo>
                      <a:pt x="947" y="3676"/>
                    </a:lnTo>
                    <a:lnTo>
                      <a:pt x="940" y="3689"/>
                    </a:lnTo>
                    <a:lnTo>
                      <a:pt x="932" y="3702"/>
                    </a:lnTo>
                    <a:lnTo>
                      <a:pt x="924" y="3714"/>
                    </a:lnTo>
                    <a:lnTo>
                      <a:pt x="664" y="4036"/>
                    </a:lnTo>
                    <a:lnTo>
                      <a:pt x="664" y="4036"/>
                    </a:lnTo>
                    <a:lnTo>
                      <a:pt x="656" y="4048"/>
                    </a:lnTo>
                    <a:lnTo>
                      <a:pt x="649" y="4060"/>
                    </a:lnTo>
                    <a:lnTo>
                      <a:pt x="643" y="4073"/>
                    </a:lnTo>
                    <a:lnTo>
                      <a:pt x="639" y="4086"/>
                    </a:lnTo>
                    <a:lnTo>
                      <a:pt x="636" y="4100"/>
                    </a:lnTo>
                    <a:lnTo>
                      <a:pt x="634" y="4113"/>
                    </a:lnTo>
                    <a:lnTo>
                      <a:pt x="633" y="4127"/>
                    </a:lnTo>
                    <a:lnTo>
                      <a:pt x="634" y="4141"/>
                    </a:lnTo>
                    <a:lnTo>
                      <a:pt x="636" y="4154"/>
                    </a:lnTo>
                    <a:lnTo>
                      <a:pt x="640" y="4167"/>
                    </a:lnTo>
                    <a:lnTo>
                      <a:pt x="644" y="4180"/>
                    </a:lnTo>
                    <a:lnTo>
                      <a:pt x="650" y="4192"/>
                    </a:lnTo>
                    <a:lnTo>
                      <a:pt x="657" y="4204"/>
                    </a:lnTo>
                    <a:lnTo>
                      <a:pt x="666" y="4216"/>
                    </a:lnTo>
                    <a:lnTo>
                      <a:pt x="675" y="4226"/>
                    </a:lnTo>
                    <a:lnTo>
                      <a:pt x="686" y="4236"/>
                    </a:lnTo>
                    <a:lnTo>
                      <a:pt x="1172" y="4626"/>
                    </a:lnTo>
                    <a:lnTo>
                      <a:pt x="1172" y="4626"/>
                    </a:lnTo>
                    <a:lnTo>
                      <a:pt x="1183" y="4634"/>
                    </a:lnTo>
                    <a:lnTo>
                      <a:pt x="1196" y="4642"/>
                    </a:lnTo>
                    <a:lnTo>
                      <a:pt x="1208" y="4647"/>
                    </a:lnTo>
                    <a:lnTo>
                      <a:pt x="1221" y="4652"/>
                    </a:lnTo>
                    <a:lnTo>
                      <a:pt x="1235" y="4655"/>
                    </a:lnTo>
                    <a:lnTo>
                      <a:pt x="1248" y="4657"/>
                    </a:lnTo>
                    <a:lnTo>
                      <a:pt x="1262" y="4657"/>
                    </a:lnTo>
                    <a:lnTo>
                      <a:pt x="1276" y="4656"/>
                    </a:lnTo>
                    <a:lnTo>
                      <a:pt x="1289" y="4654"/>
                    </a:lnTo>
                    <a:lnTo>
                      <a:pt x="1302" y="4651"/>
                    </a:lnTo>
                    <a:lnTo>
                      <a:pt x="1315" y="4646"/>
                    </a:lnTo>
                    <a:lnTo>
                      <a:pt x="1328" y="4640"/>
                    </a:lnTo>
                    <a:lnTo>
                      <a:pt x="1339" y="4633"/>
                    </a:lnTo>
                    <a:lnTo>
                      <a:pt x="1351" y="4625"/>
                    </a:lnTo>
                    <a:lnTo>
                      <a:pt x="1361" y="4615"/>
                    </a:lnTo>
                    <a:lnTo>
                      <a:pt x="1371" y="4604"/>
                    </a:lnTo>
                    <a:lnTo>
                      <a:pt x="1630" y="4283"/>
                    </a:lnTo>
                    <a:lnTo>
                      <a:pt x="1630" y="4283"/>
                    </a:lnTo>
                    <a:lnTo>
                      <a:pt x="1639" y="4272"/>
                    </a:lnTo>
                    <a:lnTo>
                      <a:pt x="1650" y="4262"/>
                    </a:lnTo>
                    <a:lnTo>
                      <a:pt x="1662" y="4252"/>
                    </a:lnTo>
                    <a:lnTo>
                      <a:pt x="1675" y="4244"/>
                    </a:lnTo>
                    <a:lnTo>
                      <a:pt x="1688" y="4236"/>
                    </a:lnTo>
                    <a:lnTo>
                      <a:pt x="1702" y="4229"/>
                    </a:lnTo>
                    <a:lnTo>
                      <a:pt x="1717" y="4223"/>
                    </a:lnTo>
                    <a:lnTo>
                      <a:pt x="1732" y="4219"/>
                    </a:lnTo>
                    <a:lnTo>
                      <a:pt x="1747" y="4215"/>
                    </a:lnTo>
                    <a:lnTo>
                      <a:pt x="1762" y="4212"/>
                    </a:lnTo>
                    <a:lnTo>
                      <a:pt x="1778" y="4210"/>
                    </a:lnTo>
                    <a:lnTo>
                      <a:pt x="1793" y="4210"/>
                    </a:lnTo>
                    <a:lnTo>
                      <a:pt x="1809" y="4210"/>
                    </a:lnTo>
                    <a:lnTo>
                      <a:pt x="1824" y="4212"/>
                    </a:lnTo>
                    <a:lnTo>
                      <a:pt x="1838" y="4215"/>
                    </a:lnTo>
                    <a:lnTo>
                      <a:pt x="1852" y="4219"/>
                    </a:lnTo>
                    <a:lnTo>
                      <a:pt x="2295" y="4319"/>
                    </a:lnTo>
                    <a:lnTo>
                      <a:pt x="2295" y="4319"/>
                    </a:lnTo>
                    <a:lnTo>
                      <a:pt x="2309" y="4322"/>
                    </a:lnTo>
                    <a:lnTo>
                      <a:pt x="2324" y="4326"/>
                    </a:lnTo>
                    <a:lnTo>
                      <a:pt x="2338" y="4331"/>
                    </a:lnTo>
                    <a:lnTo>
                      <a:pt x="2352" y="4337"/>
                    </a:lnTo>
                    <a:lnTo>
                      <a:pt x="2366" y="4345"/>
                    </a:lnTo>
                    <a:lnTo>
                      <a:pt x="2379" y="4353"/>
                    </a:lnTo>
                    <a:lnTo>
                      <a:pt x="2391" y="4363"/>
                    </a:lnTo>
                    <a:lnTo>
                      <a:pt x="2403" y="4373"/>
                    </a:lnTo>
                    <a:lnTo>
                      <a:pt x="2415" y="4384"/>
                    </a:lnTo>
                    <a:lnTo>
                      <a:pt x="2425" y="4396"/>
                    </a:lnTo>
                    <a:lnTo>
                      <a:pt x="2435" y="4408"/>
                    </a:lnTo>
                    <a:lnTo>
                      <a:pt x="2443" y="4421"/>
                    </a:lnTo>
                    <a:lnTo>
                      <a:pt x="2451" y="4434"/>
                    </a:lnTo>
                    <a:lnTo>
                      <a:pt x="2457" y="4448"/>
                    </a:lnTo>
                    <a:lnTo>
                      <a:pt x="2464" y="4462"/>
                    </a:lnTo>
                    <a:lnTo>
                      <a:pt x="2468" y="4476"/>
                    </a:lnTo>
                    <a:lnTo>
                      <a:pt x="2558" y="4880"/>
                    </a:lnTo>
                    <a:lnTo>
                      <a:pt x="2558" y="4880"/>
                    </a:lnTo>
                    <a:lnTo>
                      <a:pt x="2562" y="4894"/>
                    </a:lnTo>
                    <a:lnTo>
                      <a:pt x="2567" y="4907"/>
                    </a:lnTo>
                    <a:lnTo>
                      <a:pt x="2574" y="4919"/>
                    </a:lnTo>
                    <a:lnTo>
                      <a:pt x="2581" y="4931"/>
                    </a:lnTo>
                    <a:lnTo>
                      <a:pt x="2590" y="4942"/>
                    </a:lnTo>
                    <a:lnTo>
                      <a:pt x="2600" y="4952"/>
                    </a:lnTo>
                    <a:lnTo>
                      <a:pt x="2610" y="4960"/>
                    </a:lnTo>
                    <a:lnTo>
                      <a:pt x="2621" y="4968"/>
                    </a:lnTo>
                    <a:lnTo>
                      <a:pt x="2633" y="4975"/>
                    </a:lnTo>
                    <a:lnTo>
                      <a:pt x="2645" y="4981"/>
                    </a:lnTo>
                    <a:lnTo>
                      <a:pt x="2658" y="4985"/>
                    </a:lnTo>
                    <a:lnTo>
                      <a:pt x="2672" y="4988"/>
                    </a:lnTo>
                    <a:lnTo>
                      <a:pt x="2685" y="4990"/>
                    </a:lnTo>
                    <a:lnTo>
                      <a:pt x="2699" y="4990"/>
                    </a:lnTo>
                    <a:lnTo>
                      <a:pt x="2714" y="4989"/>
                    </a:lnTo>
                    <a:lnTo>
                      <a:pt x="2728" y="4987"/>
                    </a:lnTo>
                    <a:lnTo>
                      <a:pt x="3336" y="4850"/>
                    </a:lnTo>
                    <a:lnTo>
                      <a:pt x="3336" y="4850"/>
                    </a:lnTo>
                    <a:lnTo>
                      <a:pt x="3350" y="4846"/>
                    </a:lnTo>
                    <a:lnTo>
                      <a:pt x="3363" y="4841"/>
                    </a:lnTo>
                    <a:lnTo>
                      <a:pt x="3376" y="4835"/>
                    </a:lnTo>
                    <a:lnTo>
                      <a:pt x="3387" y="4827"/>
                    </a:lnTo>
                    <a:lnTo>
                      <a:pt x="3398" y="4819"/>
                    </a:lnTo>
                    <a:lnTo>
                      <a:pt x="3408" y="4809"/>
                    </a:lnTo>
                    <a:lnTo>
                      <a:pt x="3417" y="4799"/>
                    </a:lnTo>
                    <a:lnTo>
                      <a:pt x="3425" y="4787"/>
                    </a:lnTo>
                    <a:lnTo>
                      <a:pt x="3431" y="4776"/>
                    </a:lnTo>
                    <a:lnTo>
                      <a:pt x="3437" y="4763"/>
                    </a:lnTo>
                    <a:lnTo>
                      <a:pt x="3441" y="4750"/>
                    </a:lnTo>
                    <a:lnTo>
                      <a:pt x="3444" y="4737"/>
                    </a:lnTo>
                    <a:lnTo>
                      <a:pt x="3446" y="4723"/>
                    </a:lnTo>
                    <a:lnTo>
                      <a:pt x="3447" y="4709"/>
                    </a:lnTo>
                    <a:lnTo>
                      <a:pt x="3446" y="4695"/>
                    </a:lnTo>
                    <a:lnTo>
                      <a:pt x="3443" y="4681"/>
                    </a:lnTo>
                    <a:lnTo>
                      <a:pt x="3352" y="4278"/>
                    </a:lnTo>
                    <a:lnTo>
                      <a:pt x="3352" y="4278"/>
                    </a:lnTo>
                    <a:lnTo>
                      <a:pt x="3350" y="4263"/>
                    </a:lnTo>
                    <a:lnTo>
                      <a:pt x="3349" y="4248"/>
                    </a:lnTo>
                    <a:lnTo>
                      <a:pt x="3349" y="4233"/>
                    </a:lnTo>
                    <a:lnTo>
                      <a:pt x="3350" y="4218"/>
                    </a:lnTo>
                    <a:lnTo>
                      <a:pt x="3352" y="4203"/>
                    </a:lnTo>
                    <a:lnTo>
                      <a:pt x="3356" y="4187"/>
                    </a:lnTo>
                    <a:lnTo>
                      <a:pt x="3360" y="4172"/>
                    </a:lnTo>
                    <a:lnTo>
                      <a:pt x="3366" y="4158"/>
                    </a:lnTo>
                    <a:lnTo>
                      <a:pt x="3372" y="4143"/>
                    </a:lnTo>
                    <a:lnTo>
                      <a:pt x="3379" y="4129"/>
                    </a:lnTo>
                    <a:lnTo>
                      <a:pt x="3388" y="4116"/>
                    </a:lnTo>
                    <a:lnTo>
                      <a:pt x="3397" y="4103"/>
                    </a:lnTo>
                    <a:lnTo>
                      <a:pt x="3407" y="4092"/>
                    </a:lnTo>
                    <a:lnTo>
                      <a:pt x="3417" y="4081"/>
                    </a:lnTo>
                    <a:lnTo>
                      <a:pt x="3429" y="4071"/>
                    </a:lnTo>
                    <a:lnTo>
                      <a:pt x="3441" y="4063"/>
                    </a:lnTo>
                    <a:lnTo>
                      <a:pt x="3795" y="3783"/>
                    </a:lnTo>
                    <a:lnTo>
                      <a:pt x="3795" y="3783"/>
                    </a:lnTo>
                    <a:lnTo>
                      <a:pt x="3806" y="3773"/>
                    </a:lnTo>
                    <a:lnTo>
                      <a:pt x="3818" y="3764"/>
                    </a:lnTo>
                    <a:lnTo>
                      <a:pt x="3831" y="3756"/>
                    </a:lnTo>
                    <a:lnTo>
                      <a:pt x="3845" y="3749"/>
                    </a:lnTo>
                    <a:lnTo>
                      <a:pt x="3859" y="3743"/>
                    </a:lnTo>
                    <a:lnTo>
                      <a:pt x="3874" y="3738"/>
                    </a:lnTo>
                    <a:lnTo>
                      <a:pt x="3889" y="3734"/>
                    </a:lnTo>
                    <a:lnTo>
                      <a:pt x="3905" y="3731"/>
                    </a:lnTo>
                    <a:lnTo>
                      <a:pt x="3920" y="3729"/>
                    </a:lnTo>
                    <a:lnTo>
                      <a:pt x="3936" y="3728"/>
                    </a:lnTo>
                    <a:lnTo>
                      <a:pt x="3952" y="3728"/>
                    </a:lnTo>
                    <a:lnTo>
                      <a:pt x="3967" y="3730"/>
                    </a:lnTo>
                    <a:lnTo>
                      <a:pt x="3982" y="3732"/>
                    </a:lnTo>
                    <a:lnTo>
                      <a:pt x="3997" y="3735"/>
                    </a:lnTo>
                    <a:lnTo>
                      <a:pt x="4011" y="3740"/>
                    </a:lnTo>
                    <a:lnTo>
                      <a:pt x="4024" y="3746"/>
                    </a:lnTo>
                    <a:lnTo>
                      <a:pt x="4396" y="3926"/>
                    </a:lnTo>
                    <a:lnTo>
                      <a:pt x="4396" y="3926"/>
                    </a:lnTo>
                    <a:lnTo>
                      <a:pt x="4409" y="3932"/>
                    </a:lnTo>
                    <a:lnTo>
                      <a:pt x="4423" y="3936"/>
                    </a:lnTo>
                    <a:lnTo>
                      <a:pt x="4436" y="3939"/>
                    </a:lnTo>
                    <a:lnTo>
                      <a:pt x="4450" y="3940"/>
                    </a:lnTo>
                    <a:lnTo>
                      <a:pt x="4464" y="3940"/>
                    </a:lnTo>
                    <a:lnTo>
                      <a:pt x="4477" y="3939"/>
                    </a:lnTo>
                    <a:lnTo>
                      <a:pt x="4491" y="3936"/>
                    </a:lnTo>
                    <a:lnTo>
                      <a:pt x="4504" y="3932"/>
                    </a:lnTo>
                    <a:lnTo>
                      <a:pt x="4516" y="3927"/>
                    </a:lnTo>
                    <a:lnTo>
                      <a:pt x="4529" y="3921"/>
                    </a:lnTo>
                    <a:lnTo>
                      <a:pt x="4540" y="3914"/>
                    </a:lnTo>
                    <a:lnTo>
                      <a:pt x="4551" y="3905"/>
                    </a:lnTo>
                    <a:lnTo>
                      <a:pt x="4561" y="3896"/>
                    </a:lnTo>
                    <a:lnTo>
                      <a:pt x="4570" y="3885"/>
                    </a:lnTo>
                    <a:lnTo>
                      <a:pt x="4578" y="3873"/>
                    </a:lnTo>
                    <a:lnTo>
                      <a:pt x="4585" y="3860"/>
                    </a:lnTo>
                    <a:lnTo>
                      <a:pt x="4857" y="3300"/>
                    </a:lnTo>
                    <a:lnTo>
                      <a:pt x="4857" y="3300"/>
                    </a:lnTo>
                    <a:lnTo>
                      <a:pt x="4863" y="3286"/>
                    </a:lnTo>
                    <a:lnTo>
                      <a:pt x="4867" y="3273"/>
                    </a:lnTo>
                    <a:lnTo>
                      <a:pt x="4870" y="3259"/>
                    </a:lnTo>
                    <a:lnTo>
                      <a:pt x="4871" y="3245"/>
                    </a:lnTo>
                    <a:lnTo>
                      <a:pt x="4872" y="3231"/>
                    </a:lnTo>
                    <a:lnTo>
                      <a:pt x="4870" y="3218"/>
                    </a:lnTo>
                    <a:lnTo>
                      <a:pt x="4868" y="3204"/>
                    </a:lnTo>
                    <a:lnTo>
                      <a:pt x="4864" y="3191"/>
                    </a:lnTo>
                    <a:lnTo>
                      <a:pt x="4859" y="3179"/>
                    </a:lnTo>
                    <a:lnTo>
                      <a:pt x="4853" y="3167"/>
                    </a:lnTo>
                    <a:lnTo>
                      <a:pt x="4845" y="3155"/>
                    </a:lnTo>
                    <a:lnTo>
                      <a:pt x="4837" y="3144"/>
                    </a:lnTo>
                    <a:lnTo>
                      <a:pt x="4827" y="3134"/>
                    </a:lnTo>
                    <a:lnTo>
                      <a:pt x="4816" y="3125"/>
                    </a:lnTo>
                    <a:lnTo>
                      <a:pt x="4805" y="3117"/>
                    </a:lnTo>
                    <a:lnTo>
                      <a:pt x="4792" y="3110"/>
                    </a:lnTo>
                    <a:lnTo>
                      <a:pt x="4421" y="2930"/>
                    </a:lnTo>
                    <a:lnTo>
                      <a:pt x="4421" y="2930"/>
                    </a:lnTo>
                    <a:lnTo>
                      <a:pt x="4408" y="2923"/>
                    </a:lnTo>
                    <a:lnTo>
                      <a:pt x="4396" y="2915"/>
                    </a:lnTo>
                    <a:lnTo>
                      <a:pt x="4384" y="2905"/>
                    </a:lnTo>
                    <a:lnTo>
                      <a:pt x="4373" y="2895"/>
                    </a:lnTo>
                    <a:lnTo>
                      <a:pt x="4363" y="2884"/>
                    </a:lnTo>
                    <a:lnTo>
                      <a:pt x="4354" y="2872"/>
                    </a:lnTo>
                    <a:lnTo>
                      <a:pt x="4345" y="2859"/>
                    </a:lnTo>
                    <a:lnTo>
                      <a:pt x="4338" y="2845"/>
                    </a:lnTo>
                    <a:lnTo>
                      <a:pt x="4331" y="2831"/>
                    </a:lnTo>
                    <a:lnTo>
                      <a:pt x="4325" y="2817"/>
                    </a:lnTo>
                    <a:lnTo>
                      <a:pt x="4321" y="2802"/>
                    </a:lnTo>
                    <a:lnTo>
                      <a:pt x="4317" y="2787"/>
                    </a:lnTo>
                    <a:lnTo>
                      <a:pt x="4315" y="2772"/>
                    </a:lnTo>
                    <a:lnTo>
                      <a:pt x="4314" y="2758"/>
                    </a:lnTo>
                    <a:lnTo>
                      <a:pt x="4314" y="2743"/>
                    </a:lnTo>
                    <a:lnTo>
                      <a:pt x="4316" y="2728"/>
                    </a:lnTo>
                    <a:lnTo>
                      <a:pt x="4316" y="2728"/>
                    </a:lnTo>
                    <a:lnTo>
                      <a:pt x="4318" y="2710"/>
                    </a:lnTo>
                    <a:lnTo>
                      <a:pt x="4323" y="2662"/>
                    </a:lnTo>
                    <a:lnTo>
                      <a:pt x="4326" y="2629"/>
                    </a:lnTo>
                    <a:lnTo>
                      <a:pt x="4329" y="2590"/>
                    </a:lnTo>
                    <a:lnTo>
                      <a:pt x="4331" y="2548"/>
                    </a:lnTo>
                    <a:lnTo>
                      <a:pt x="4332" y="2502"/>
                    </a:lnTo>
                    <a:lnTo>
                      <a:pt x="4332" y="2502"/>
                    </a:lnTo>
                    <a:close/>
                    <a:moveTo>
                      <a:pt x="3788" y="2500"/>
                    </a:moveTo>
                    <a:lnTo>
                      <a:pt x="3788" y="2500"/>
                    </a:lnTo>
                    <a:lnTo>
                      <a:pt x="3787" y="2533"/>
                    </a:lnTo>
                    <a:lnTo>
                      <a:pt x="3786" y="2567"/>
                    </a:lnTo>
                    <a:lnTo>
                      <a:pt x="3784" y="2600"/>
                    </a:lnTo>
                    <a:lnTo>
                      <a:pt x="3780" y="2633"/>
                    </a:lnTo>
                    <a:lnTo>
                      <a:pt x="3777" y="2666"/>
                    </a:lnTo>
                    <a:lnTo>
                      <a:pt x="3772" y="2698"/>
                    </a:lnTo>
                    <a:lnTo>
                      <a:pt x="3767" y="2730"/>
                    </a:lnTo>
                    <a:lnTo>
                      <a:pt x="3760" y="2762"/>
                    </a:lnTo>
                    <a:lnTo>
                      <a:pt x="3753" y="2794"/>
                    </a:lnTo>
                    <a:lnTo>
                      <a:pt x="3746" y="2825"/>
                    </a:lnTo>
                    <a:lnTo>
                      <a:pt x="3737" y="2856"/>
                    </a:lnTo>
                    <a:lnTo>
                      <a:pt x="3728" y="2887"/>
                    </a:lnTo>
                    <a:lnTo>
                      <a:pt x="3718" y="2917"/>
                    </a:lnTo>
                    <a:lnTo>
                      <a:pt x="3707" y="2947"/>
                    </a:lnTo>
                    <a:lnTo>
                      <a:pt x="3696" y="2977"/>
                    </a:lnTo>
                    <a:lnTo>
                      <a:pt x="3684" y="3006"/>
                    </a:lnTo>
                    <a:lnTo>
                      <a:pt x="3671" y="3035"/>
                    </a:lnTo>
                    <a:lnTo>
                      <a:pt x="3657" y="3064"/>
                    </a:lnTo>
                    <a:lnTo>
                      <a:pt x="3643" y="3092"/>
                    </a:lnTo>
                    <a:lnTo>
                      <a:pt x="3628" y="3120"/>
                    </a:lnTo>
                    <a:lnTo>
                      <a:pt x="3613" y="3147"/>
                    </a:lnTo>
                    <a:lnTo>
                      <a:pt x="3597" y="3174"/>
                    </a:lnTo>
                    <a:lnTo>
                      <a:pt x="3580" y="3201"/>
                    </a:lnTo>
                    <a:lnTo>
                      <a:pt x="3563" y="3227"/>
                    </a:lnTo>
                    <a:lnTo>
                      <a:pt x="3545" y="3252"/>
                    </a:lnTo>
                    <a:lnTo>
                      <a:pt x="3526" y="3278"/>
                    </a:lnTo>
                    <a:lnTo>
                      <a:pt x="3507" y="3302"/>
                    </a:lnTo>
                    <a:lnTo>
                      <a:pt x="3487" y="3327"/>
                    </a:lnTo>
                    <a:lnTo>
                      <a:pt x="3467" y="3350"/>
                    </a:lnTo>
                    <a:lnTo>
                      <a:pt x="3446" y="3374"/>
                    </a:lnTo>
                    <a:lnTo>
                      <a:pt x="3425" y="3396"/>
                    </a:lnTo>
                    <a:lnTo>
                      <a:pt x="3403" y="3419"/>
                    </a:lnTo>
                    <a:lnTo>
                      <a:pt x="3381" y="3440"/>
                    </a:lnTo>
                    <a:lnTo>
                      <a:pt x="3358" y="3462"/>
                    </a:lnTo>
                    <a:lnTo>
                      <a:pt x="3334" y="3482"/>
                    </a:lnTo>
                    <a:lnTo>
                      <a:pt x="3310" y="3502"/>
                    </a:lnTo>
                    <a:lnTo>
                      <a:pt x="3286" y="3522"/>
                    </a:lnTo>
                    <a:lnTo>
                      <a:pt x="3261" y="3541"/>
                    </a:lnTo>
                    <a:lnTo>
                      <a:pt x="3236" y="3559"/>
                    </a:lnTo>
                    <a:lnTo>
                      <a:pt x="3210" y="3577"/>
                    </a:lnTo>
                    <a:lnTo>
                      <a:pt x="3184" y="3594"/>
                    </a:lnTo>
                    <a:lnTo>
                      <a:pt x="3157" y="3611"/>
                    </a:lnTo>
                    <a:lnTo>
                      <a:pt x="3130" y="3626"/>
                    </a:lnTo>
                    <a:lnTo>
                      <a:pt x="3102" y="3642"/>
                    </a:lnTo>
                    <a:lnTo>
                      <a:pt x="3074" y="3656"/>
                    </a:lnTo>
                    <a:lnTo>
                      <a:pt x="3046" y="3670"/>
                    </a:lnTo>
                    <a:lnTo>
                      <a:pt x="3017" y="3683"/>
                    </a:lnTo>
                    <a:lnTo>
                      <a:pt x="2988" y="3696"/>
                    </a:lnTo>
                    <a:lnTo>
                      <a:pt x="2959" y="3708"/>
                    </a:lnTo>
                    <a:lnTo>
                      <a:pt x="2929" y="3719"/>
                    </a:lnTo>
                    <a:lnTo>
                      <a:pt x="2899" y="3730"/>
                    </a:lnTo>
                    <a:lnTo>
                      <a:pt x="2868" y="3739"/>
                    </a:lnTo>
                    <a:lnTo>
                      <a:pt x="2838" y="3748"/>
                    </a:lnTo>
                    <a:lnTo>
                      <a:pt x="2807" y="3757"/>
                    </a:lnTo>
                    <a:lnTo>
                      <a:pt x="2775" y="3764"/>
                    </a:lnTo>
                    <a:lnTo>
                      <a:pt x="2744" y="3771"/>
                    </a:lnTo>
                    <a:lnTo>
                      <a:pt x="2712" y="3777"/>
                    </a:lnTo>
                    <a:lnTo>
                      <a:pt x="2679" y="3782"/>
                    </a:lnTo>
                    <a:lnTo>
                      <a:pt x="2647" y="3787"/>
                    </a:lnTo>
                    <a:lnTo>
                      <a:pt x="2614" y="3790"/>
                    </a:lnTo>
                    <a:lnTo>
                      <a:pt x="2581" y="3793"/>
                    </a:lnTo>
                    <a:lnTo>
                      <a:pt x="2548" y="3795"/>
                    </a:lnTo>
                    <a:lnTo>
                      <a:pt x="2515" y="3796"/>
                    </a:lnTo>
                    <a:lnTo>
                      <a:pt x="2481" y="3796"/>
                    </a:lnTo>
                    <a:lnTo>
                      <a:pt x="2481" y="3796"/>
                    </a:lnTo>
                    <a:lnTo>
                      <a:pt x="2446" y="3796"/>
                    </a:lnTo>
                    <a:lnTo>
                      <a:pt x="2413" y="3794"/>
                    </a:lnTo>
                    <a:lnTo>
                      <a:pt x="2380" y="3792"/>
                    </a:lnTo>
                    <a:lnTo>
                      <a:pt x="2347" y="3789"/>
                    </a:lnTo>
                    <a:lnTo>
                      <a:pt x="2314" y="3785"/>
                    </a:lnTo>
                    <a:lnTo>
                      <a:pt x="2282" y="3781"/>
                    </a:lnTo>
                    <a:lnTo>
                      <a:pt x="2250" y="3775"/>
                    </a:lnTo>
                    <a:lnTo>
                      <a:pt x="2218" y="3769"/>
                    </a:lnTo>
                    <a:lnTo>
                      <a:pt x="2186" y="3762"/>
                    </a:lnTo>
                    <a:lnTo>
                      <a:pt x="2155" y="3754"/>
                    </a:lnTo>
                    <a:lnTo>
                      <a:pt x="2124" y="3746"/>
                    </a:lnTo>
                    <a:lnTo>
                      <a:pt x="2093" y="3736"/>
                    </a:lnTo>
                    <a:lnTo>
                      <a:pt x="2063" y="3726"/>
                    </a:lnTo>
                    <a:lnTo>
                      <a:pt x="2033" y="3716"/>
                    </a:lnTo>
                    <a:lnTo>
                      <a:pt x="2003" y="3704"/>
                    </a:lnTo>
                    <a:lnTo>
                      <a:pt x="1974" y="3692"/>
                    </a:lnTo>
                    <a:lnTo>
                      <a:pt x="1945" y="3679"/>
                    </a:lnTo>
                    <a:lnTo>
                      <a:pt x="1916" y="3666"/>
                    </a:lnTo>
                    <a:lnTo>
                      <a:pt x="1888" y="3652"/>
                    </a:lnTo>
                    <a:lnTo>
                      <a:pt x="1860" y="3637"/>
                    </a:lnTo>
                    <a:lnTo>
                      <a:pt x="1833" y="3621"/>
                    </a:lnTo>
                    <a:lnTo>
                      <a:pt x="1806" y="3605"/>
                    </a:lnTo>
                    <a:lnTo>
                      <a:pt x="1779" y="3589"/>
                    </a:lnTo>
                    <a:lnTo>
                      <a:pt x="1753" y="3571"/>
                    </a:lnTo>
                    <a:lnTo>
                      <a:pt x="1728" y="3553"/>
                    </a:lnTo>
                    <a:lnTo>
                      <a:pt x="1702" y="3535"/>
                    </a:lnTo>
                    <a:lnTo>
                      <a:pt x="1678" y="3516"/>
                    </a:lnTo>
                    <a:lnTo>
                      <a:pt x="1653" y="3496"/>
                    </a:lnTo>
                    <a:lnTo>
                      <a:pt x="1630" y="3476"/>
                    </a:lnTo>
                    <a:lnTo>
                      <a:pt x="1606" y="3455"/>
                    </a:lnTo>
                    <a:lnTo>
                      <a:pt x="1584" y="3433"/>
                    </a:lnTo>
                    <a:lnTo>
                      <a:pt x="1561" y="3412"/>
                    </a:lnTo>
                    <a:lnTo>
                      <a:pt x="1540" y="3389"/>
                    </a:lnTo>
                    <a:lnTo>
                      <a:pt x="1518" y="3366"/>
                    </a:lnTo>
                    <a:lnTo>
                      <a:pt x="1498" y="3343"/>
                    </a:lnTo>
                    <a:lnTo>
                      <a:pt x="1478" y="3319"/>
                    </a:lnTo>
                    <a:lnTo>
                      <a:pt x="1458" y="3294"/>
                    </a:lnTo>
                    <a:lnTo>
                      <a:pt x="1439" y="3269"/>
                    </a:lnTo>
                    <a:lnTo>
                      <a:pt x="1421" y="3244"/>
                    </a:lnTo>
                    <a:lnTo>
                      <a:pt x="1403" y="3218"/>
                    </a:lnTo>
                    <a:lnTo>
                      <a:pt x="1386" y="3192"/>
                    </a:lnTo>
                    <a:lnTo>
                      <a:pt x="1370" y="3165"/>
                    </a:lnTo>
                    <a:lnTo>
                      <a:pt x="1354" y="3138"/>
                    </a:lnTo>
                    <a:lnTo>
                      <a:pt x="1338" y="3111"/>
                    </a:lnTo>
                    <a:lnTo>
                      <a:pt x="1324" y="3083"/>
                    </a:lnTo>
                    <a:lnTo>
                      <a:pt x="1310" y="3054"/>
                    </a:lnTo>
                    <a:lnTo>
                      <a:pt x="1297" y="3026"/>
                    </a:lnTo>
                    <a:lnTo>
                      <a:pt x="1284" y="2997"/>
                    </a:lnTo>
                    <a:lnTo>
                      <a:pt x="1272" y="2967"/>
                    </a:lnTo>
                    <a:lnTo>
                      <a:pt x="1261" y="2937"/>
                    </a:lnTo>
                    <a:lnTo>
                      <a:pt x="1250" y="2907"/>
                    </a:lnTo>
                    <a:lnTo>
                      <a:pt x="1241" y="2877"/>
                    </a:lnTo>
                    <a:lnTo>
                      <a:pt x="1232" y="2846"/>
                    </a:lnTo>
                    <a:lnTo>
                      <a:pt x="1223" y="2815"/>
                    </a:lnTo>
                    <a:lnTo>
                      <a:pt x="1216" y="2784"/>
                    </a:lnTo>
                    <a:lnTo>
                      <a:pt x="1209" y="2752"/>
                    </a:lnTo>
                    <a:lnTo>
                      <a:pt x="1203" y="2720"/>
                    </a:lnTo>
                    <a:lnTo>
                      <a:pt x="1198" y="2688"/>
                    </a:lnTo>
                    <a:lnTo>
                      <a:pt x="1194" y="2655"/>
                    </a:lnTo>
                    <a:lnTo>
                      <a:pt x="1190" y="2623"/>
                    </a:lnTo>
                    <a:lnTo>
                      <a:pt x="1187" y="2590"/>
                    </a:lnTo>
                    <a:lnTo>
                      <a:pt x="1185" y="2557"/>
                    </a:lnTo>
                    <a:lnTo>
                      <a:pt x="1184" y="2523"/>
                    </a:lnTo>
                    <a:lnTo>
                      <a:pt x="1184" y="2490"/>
                    </a:lnTo>
                    <a:lnTo>
                      <a:pt x="1184" y="2490"/>
                    </a:lnTo>
                    <a:lnTo>
                      <a:pt x="1184" y="2455"/>
                    </a:lnTo>
                    <a:lnTo>
                      <a:pt x="1186" y="2422"/>
                    </a:lnTo>
                    <a:lnTo>
                      <a:pt x="1188" y="2388"/>
                    </a:lnTo>
                    <a:lnTo>
                      <a:pt x="1191" y="2356"/>
                    </a:lnTo>
                    <a:lnTo>
                      <a:pt x="1195" y="2323"/>
                    </a:lnTo>
                    <a:lnTo>
                      <a:pt x="1199" y="2290"/>
                    </a:lnTo>
                    <a:lnTo>
                      <a:pt x="1205" y="2258"/>
                    </a:lnTo>
                    <a:lnTo>
                      <a:pt x="1211" y="2226"/>
                    </a:lnTo>
                    <a:lnTo>
                      <a:pt x="1218" y="2195"/>
                    </a:lnTo>
                    <a:lnTo>
                      <a:pt x="1226" y="2163"/>
                    </a:lnTo>
                    <a:lnTo>
                      <a:pt x="1234" y="2132"/>
                    </a:lnTo>
                    <a:lnTo>
                      <a:pt x="1244" y="2102"/>
                    </a:lnTo>
                    <a:lnTo>
                      <a:pt x="1254" y="2071"/>
                    </a:lnTo>
                    <a:lnTo>
                      <a:pt x="1264" y="2041"/>
                    </a:lnTo>
                    <a:lnTo>
                      <a:pt x="1276" y="2012"/>
                    </a:lnTo>
                    <a:lnTo>
                      <a:pt x="1288" y="1982"/>
                    </a:lnTo>
                    <a:lnTo>
                      <a:pt x="1301" y="1953"/>
                    </a:lnTo>
                    <a:lnTo>
                      <a:pt x="1314" y="1925"/>
                    </a:lnTo>
                    <a:lnTo>
                      <a:pt x="1328" y="1897"/>
                    </a:lnTo>
                    <a:lnTo>
                      <a:pt x="1343" y="1869"/>
                    </a:lnTo>
                    <a:lnTo>
                      <a:pt x="1359" y="1841"/>
                    </a:lnTo>
                    <a:lnTo>
                      <a:pt x="1375" y="1814"/>
                    </a:lnTo>
                    <a:lnTo>
                      <a:pt x="1391" y="1788"/>
                    </a:lnTo>
                    <a:lnTo>
                      <a:pt x="1409" y="1762"/>
                    </a:lnTo>
                    <a:lnTo>
                      <a:pt x="1427" y="1736"/>
                    </a:lnTo>
                    <a:lnTo>
                      <a:pt x="1445" y="1711"/>
                    </a:lnTo>
                    <a:lnTo>
                      <a:pt x="1464" y="1686"/>
                    </a:lnTo>
                    <a:lnTo>
                      <a:pt x="1484" y="1662"/>
                    </a:lnTo>
                    <a:lnTo>
                      <a:pt x="1504" y="1638"/>
                    </a:lnTo>
                    <a:lnTo>
                      <a:pt x="1525" y="1615"/>
                    </a:lnTo>
                    <a:lnTo>
                      <a:pt x="1547" y="1592"/>
                    </a:lnTo>
                    <a:lnTo>
                      <a:pt x="1569" y="1570"/>
                    </a:lnTo>
                    <a:lnTo>
                      <a:pt x="1591" y="1548"/>
                    </a:lnTo>
                    <a:lnTo>
                      <a:pt x="1614" y="1527"/>
                    </a:lnTo>
                    <a:lnTo>
                      <a:pt x="1637" y="1506"/>
                    </a:lnTo>
                    <a:lnTo>
                      <a:pt x="1661" y="1486"/>
                    </a:lnTo>
                    <a:lnTo>
                      <a:pt x="1686" y="1467"/>
                    </a:lnTo>
                    <a:lnTo>
                      <a:pt x="1711" y="1448"/>
                    </a:lnTo>
                    <a:lnTo>
                      <a:pt x="1736" y="1429"/>
                    </a:lnTo>
                    <a:lnTo>
                      <a:pt x="1762" y="1412"/>
                    </a:lnTo>
                    <a:lnTo>
                      <a:pt x="1788" y="1395"/>
                    </a:lnTo>
                    <a:lnTo>
                      <a:pt x="1815" y="1378"/>
                    </a:lnTo>
                    <a:lnTo>
                      <a:pt x="1842" y="1362"/>
                    </a:lnTo>
                    <a:lnTo>
                      <a:pt x="1869" y="1347"/>
                    </a:lnTo>
                    <a:lnTo>
                      <a:pt x="1897" y="1332"/>
                    </a:lnTo>
                    <a:lnTo>
                      <a:pt x="1926" y="1318"/>
                    </a:lnTo>
                    <a:lnTo>
                      <a:pt x="1954" y="1305"/>
                    </a:lnTo>
                    <a:lnTo>
                      <a:pt x="1983" y="1293"/>
                    </a:lnTo>
                    <a:lnTo>
                      <a:pt x="2013" y="1281"/>
                    </a:lnTo>
                    <a:lnTo>
                      <a:pt x="2043" y="1270"/>
                    </a:lnTo>
                    <a:lnTo>
                      <a:pt x="2073" y="1259"/>
                    </a:lnTo>
                    <a:lnTo>
                      <a:pt x="2103" y="1249"/>
                    </a:lnTo>
                    <a:lnTo>
                      <a:pt x="2134" y="1240"/>
                    </a:lnTo>
                    <a:lnTo>
                      <a:pt x="2165" y="1232"/>
                    </a:lnTo>
                    <a:lnTo>
                      <a:pt x="2196" y="1225"/>
                    </a:lnTo>
                    <a:lnTo>
                      <a:pt x="2228" y="1218"/>
                    </a:lnTo>
                    <a:lnTo>
                      <a:pt x="2260" y="1212"/>
                    </a:lnTo>
                    <a:lnTo>
                      <a:pt x="2292" y="1207"/>
                    </a:lnTo>
                    <a:lnTo>
                      <a:pt x="2325" y="1202"/>
                    </a:lnTo>
                    <a:lnTo>
                      <a:pt x="2357" y="1199"/>
                    </a:lnTo>
                    <a:lnTo>
                      <a:pt x="2390" y="1196"/>
                    </a:lnTo>
                    <a:lnTo>
                      <a:pt x="2424" y="1194"/>
                    </a:lnTo>
                    <a:lnTo>
                      <a:pt x="2457" y="1193"/>
                    </a:lnTo>
                    <a:lnTo>
                      <a:pt x="2492" y="1192"/>
                    </a:lnTo>
                    <a:lnTo>
                      <a:pt x="2492" y="1192"/>
                    </a:lnTo>
                    <a:lnTo>
                      <a:pt x="2525" y="1193"/>
                    </a:lnTo>
                    <a:lnTo>
                      <a:pt x="2558" y="1194"/>
                    </a:lnTo>
                    <a:lnTo>
                      <a:pt x="2592" y="1197"/>
                    </a:lnTo>
                    <a:lnTo>
                      <a:pt x="2625" y="1200"/>
                    </a:lnTo>
                    <a:lnTo>
                      <a:pt x="2657" y="1204"/>
                    </a:lnTo>
                    <a:lnTo>
                      <a:pt x="2690" y="1208"/>
                    </a:lnTo>
                    <a:lnTo>
                      <a:pt x="2722" y="1214"/>
                    </a:lnTo>
                    <a:lnTo>
                      <a:pt x="2754" y="1220"/>
                    </a:lnTo>
                    <a:lnTo>
                      <a:pt x="2785" y="1227"/>
                    </a:lnTo>
                    <a:lnTo>
                      <a:pt x="2817" y="1235"/>
                    </a:lnTo>
                    <a:lnTo>
                      <a:pt x="2848" y="1243"/>
                    </a:lnTo>
                    <a:lnTo>
                      <a:pt x="2878" y="1252"/>
                    </a:lnTo>
                    <a:lnTo>
                      <a:pt x="2909" y="1262"/>
                    </a:lnTo>
                    <a:lnTo>
                      <a:pt x="2939" y="1273"/>
                    </a:lnTo>
                    <a:lnTo>
                      <a:pt x="2968" y="1285"/>
                    </a:lnTo>
                    <a:lnTo>
                      <a:pt x="2998" y="1297"/>
                    </a:lnTo>
                    <a:lnTo>
                      <a:pt x="3027" y="1309"/>
                    </a:lnTo>
                    <a:lnTo>
                      <a:pt x="3055" y="1323"/>
                    </a:lnTo>
                    <a:lnTo>
                      <a:pt x="3083" y="1337"/>
                    </a:lnTo>
                    <a:lnTo>
                      <a:pt x="3111" y="1352"/>
                    </a:lnTo>
                    <a:lnTo>
                      <a:pt x="3139" y="1367"/>
                    </a:lnTo>
                    <a:lnTo>
                      <a:pt x="3166" y="1383"/>
                    </a:lnTo>
                    <a:lnTo>
                      <a:pt x="3192" y="1400"/>
                    </a:lnTo>
                    <a:lnTo>
                      <a:pt x="3218" y="1418"/>
                    </a:lnTo>
                    <a:lnTo>
                      <a:pt x="3244" y="1435"/>
                    </a:lnTo>
                    <a:lnTo>
                      <a:pt x="3269" y="1454"/>
                    </a:lnTo>
                    <a:lnTo>
                      <a:pt x="3294" y="1473"/>
                    </a:lnTo>
                    <a:lnTo>
                      <a:pt x="3318" y="1493"/>
                    </a:lnTo>
                    <a:lnTo>
                      <a:pt x="3342" y="1513"/>
                    </a:lnTo>
                    <a:lnTo>
                      <a:pt x="3365" y="1534"/>
                    </a:lnTo>
                    <a:lnTo>
                      <a:pt x="3388" y="1555"/>
                    </a:lnTo>
                    <a:lnTo>
                      <a:pt x="3410" y="1577"/>
                    </a:lnTo>
                    <a:lnTo>
                      <a:pt x="3432" y="1600"/>
                    </a:lnTo>
                    <a:lnTo>
                      <a:pt x="3453" y="1623"/>
                    </a:lnTo>
                    <a:lnTo>
                      <a:pt x="3474" y="1646"/>
                    </a:lnTo>
                    <a:lnTo>
                      <a:pt x="3494" y="1670"/>
                    </a:lnTo>
                    <a:lnTo>
                      <a:pt x="3513" y="1694"/>
                    </a:lnTo>
                    <a:lnTo>
                      <a:pt x="3532" y="1719"/>
                    </a:lnTo>
                    <a:lnTo>
                      <a:pt x="3551" y="1745"/>
                    </a:lnTo>
                    <a:lnTo>
                      <a:pt x="3568" y="1770"/>
                    </a:lnTo>
                    <a:lnTo>
                      <a:pt x="3585" y="1797"/>
                    </a:lnTo>
                    <a:lnTo>
                      <a:pt x="3602" y="1823"/>
                    </a:lnTo>
                    <a:lnTo>
                      <a:pt x="3618" y="1850"/>
                    </a:lnTo>
                    <a:lnTo>
                      <a:pt x="3633" y="1878"/>
                    </a:lnTo>
                    <a:lnTo>
                      <a:pt x="3648" y="1906"/>
                    </a:lnTo>
                    <a:lnTo>
                      <a:pt x="3662" y="1934"/>
                    </a:lnTo>
                    <a:lnTo>
                      <a:pt x="3675" y="1963"/>
                    </a:lnTo>
                    <a:lnTo>
                      <a:pt x="3687" y="1992"/>
                    </a:lnTo>
                    <a:lnTo>
                      <a:pt x="3699" y="2021"/>
                    </a:lnTo>
                    <a:lnTo>
                      <a:pt x="3711" y="2051"/>
                    </a:lnTo>
                    <a:lnTo>
                      <a:pt x="3721" y="2081"/>
                    </a:lnTo>
                    <a:lnTo>
                      <a:pt x="3731" y="2112"/>
                    </a:lnTo>
                    <a:lnTo>
                      <a:pt x="3740" y="2142"/>
                    </a:lnTo>
                    <a:lnTo>
                      <a:pt x="3748" y="2173"/>
                    </a:lnTo>
                    <a:lnTo>
                      <a:pt x="3756" y="2205"/>
                    </a:lnTo>
                    <a:lnTo>
                      <a:pt x="3762" y="2236"/>
                    </a:lnTo>
                    <a:lnTo>
                      <a:pt x="3768" y="2268"/>
                    </a:lnTo>
                    <a:lnTo>
                      <a:pt x="3773" y="2301"/>
                    </a:lnTo>
                    <a:lnTo>
                      <a:pt x="3778" y="2333"/>
                    </a:lnTo>
                    <a:lnTo>
                      <a:pt x="3781" y="2366"/>
                    </a:lnTo>
                    <a:lnTo>
                      <a:pt x="3784" y="2399"/>
                    </a:lnTo>
                    <a:lnTo>
                      <a:pt x="3786" y="2432"/>
                    </a:lnTo>
                    <a:lnTo>
                      <a:pt x="3787" y="2466"/>
                    </a:lnTo>
                    <a:lnTo>
                      <a:pt x="3788" y="2500"/>
                    </a:lnTo>
                    <a:lnTo>
                      <a:pt x="3788" y="250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561" name="SAGD, Siemens, healthineers, evolve">
              <a:extLst>
                <a:ext uri="{FF2B5EF4-FFF2-40B4-BE49-F238E27FC236}">
                  <a16:creationId xmlns:a16="http://schemas.microsoft.com/office/drawing/2014/main" id="{A7D3F64F-FDD9-4ABD-BA06-250297B5B4F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511096" y="2046227"/>
              <a:ext cx="233643" cy="234138"/>
              <a:chOff x="1188" y="1252"/>
              <a:chExt cx="2268" cy="2268"/>
            </a:xfrm>
          </p:grpSpPr>
          <p:sp>
            <p:nvSpPr>
              <p:cNvPr id="562" name="AutoShape 4">
                <a:extLst>
                  <a:ext uri="{FF2B5EF4-FFF2-40B4-BE49-F238E27FC236}">
                    <a16:creationId xmlns:a16="http://schemas.microsoft.com/office/drawing/2014/main" id="{946C4E86-0192-4FBE-BB18-29A16B498C0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gray">
              <a:xfrm>
                <a:off x="1188" y="1252"/>
                <a:ext cx="2268" cy="22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63" name="Freeform 6">
                <a:extLst>
                  <a:ext uri="{FF2B5EF4-FFF2-40B4-BE49-F238E27FC236}">
                    <a16:creationId xmlns:a16="http://schemas.microsoft.com/office/drawing/2014/main" id="{1D88213E-D5B6-42CA-B03E-ABFADEE440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  <a:close/>
                  </a:path>
                </a:pathLst>
              </a:custGeom>
              <a:solidFill>
                <a:srgbClr val="00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64" name="Freeform 7">
                <a:extLst>
                  <a:ext uri="{FF2B5EF4-FFF2-40B4-BE49-F238E27FC236}">
                    <a16:creationId xmlns:a16="http://schemas.microsoft.com/office/drawing/2014/main" id="{103C3E5A-3383-4732-A361-5BEECCA2E2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565" name="Freeform 8">
                <a:extLst>
                  <a:ext uri="{FF2B5EF4-FFF2-40B4-BE49-F238E27FC236}">
                    <a16:creationId xmlns:a16="http://schemas.microsoft.com/office/drawing/2014/main" id="{A629772B-DC1F-453A-96E3-4B8AE308D16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510" y="1566"/>
                <a:ext cx="1615" cy="1653"/>
              </a:xfrm>
              <a:custGeom>
                <a:avLst/>
                <a:gdLst/>
                <a:ahLst/>
                <a:cxnLst>
                  <a:cxn ang="0">
                    <a:pos x="4319" y="2213"/>
                  </a:cxn>
                  <a:cxn ang="0">
                    <a:pos x="4796" y="1894"/>
                  </a:cxn>
                  <a:cxn ang="0">
                    <a:pos x="4876" y="1759"/>
                  </a:cxn>
                  <a:cxn ang="0">
                    <a:pos x="4526" y="1075"/>
                  </a:cxn>
                  <a:cxn ang="0">
                    <a:pos x="4005" y="1264"/>
                  </a:cxn>
                  <a:cxn ang="0">
                    <a:pos x="3815" y="1225"/>
                  </a:cxn>
                  <a:cxn ang="0">
                    <a:pos x="3367" y="807"/>
                  </a:cxn>
                  <a:cxn ang="0">
                    <a:pos x="3456" y="245"/>
                  </a:cxn>
                  <a:cxn ang="0">
                    <a:pos x="2745" y="3"/>
                  </a:cxn>
                  <a:cxn ang="0">
                    <a:pos x="2590" y="70"/>
                  </a:cxn>
                  <a:cxn ang="0">
                    <a:pos x="2416" y="615"/>
                  </a:cxn>
                  <a:cxn ang="0">
                    <a:pos x="1822" y="774"/>
                  </a:cxn>
                  <a:cxn ang="0">
                    <a:pos x="1644" y="700"/>
                  </a:cxn>
                  <a:cxn ang="0">
                    <a:pos x="1252" y="324"/>
                  </a:cxn>
                  <a:cxn ang="0">
                    <a:pos x="653" y="807"/>
                  </a:cxn>
                  <a:cxn ang="0">
                    <a:pos x="942" y="1274"/>
                  </a:cxn>
                  <a:cxn ang="0">
                    <a:pos x="960" y="1467"/>
                  </a:cxn>
                  <a:cxn ang="0">
                    <a:pos x="660" y="2003"/>
                  </a:cxn>
                  <a:cxn ang="0">
                    <a:pos x="90" y="2042"/>
                  </a:cxn>
                  <a:cxn ang="0">
                    <a:pos x="0" y="2797"/>
                  </a:cxn>
                  <a:cxn ang="0">
                    <a:pos x="86" y="2927"/>
                  </a:cxn>
                  <a:cxn ang="0">
                    <a:pos x="656" y="2972"/>
                  </a:cxn>
                  <a:cxn ang="0">
                    <a:pos x="952" y="3509"/>
                  </a:cxn>
                  <a:cxn ang="0">
                    <a:pos x="932" y="3702"/>
                  </a:cxn>
                  <a:cxn ang="0">
                    <a:pos x="640" y="4167"/>
                  </a:cxn>
                  <a:cxn ang="0">
                    <a:pos x="1235" y="4655"/>
                  </a:cxn>
                  <a:cxn ang="0">
                    <a:pos x="1630" y="4283"/>
                  </a:cxn>
                  <a:cxn ang="0">
                    <a:pos x="1809" y="4210"/>
                  </a:cxn>
                  <a:cxn ang="0">
                    <a:pos x="2403" y="4373"/>
                  </a:cxn>
                  <a:cxn ang="0">
                    <a:pos x="2574" y="4919"/>
                  </a:cxn>
                  <a:cxn ang="0">
                    <a:pos x="2728" y="4987"/>
                  </a:cxn>
                  <a:cxn ang="0">
                    <a:pos x="3441" y="4750"/>
                  </a:cxn>
                  <a:cxn ang="0">
                    <a:pos x="3356" y="4187"/>
                  </a:cxn>
                  <a:cxn ang="0">
                    <a:pos x="3806" y="3773"/>
                  </a:cxn>
                  <a:cxn ang="0">
                    <a:pos x="3997" y="3735"/>
                  </a:cxn>
                  <a:cxn ang="0">
                    <a:pos x="4516" y="3927"/>
                  </a:cxn>
                  <a:cxn ang="0">
                    <a:pos x="4871" y="3245"/>
                  </a:cxn>
                  <a:cxn ang="0">
                    <a:pos x="4421" y="2930"/>
                  </a:cxn>
                  <a:cxn ang="0">
                    <a:pos x="4317" y="2787"/>
                  </a:cxn>
                  <a:cxn ang="0">
                    <a:pos x="3788" y="2500"/>
                  </a:cxn>
                  <a:cxn ang="0">
                    <a:pos x="3728" y="2887"/>
                  </a:cxn>
                  <a:cxn ang="0">
                    <a:pos x="3545" y="3252"/>
                  </a:cxn>
                  <a:cxn ang="0">
                    <a:pos x="3261" y="3541"/>
                  </a:cxn>
                  <a:cxn ang="0">
                    <a:pos x="2899" y="3730"/>
                  </a:cxn>
                  <a:cxn ang="0">
                    <a:pos x="2481" y="3796"/>
                  </a:cxn>
                  <a:cxn ang="0">
                    <a:pos x="2093" y="3736"/>
                  </a:cxn>
                  <a:cxn ang="0">
                    <a:pos x="1728" y="3553"/>
                  </a:cxn>
                  <a:cxn ang="0">
                    <a:pos x="1439" y="3269"/>
                  </a:cxn>
                  <a:cxn ang="0">
                    <a:pos x="1250" y="2907"/>
                  </a:cxn>
                  <a:cxn ang="0">
                    <a:pos x="1184" y="2490"/>
                  </a:cxn>
                  <a:cxn ang="0">
                    <a:pos x="1244" y="2102"/>
                  </a:cxn>
                  <a:cxn ang="0">
                    <a:pos x="1427" y="1736"/>
                  </a:cxn>
                  <a:cxn ang="0">
                    <a:pos x="1711" y="1448"/>
                  </a:cxn>
                  <a:cxn ang="0">
                    <a:pos x="2073" y="1259"/>
                  </a:cxn>
                  <a:cxn ang="0">
                    <a:pos x="2492" y="1192"/>
                  </a:cxn>
                  <a:cxn ang="0">
                    <a:pos x="2878" y="1252"/>
                  </a:cxn>
                  <a:cxn ang="0">
                    <a:pos x="3244" y="1435"/>
                  </a:cxn>
                  <a:cxn ang="0">
                    <a:pos x="3532" y="1719"/>
                  </a:cxn>
                  <a:cxn ang="0">
                    <a:pos x="3721" y="2081"/>
                  </a:cxn>
                  <a:cxn ang="0">
                    <a:pos x="3788" y="2500"/>
                  </a:cxn>
                </a:cxnLst>
                <a:rect l="0" t="0" r="r" b="b"/>
                <a:pathLst>
                  <a:path w="4876" h="4990">
                    <a:moveTo>
                      <a:pt x="4332" y="2502"/>
                    </a:moveTo>
                    <a:lnTo>
                      <a:pt x="4332" y="2502"/>
                    </a:lnTo>
                    <a:lnTo>
                      <a:pt x="4331" y="2455"/>
                    </a:lnTo>
                    <a:lnTo>
                      <a:pt x="4329" y="2412"/>
                    </a:lnTo>
                    <a:lnTo>
                      <a:pt x="4327" y="2373"/>
                    </a:lnTo>
                    <a:lnTo>
                      <a:pt x="4324" y="2340"/>
                    </a:lnTo>
                    <a:lnTo>
                      <a:pt x="4319" y="2291"/>
                    </a:lnTo>
                    <a:lnTo>
                      <a:pt x="4317" y="2273"/>
                    </a:lnTo>
                    <a:lnTo>
                      <a:pt x="4317" y="2273"/>
                    </a:lnTo>
                    <a:lnTo>
                      <a:pt x="4315" y="2258"/>
                    </a:lnTo>
                    <a:lnTo>
                      <a:pt x="4315" y="2243"/>
                    </a:lnTo>
                    <a:lnTo>
                      <a:pt x="4317" y="2228"/>
                    </a:lnTo>
                    <a:lnTo>
                      <a:pt x="4319" y="2213"/>
                    </a:lnTo>
                    <a:lnTo>
                      <a:pt x="4323" y="2199"/>
                    </a:lnTo>
                    <a:lnTo>
                      <a:pt x="4327" y="2184"/>
                    </a:lnTo>
                    <a:lnTo>
                      <a:pt x="4333" y="2170"/>
                    </a:lnTo>
                    <a:lnTo>
                      <a:pt x="4340" y="2156"/>
                    </a:lnTo>
                    <a:lnTo>
                      <a:pt x="4348" y="2142"/>
                    </a:lnTo>
                    <a:lnTo>
                      <a:pt x="4356" y="2130"/>
                    </a:lnTo>
                    <a:lnTo>
                      <a:pt x="4366" y="2117"/>
                    </a:lnTo>
                    <a:lnTo>
                      <a:pt x="4376" y="2106"/>
                    </a:lnTo>
                    <a:lnTo>
                      <a:pt x="4387" y="2096"/>
                    </a:lnTo>
                    <a:lnTo>
                      <a:pt x="4399" y="2087"/>
                    </a:lnTo>
                    <a:lnTo>
                      <a:pt x="4411" y="2078"/>
                    </a:lnTo>
                    <a:lnTo>
                      <a:pt x="4424" y="2071"/>
                    </a:lnTo>
                    <a:lnTo>
                      <a:pt x="4796" y="1894"/>
                    </a:lnTo>
                    <a:lnTo>
                      <a:pt x="4796" y="1894"/>
                    </a:lnTo>
                    <a:lnTo>
                      <a:pt x="4809" y="1887"/>
                    </a:lnTo>
                    <a:lnTo>
                      <a:pt x="4820" y="1879"/>
                    </a:lnTo>
                    <a:lnTo>
                      <a:pt x="4831" y="1870"/>
                    </a:lnTo>
                    <a:lnTo>
                      <a:pt x="4841" y="1860"/>
                    </a:lnTo>
                    <a:lnTo>
                      <a:pt x="4849" y="1849"/>
                    </a:lnTo>
                    <a:lnTo>
                      <a:pt x="4857" y="1838"/>
                    </a:lnTo>
                    <a:lnTo>
                      <a:pt x="4863" y="1826"/>
                    </a:lnTo>
                    <a:lnTo>
                      <a:pt x="4868" y="1813"/>
                    </a:lnTo>
                    <a:lnTo>
                      <a:pt x="4872" y="1800"/>
                    </a:lnTo>
                    <a:lnTo>
                      <a:pt x="4875" y="1787"/>
                    </a:lnTo>
                    <a:lnTo>
                      <a:pt x="4876" y="1773"/>
                    </a:lnTo>
                    <a:lnTo>
                      <a:pt x="4876" y="1759"/>
                    </a:lnTo>
                    <a:lnTo>
                      <a:pt x="4875" y="1746"/>
                    </a:lnTo>
                    <a:lnTo>
                      <a:pt x="4872" y="1732"/>
                    </a:lnTo>
                    <a:lnTo>
                      <a:pt x="4868" y="1718"/>
                    </a:lnTo>
                    <a:lnTo>
                      <a:pt x="4863" y="1705"/>
                    </a:lnTo>
                    <a:lnTo>
                      <a:pt x="4595" y="1142"/>
                    </a:lnTo>
                    <a:lnTo>
                      <a:pt x="4595" y="1142"/>
                    </a:lnTo>
                    <a:lnTo>
                      <a:pt x="4588" y="1130"/>
                    </a:lnTo>
                    <a:lnTo>
                      <a:pt x="4580" y="1118"/>
                    </a:lnTo>
                    <a:lnTo>
                      <a:pt x="4571" y="1107"/>
                    </a:lnTo>
                    <a:lnTo>
                      <a:pt x="4561" y="1097"/>
                    </a:lnTo>
                    <a:lnTo>
                      <a:pt x="4550" y="1089"/>
                    </a:lnTo>
                    <a:lnTo>
                      <a:pt x="4539" y="1081"/>
                    </a:lnTo>
                    <a:lnTo>
                      <a:pt x="4526" y="1075"/>
                    </a:lnTo>
                    <a:lnTo>
                      <a:pt x="4514" y="1070"/>
                    </a:lnTo>
                    <a:lnTo>
                      <a:pt x="4501" y="1066"/>
                    </a:lnTo>
                    <a:lnTo>
                      <a:pt x="4487" y="1063"/>
                    </a:lnTo>
                    <a:lnTo>
                      <a:pt x="4474" y="1062"/>
                    </a:lnTo>
                    <a:lnTo>
                      <a:pt x="4460" y="1062"/>
                    </a:lnTo>
                    <a:lnTo>
                      <a:pt x="4446" y="1063"/>
                    </a:lnTo>
                    <a:lnTo>
                      <a:pt x="4433" y="1066"/>
                    </a:lnTo>
                    <a:lnTo>
                      <a:pt x="4419" y="1070"/>
                    </a:lnTo>
                    <a:lnTo>
                      <a:pt x="4406" y="1075"/>
                    </a:lnTo>
                    <a:lnTo>
                      <a:pt x="4033" y="1253"/>
                    </a:lnTo>
                    <a:lnTo>
                      <a:pt x="4033" y="1253"/>
                    </a:lnTo>
                    <a:lnTo>
                      <a:pt x="4019" y="1259"/>
                    </a:lnTo>
                    <a:lnTo>
                      <a:pt x="4005" y="1264"/>
                    </a:lnTo>
                    <a:lnTo>
                      <a:pt x="3990" y="1267"/>
                    </a:lnTo>
                    <a:lnTo>
                      <a:pt x="3975" y="1269"/>
                    </a:lnTo>
                    <a:lnTo>
                      <a:pt x="3960" y="1271"/>
                    </a:lnTo>
                    <a:lnTo>
                      <a:pt x="3944" y="1271"/>
                    </a:lnTo>
                    <a:lnTo>
                      <a:pt x="3928" y="1270"/>
                    </a:lnTo>
                    <a:lnTo>
                      <a:pt x="3913" y="1267"/>
                    </a:lnTo>
                    <a:lnTo>
                      <a:pt x="3897" y="1264"/>
                    </a:lnTo>
                    <a:lnTo>
                      <a:pt x="3882" y="1260"/>
                    </a:lnTo>
                    <a:lnTo>
                      <a:pt x="3867" y="1255"/>
                    </a:lnTo>
                    <a:lnTo>
                      <a:pt x="3853" y="1249"/>
                    </a:lnTo>
                    <a:lnTo>
                      <a:pt x="3839" y="1242"/>
                    </a:lnTo>
                    <a:lnTo>
                      <a:pt x="3827" y="1234"/>
                    </a:lnTo>
                    <a:lnTo>
                      <a:pt x="3815" y="1225"/>
                    </a:lnTo>
                    <a:lnTo>
                      <a:pt x="3804" y="1215"/>
                    </a:lnTo>
                    <a:lnTo>
                      <a:pt x="3451" y="932"/>
                    </a:lnTo>
                    <a:lnTo>
                      <a:pt x="3451" y="932"/>
                    </a:lnTo>
                    <a:lnTo>
                      <a:pt x="3439" y="924"/>
                    </a:lnTo>
                    <a:lnTo>
                      <a:pt x="3428" y="914"/>
                    </a:lnTo>
                    <a:lnTo>
                      <a:pt x="3417" y="903"/>
                    </a:lnTo>
                    <a:lnTo>
                      <a:pt x="3407" y="891"/>
                    </a:lnTo>
                    <a:lnTo>
                      <a:pt x="3398" y="879"/>
                    </a:lnTo>
                    <a:lnTo>
                      <a:pt x="3390" y="865"/>
                    </a:lnTo>
                    <a:lnTo>
                      <a:pt x="3383" y="852"/>
                    </a:lnTo>
                    <a:lnTo>
                      <a:pt x="3376" y="837"/>
                    </a:lnTo>
                    <a:lnTo>
                      <a:pt x="3371" y="822"/>
                    </a:lnTo>
                    <a:lnTo>
                      <a:pt x="3367" y="807"/>
                    </a:lnTo>
                    <a:lnTo>
                      <a:pt x="3363" y="792"/>
                    </a:lnTo>
                    <a:lnTo>
                      <a:pt x="3361" y="777"/>
                    </a:lnTo>
                    <a:lnTo>
                      <a:pt x="3360" y="761"/>
                    </a:lnTo>
                    <a:lnTo>
                      <a:pt x="3360" y="746"/>
                    </a:lnTo>
                    <a:lnTo>
                      <a:pt x="3362" y="731"/>
                    </a:lnTo>
                    <a:lnTo>
                      <a:pt x="3364" y="717"/>
                    </a:lnTo>
                    <a:lnTo>
                      <a:pt x="3458" y="314"/>
                    </a:lnTo>
                    <a:lnTo>
                      <a:pt x="3458" y="314"/>
                    </a:lnTo>
                    <a:lnTo>
                      <a:pt x="3460" y="300"/>
                    </a:lnTo>
                    <a:lnTo>
                      <a:pt x="3461" y="286"/>
                    </a:lnTo>
                    <a:lnTo>
                      <a:pt x="3461" y="272"/>
                    </a:lnTo>
                    <a:lnTo>
                      <a:pt x="3459" y="258"/>
                    </a:lnTo>
                    <a:lnTo>
                      <a:pt x="3456" y="245"/>
                    </a:lnTo>
                    <a:lnTo>
                      <a:pt x="3452" y="232"/>
                    </a:lnTo>
                    <a:lnTo>
                      <a:pt x="3447" y="219"/>
                    </a:lnTo>
                    <a:lnTo>
                      <a:pt x="3440" y="207"/>
                    </a:lnTo>
                    <a:lnTo>
                      <a:pt x="3432" y="196"/>
                    </a:lnTo>
                    <a:lnTo>
                      <a:pt x="3423" y="186"/>
                    </a:lnTo>
                    <a:lnTo>
                      <a:pt x="3414" y="176"/>
                    </a:lnTo>
                    <a:lnTo>
                      <a:pt x="3403" y="168"/>
                    </a:lnTo>
                    <a:lnTo>
                      <a:pt x="3391" y="160"/>
                    </a:lnTo>
                    <a:lnTo>
                      <a:pt x="3379" y="153"/>
                    </a:lnTo>
                    <a:lnTo>
                      <a:pt x="3366" y="148"/>
                    </a:lnTo>
                    <a:lnTo>
                      <a:pt x="3352" y="144"/>
                    </a:lnTo>
                    <a:lnTo>
                      <a:pt x="2745" y="3"/>
                    </a:lnTo>
                    <a:lnTo>
                      <a:pt x="2745" y="3"/>
                    </a:lnTo>
                    <a:lnTo>
                      <a:pt x="2730" y="1"/>
                    </a:lnTo>
                    <a:lnTo>
                      <a:pt x="2716" y="0"/>
                    </a:lnTo>
                    <a:lnTo>
                      <a:pt x="2702" y="0"/>
                    </a:lnTo>
                    <a:lnTo>
                      <a:pt x="2688" y="2"/>
                    </a:lnTo>
                    <a:lnTo>
                      <a:pt x="2675" y="5"/>
                    </a:lnTo>
                    <a:lnTo>
                      <a:pt x="2662" y="9"/>
                    </a:lnTo>
                    <a:lnTo>
                      <a:pt x="2649" y="15"/>
                    </a:lnTo>
                    <a:lnTo>
                      <a:pt x="2638" y="21"/>
                    </a:lnTo>
                    <a:lnTo>
                      <a:pt x="2626" y="29"/>
                    </a:lnTo>
                    <a:lnTo>
                      <a:pt x="2616" y="38"/>
                    </a:lnTo>
                    <a:lnTo>
                      <a:pt x="2606" y="48"/>
                    </a:lnTo>
                    <a:lnTo>
                      <a:pt x="2598" y="58"/>
                    </a:lnTo>
                    <a:lnTo>
                      <a:pt x="2590" y="70"/>
                    </a:lnTo>
                    <a:lnTo>
                      <a:pt x="2584" y="82"/>
                    </a:lnTo>
                    <a:lnTo>
                      <a:pt x="2578" y="96"/>
                    </a:lnTo>
                    <a:lnTo>
                      <a:pt x="2574" y="110"/>
                    </a:lnTo>
                    <a:lnTo>
                      <a:pt x="2481" y="512"/>
                    </a:lnTo>
                    <a:lnTo>
                      <a:pt x="2481" y="512"/>
                    </a:lnTo>
                    <a:lnTo>
                      <a:pt x="2477" y="526"/>
                    </a:lnTo>
                    <a:lnTo>
                      <a:pt x="2472" y="540"/>
                    </a:lnTo>
                    <a:lnTo>
                      <a:pt x="2465" y="554"/>
                    </a:lnTo>
                    <a:lnTo>
                      <a:pt x="2457" y="567"/>
                    </a:lnTo>
                    <a:lnTo>
                      <a:pt x="2448" y="580"/>
                    </a:lnTo>
                    <a:lnTo>
                      <a:pt x="2438" y="592"/>
                    </a:lnTo>
                    <a:lnTo>
                      <a:pt x="2428" y="604"/>
                    </a:lnTo>
                    <a:lnTo>
                      <a:pt x="2416" y="615"/>
                    </a:lnTo>
                    <a:lnTo>
                      <a:pt x="2404" y="625"/>
                    </a:lnTo>
                    <a:lnTo>
                      <a:pt x="2392" y="634"/>
                    </a:lnTo>
                    <a:lnTo>
                      <a:pt x="2378" y="643"/>
                    </a:lnTo>
                    <a:lnTo>
                      <a:pt x="2365" y="650"/>
                    </a:lnTo>
                    <a:lnTo>
                      <a:pt x="2351" y="656"/>
                    </a:lnTo>
                    <a:lnTo>
                      <a:pt x="2336" y="661"/>
                    </a:lnTo>
                    <a:lnTo>
                      <a:pt x="2322" y="665"/>
                    </a:lnTo>
                    <a:lnTo>
                      <a:pt x="2308" y="668"/>
                    </a:lnTo>
                    <a:lnTo>
                      <a:pt x="1866" y="766"/>
                    </a:lnTo>
                    <a:lnTo>
                      <a:pt x="1866" y="766"/>
                    </a:lnTo>
                    <a:lnTo>
                      <a:pt x="1852" y="770"/>
                    </a:lnTo>
                    <a:lnTo>
                      <a:pt x="1837" y="772"/>
                    </a:lnTo>
                    <a:lnTo>
                      <a:pt x="1822" y="774"/>
                    </a:lnTo>
                    <a:lnTo>
                      <a:pt x="1807" y="774"/>
                    </a:lnTo>
                    <a:lnTo>
                      <a:pt x="1792" y="774"/>
                    </a:lnTo>
                    <a:lnTo>
                      <a:pt x="1776" y="772"/>
                    </a:lnTo>
                    <a:lnTo>
                      <a:pt x="1761" y="769"/>
                    </a:lnTo>
                    <a:lnTo>
                      <a:pt x="1745" y="765"/>
                    </a:lnTo>
                    <a:lnTo>
                      <a:pt x="1730" y="760"/>
                    </a:lnTo>
                    <a:lnTo>
                      <a:pt x="1716" y="754"/>
                    </a:lnTo>
                    <a:lnTo>
                      <a:pt x="1702" y="747"/>
                    </a:lnTo>
                    <a:lnTo>
                      <a:pt x="1689" y="739"/>
                    </a:lnTo>
                    <a:lnTo>
                      <a:pt x="1676" y="730"/>
                    </a:lnTo>
                    <a:lnTo>
                      <a:pt x="1664" y="721"/>
                    </a:lnTo>
                    <a:lnTo>
                      <a:pt x="1654" y="711"/>
                    </a:lnTo>
                    <a:lnTo>
                      <a:pt x="1644" y="700"/>
                    </a:lnTo>
                    <a:lnTo>
                      <a:pt x="1387" y="375"/>
                    </a:lnTo>
                    <a:lnTo>
                      <a:pt x="1387" y="375"/>
                    </a:lnTo>
                    <a:lnTo>
                      <a:pt x="1378" y="365"/>
                    </a:lnTo>
                    <a:lnTo>
                      <a:pt x="1368" y="355"/>
                    </a:lnTo>
                    <a:lnTo>
                      <a:pt x="1356" y="346"/>
                    </a:lnTo>
                    <a:lnTo>
                      <a:pt x="1345" y="339"/>
                    </a:lnTo>
                    <a:lnTo>
                      <a:pt x="1332" y="333"/>
                    </a:lnTo>
                    <a:lnTo>
                      <a:pt x="1319" y="328"/>
                    </a:lnTo>
                    <a:lnTo>
                      <a:pt x="1306" y="325"/>
                    </a:lnTo>
                    <a:lnTo>
                      <a:pt x="1293" y="323"/>
                    </a:lnTo>
                    <a:lnTo>
                      <a:pt x="1279" y="322"/>
                    </a:lnTo>
                    <a:lnTo>
                      <a:pt x="1265" y="322"/>
                    </a:lnTo>
                    <a:lnTo>
                      <a:pt x="1252" y="324"/>
                    </a:lnTo>
                    <a:lnTo>
                      <a:pt x="1238" y="327"/>
                    </a:lnTo>
                    <a:lnTo>
                      <a:pt x="1225" y="331"/>
                    </a:lnTo>
                    <a:lnTo>
                      <a:pt x="1213" y="337"/>
                    </a:lnTo>
                    <a:lnTo>
                      <a:pt x="1200" y="344"/>
                    </a:lnTo>
                    <a:lnTo>
                      <a:pt x="1188" y="352"/>
                    </a:lnTo>
                    <a:lnTo>
                      <a:pt x="700" y="739"/>
                    </a:lnTo>
                    <a:lnTo>
                      <a:pt x="700" y="739"/>
                    </a:lnTo>
                    <a:lnTo>
                      <a:pt x="689" y="748"/>
                    </a:lnTo>
                    <a:lnTo>
                      <a:pt x="679" y="759"/>
                    </a:lnTo>
                    <a:lnTo>
                      <a:pt x="671" y="770"/>
                    </a:lnTo>
                    <a:lnTo>
                      <a:pt x="664" y="782"/>
                    </a:lnTo>
                    <a:lnTo>
                      <a:pt x="658" y="794"/>
                    </a:lnTo>
                    <a:lnTo>
                      <a:pt x="653" y="807"/>
                    </a:lnTo>
                    <a:lnTo>
                      <a:pt x="649" y="820"/>
                    </a:lnTo>
                    <a:lnTo>
                      <a:pt x="647" y="834"/>
                    </a:lnTo>
                    <a:lnTo>
                      <a:pt x="646" y="847"/>
                    </a:lnTo>
                    <a:lnTo>
                      <a:pt x="647" y="861"/>
                    </a:lnTo>
                    <a:lnTo>
                      <a:pt x="648" y="874"/>
                    </a:lnTo>
                    <a:lnTo>
                      <a:pt x="651" y="888"/>
                    </a:lnTo>
                    <a:lnTo>
                      <a:pt x="656" y="901"/>
                    </a:lnTo>
                    <a:lnTo>
                      <a:pt x="661" y="914"/>
                    </a:lnTo>
                    <a:lnTo>
                      <a:pt x="668" y="926"/>
                    </a:lnTo>
                    <a:lnTo>
                      <a:pt x="677" y="938"/>
                    </a:lnTo>
                    <a:lnTo>
                      <a:pt x="933" y="1262"/>
                    </a:lnTo>
                    <a:lnTo>
                      <a:pt x="933" y="1262"/>
                    </a:lnTo>
                    <a:lnTo>
                      <a:pt x="942" y="1274"/>
                    </a:lnTo>
                    <a:lnTo>
                      <a:pt x="950" y="1287"/>
                    </a:lnTo>
                    <a:lnTo>
                      <a:pt x="956" y="1301"/>
                    </a:lnTo>
                    <a:lnTo>
                      <a:pt x="962" y="1315"/>
                    </a:lnTo>
                    <a:lnTo>
                      <a:pt x="966" y="1330"/>
                    </a:lnTo>
                    <a:lnTo>
                      <a:pt x="970" y="1345"/>
                    </a:lnTo>
                    <a:lnTo>
                      <a:pt x="972" y="1361"/>
                    </a:lnTo>
                    <a:lnTo>
                      <a:pt x="974" y="1376"/>
                    </a:lnTo>
                    <a:lnTo>
                      <a:pt x="974" y="1392"/>
                    </a:lnTo>
                    <a:lnTo>
                      <a:pt x="973" y="1408"/>
                    </a:lnTo>
                    <a:lnTo>
                      <a:pt x="971" y="1423"/>
                    </a:lnTo>
                    <a:lnTo>
                      <a:pt x="969" y="1438"/>
                    </a:lnTo>
                    <a:lnTo>
                      <a:pt x="965" y="1453"/>
                    </a:lnTo>
                    <a:lnTo>
                      <a:pt x="960" y="1467"/>
                    </a:lnTo>
                    <a:lnTo>
                      <a:pt x="954" y="1481"/>
                    </a:lnTo>
                    <a:lnTo>
                      <a:pt x="947" y="1494"/>
                    </a:lnTo>
                    <a:lnTo>
                      <a:pt x="749" y="1901"/>
                    </a:lnTo>
                    <a:lnTo>
                      <a:pt x="749" y="1901"/>
                    </a:lnTo>
                    <a:lnTo>
                      <a:pt x="744" y="1914"/>
                    </a:lnTo>
                    <a:lnTo>
                      <a:pt x="737" y="1927"/>
                    </a:lnTo>
                    <a:lnTo>
                      <a:pt x="728" y="1940"/>
                    </a:lnTo>
                    <a:lnTo>
                      <a:pt x="719" y="1952"/>
                    </a:lnTo>
                    <a:lnTo>
                      <a:pt x="709" y="1964"/>
                    </a:lnTo>
                    <a:lnTo>
                      <a:pt x="698" y="1975"/>
                    </a:lnTo>
                    <a:lnTo>
                      <a:pt x="686" y="1985"/>
                    </a:lnTo>
                    <a:lnTo>
                      <a:pt x="673" y="1994"/>
                    </a:lnTo>
                    <a:lnTo>
                      <a:pt x="660" y="2003"/>
                    </a:lnTo>
                    <a:lnTo>
                      <a:pt x="646" y="2010"/>
                    </a:lnTo>
                    <a:lnTo>
                      <a:pt x="632" y="2017"/>
                    </a:lnTo>
                    <a:lnTo>
                      <a:pt x="617" y="2023"/>
                    </a:lnTo>
                    <a:lnTo>
                      <a:pt x="603" y="2027"/>
                    </a:lnTo>
                    <a:lnTo>
                      <a:pt x="588" y="2030"/>
                    </a:lnTo>
                    <a:lnTo>
                      <a:pt x="573" y="2032"/>
                    </a:lnTo>
                    <a:lnTo>
                      <a:pt x="558" y="2033"/>
                    </a:lnTo>
                    <a:lnTo>
                      <a:pt x="145" y="2031"/>
                    </a:lnTo>
                    <a:lnTo>
                      <a:pt x="145" y="2031"/>
                    </a:lnTo>
                    <a:lnTo>
                      <a:pt x="130" y="2032"/>
                    </a:lnTo>
                    <a:lnTo>
                      <a:pt x="116" y="2034"/>
                    </a:lnTo>
                    <a:lnTo>
                      <a:pt x="103" y="2037"/>
                    </a:lnTo>
                    <a:lnTo>
                      <a:pt x="90" y="2042"/>
                    </a:lnTo>
                    <a:lnTo>
                      <a:pt x="77" y="2048"/>
                    </a:lnTo>
                    <a:lnTo>
                      <a:pt x="65" y="2055"/>
                    </a:lnTo>
                    <a:lnTo>
                      <a:pt x="55" y="2063"/>
                    </a:lnTo>
                    <a:lnTo>
                      <a:pt x="44" y="2072"/>
                    </a:lnTo>
                    <a:lnTo>
                      <a:pt x="35" y="2083"/>
                    </a:lnTo>
                    <a:lnTo>
                      <a:pt x="27" y="2093"/>
                    </a:lnTo>
                    <a:lnTo>
                      <a:pt x="20" y="2105"/>
                    </a:lnTo>
                    <a:lnTo>
                      <a:pt x="14" y="2117"/>
                    </a:lnTo>
                    <a:lnTo>
                      <a:pt x="9" y="2130"/>
                    </a:lnTo>
                    <a:lnTo>
                      <a:pt x="5" y="2144"/>
                    </a:lnTo>
                    <a:lnTo>
                      <a:pt x="3" y="2158"/>
                    </a:lnTo>
                    <a:lnTo>
                      <a:pt x="2" y="2172"/>
                    </a:lnTo>
                    <a:lnTo>
                      <a:pt x="0" y="2797"/>
                    </a:lnTo>
                    <a:lnTo>
                      <a:pt x="0" y="2797"/>
                    </a:lnTo>
                    <a:lnTo>
                      <a:pt x="1" y="2811"/>
                    </a:lnTo>
                    <a:lnTo>
                      <a:pt x="3" y="2825"/>
                    </a:lnTo>
                    <a:lnTo>
                      <a:pt x="6" y="2839"/>
                    </a:lnTo>
                    <a:lnTo>
                      <a:pt x="11" y="2852"/>
                    </a:lnTo>
                    <a:lnTo>
                      <a:pt x="17" y="2864"/>
                    </a:lnTo>
                    <a:lnTo>
                      <a:pt x="24" y="2876"/>
                    </a:lnTo>
                    <a:lnTo>
                      <a:pt x="32" y="2887"/>
                    </a:lnTo>
                    <a:lnTo>
                      <a:pt x="41" y="2897"/>
                    </a:lnTo>
                    <a:lnTo>
                      <a:pt x="51" y="2906"/>
                    </a:lnTo>
                    <a:lnTo>
                      <a:pt x="62" y="2914"/>
                    </a:lnTo>
                    <a:lnTo>
                      <a:pt x="74" y="2921"/>
                    </a:lnTo>
                    <a:lnTo>
                      <a:pt x="86" y="2927"/>
                    </a:lnTo>
                    <a:lnTo>
                      <a:pt x="99" y="2932"/>
                    </a:lnTo>
                    <a:lnTo>
                      <a:pt x="113" y="2936"/>
                    </a:lnTo>
                    <a:lnTo>
                      <a:pt x="127" y="2938"/>
                    </a:lnTo>
                    <a:lnTo>
                      <a:pt x="141" y="2939"/>
                    </a:lnTo>
                    <a:lnTo>
                      <a:pt x="555" y="2941"/>
                    </a:lnTo>
                    <a:lnTo>
                      <a:pt x="555" y="2941"/>
                    </a:lnTo>
                    <a:lnTo>
                      <a:pt x="570" y="2941"/>
                    </a:lnTo>
                    <a:lnTo>
                      <a:pt x="584" y="2944"/>
                    </a:lnTo>
                    <a:lnTo>
                      <a:pt x="599" y="2947"/>
                    </a:lnTo>
                    <a:lnTo>
                      <a:pt x="614" y="2951"/>
                    </a:lnTo>
                    <a:lnTo>
                      <a:pt x="628" y="2957"/>
                    </a:lnTo>
                    <a:lnTo>
                      <a:pt x="642" y="2964"/>
                    </a:lnTo>
                    <a:lnTo>
                      <a:pt x="656" y="2972"/>
                    </a:lnTo>
                    <a:lnTo>
                      <a:pt x="669" y="2980"/>
                    </a:lnTo>
                    <a:lnTo>
                      <a:pt x="682" y="2990"/>
                    </a:lnTo>
                    <a:lnTo>
                      <a:pt x="694" y="3000"/>
                    </a:lnTo>
                    <a:lnTo>
                      <a:pt x="705" y="3011"/>
                    </a:lnTo>
                    <a:lnTo>
                      <a:pt x="715" y="3023"/>
                    </a:lnTo>
                    <a:lnTo>
                      <a:pt x="724" y="3035"/>
                    </a:lnTo>
                    <a:lnTo>
                      <a:pt x="732" y="3048"/>
                    </a:lnTo>
                    <a:lnTo>
                      <a:pt x="739" y="3061"/>
                    </a:lnTo>
                    <a:lnTo>
                      <a:pt x="745" y="3075"/>
                    </a:lnTo>
                    <a:lnTo>
                      <a:pt x="939" y="3482"/>
                    </a:lnTo>
                    <a:lnTo>
                      <a:pt x="939" y="3482"/>
                    </a:lnTo>
                    <a:lnTo>
                      <a:pt x="946" y="3495"/>
                    </a:lnTo>
                    <a:lnTo>
                      <a:pt x="952" y="3509"/>
                    </a:lnTo>
                    <a:lnTo>
                      <a:pt x="956" y="3523"/>
                    </a:lnTo>
                    <a:lnTo>
                      <a:pt x="960" y="3538"/>
                    </a:lnTo>
                    <a:lnTo>
                      <a:pt x="963" y="3553"/>
                    </a:lnTo>
                    <a:lnTo>
                      <a:pt x="964" y="3569"/>
                    </a:lnTo>
                    <a:lnTo>
                      <a:pt x="965" y="3585"/>
                    </a:lnTo>
                    <a:lnTo>
                      <a:pt x="965" y="3600"/>
                    </a:lnTo>
                    <a:lnTo>
                      <a:pt x="963" y="3616"/>
                    </a:lnTo>
                    <a:lnTo>
                      <a:pt x="960" y="3632"/>
                    </a:lnTo>
                    <a:lnTo>
                      <a:pt x="957" y="3647"/>
                    </a:lnTo>
                    <a:lnTo>
                      <a:pt x="952" y="3661"/>
                    </a:lnTo>
                    <a:lnTo>
                      <a:pt x="947" y="3676"/>
                    </a:lnTo>
                    <a:lnTo>
                      <a:pt x="940" y="3689"/>
                    </a:lnTo>
                    <a:lnTo>
                      <a:pt x="932" y="3702"/>
                    </a:lnTo>
                    <a:lnTo>
                      <a:pt x="924" y="3714"/>
                    </a:lnTo>
                    <a:lnTo>
                      <a:pt x="664" y="4036"/>
                    </a:lnTo>
                    <a:lnTo>
                      <a:pt x="664" y="4036"/>
                    </a:lnTo>
                    <a:lnTo>
                      <a:pt x="656" y="4048"/>
                    </a:lnTo>
                    <a:lnTo>
                      <a:pt x="649" y="4060"/>
                    </a:lnTo>
                    <a:lnTo>
                      <a:pt x="643" y="4073"/>
                    </a:lnTo>
                    <a:lnTo>
                      <a:pt x="639" y="4086"/>
                    </a:lnTo>
                    <a:lnTo>
                      <a:pt x="636" y="4100"/>
                    </a:lnTo>
                    <a:lnTo>
                      <a:pt x="634" y="4113"/>
                    </a:lnTo>
                    <a:lnTo>
                      <a:pt x="633" y="4127"/>
                    </a:lnTo>
                    <a:lnTo>
                      <a:pt x="634" y="4141"/>
                    </a:lnTo>
                    <a:lnTo>
                      <a:pt x="636" y="4154"/>
                    </a:lnTo>
                    <a:lnTo>
                      <a:pt x="640" y="4167"/>
                    </a:lnTo>
                    <a:lnTo>
                      <a:pt x="644" y="4180"/>
                    </a:lnTo>
                    <a:lnTo>
                      <a:pt x="650" y="4192"/>
                    </a:lnTo>
                    <a:lnTo>
                      <a:pt x="657" y="4204"/>
                    </a:lnTo>
                    <a:lnTo>
                      <a:pt x="666" y="4216"/>
                    </a:lnTo>
                    <a:lnTo>
                      <a:pt x="675" y="4226"/>
                    </a:lnTo>
                    <a:lnTo>
                      <a:pt x="686" y="4236"/>
                    </a:lnTo>
                    <a:lnTo>
                      <a:pt x="1172" y="4626"/>
                    </a:lnTo>
                    <a:lnTo>
                      <a:pt x="1172" y="4626"/>
                    </a:lnTo>
                    <a:lnTo>
                      <a:pt x="1183" y="4634"/>
                    </a:lnTo>
                    <a:lnTo>
                      <a:pt x="1196" y="4642"/>
                    </a:lnTo>
                    <a:lnTo>
                      <a:pt x="1208" y="4647"/>
                    </a:lnTo>
                    <a:lnTo>
                      <a:pt x="1221" y="4652"/>
                    </a:lnTo>
                    <a:lnTo>
                      <a:pt x="1235" y="4655"/>
                    </a:lnTo>
                    <a:lnTo>
                      <a:pt x="1248" y="4657"/>
                    </a:lnTo>
                    <a:lnTo>
                      <a:pt x="1262" y="4657"/>
                    </a:lnTo>
                    <a:lnTo>
                      <a:pt x="1276" y="4656"/>
                    </a:lnTo>
                    <a:lnTo>
                      <a:pt x="1289" y="4654"/>
                    </a:lnTo>
                    <a:lnTo>
                      <a:pt x="1302" y="4651"/>
                    </a:lnTo>
                    <a:lnTo>
                      <a:pt x="1315" y="4646"/>
                    </a:lnTo>
                    <a:lnTo>
                      <a:pt x="1328" y="4640"/>
                    </a:lnTo>
                    <a:lnTo>
                      <a:pt x="1339" y="4633"/>
                    </a:lnTo>
                    <a:lnTo>
                      <a:pt x="1351" y="4625"/>
                    </a:lnTo>
                    <a:lnTo>
                      <a:pt x="1361" y="4615"/>
                    </a:lnTo>
                    <a:lnTo>
                      <a:pt x="1371" y="4604"/>
                    </a:lnTo>
                    <a:lnTo>
                      <a:pt x="1630" y="4283"/>
                    </a:lnTo>
                    <a:lnTo>
                      <a:pt x="1630" y="4283"/>
                    </a:lnTo>
                    <a:lnTo>
                      <a:pt x="1639" y="4272"/>
                    </a:lnTo>
                    <a:lnTo>
                      <a:pt x="1650" y="4262"/>
                    </a:lnTo>
                    <a:lnTo>
                      <a:pt x="1662" y="4252"/>
                    </a:lnTo>
                    <a:lnTo>
                      <a:pt x="1675" y="4244"/>
                    </a:lnTo>
                    <a:lnTo>
                      <a:pt x="1688" y="4236"/>
                    </a:lnTo>
                    <a:lnTo>
                      <a:pt x="1702" y="4229"/>
                    </a:lnTo>
                    <a:lnTo>
                      <a:pt x="1717" y="4223"/>
                    </a:lnTo>
                    <a:lnTo>
                      <a:pt x="1732" y="4219"/>
                    </a:lnTo>
                    <a:lnTo>
                      <a:pt x="1747" y="4215"/>
                    </a:lnTo>
                    <a:lnTo>
                      <a:pt x="1762" y="4212"/>
                    </a:lnTo>
                    <a:lnTo>
                      <a:pt x="1778" y="4210"/>
                    </a:lnTo>
                    <a:lnTo>
                      <a:pt x="1793" y="4210"/>
                    </a:lnTo>
                    <a:lnTo>
                      <a:pt x="1809" y="4210"/>
                    </a:lnTo>
                    <a:lnTo>
                      <a:pt x="1824" y="4212"/>
                    </a:lnTo>
                    <a:lnTo>
                      <a:pt x="1838" y="4215"/>
                    </a:lnTo>
                    <a:lnTo>
                      <a:pt x="1852" y="4219"/>
                    </a:lnTo>
                    <a:lnTo>
                      <a:pt x="2295" y="4319"/>
                    </a:lnTo>
                    <a:lnTo>
                      <a:pt x="2295" y="4319"/>
                    </a:lnTo>
                    <a:lnTo>
                      <a:pt x="2309" y="4322"/>
                    </a:lnTo>
                    <a:lnTo>
                      <a:pt x="2324" y="4326"/>
                    </a:lnTo>
                    <a:lnTo>
                      <a:pt x="2338" y="4331"/>
                    </a:lnTo>
                    <a:lnTo>
                      <a:pt x="2352" y="4337"/>
                    </a:lnTo>
                    <a:lnTo>
                      <a:pt x="2366" y="4345"/>
                    </a:lnTo>
                    <a:lnTo>
                      <a:pt x="2379" y="4353"/>
                    </a:lnTo>
                    <a:lnTo>
                      <a:pt x="2391" y="4363"/>
                    </a:lnTo>
                    <a:lnTo>
                      <a:pt x="2403" y="4373"/>
                    </a:lnTo>
                    <a:lnTo>
                      <a:pt x="2415" y="4384"/>
                    </a:lnTo>
                    <a:lnTo>
                      <a:pt x="2425" y="4396"/>
                    </a:lnTo>
                    <a:lnTo>
                      <a:pt x="2435" y="4408"/>
                    </a:lnTo>
                    <a:lnTo>
                      <a:pt x="2443" y="4421"/>
                    </a:lnTo>
                    <a:lnTo>
                      <a:pt x="2451" y="4434"/>
                    </a:lnTo>
                    <a:lnTo>
                      <a:pt x="2457" y="4448"/>
                    </a:lnTo>
                    <a:lnTo>
                      <a:pt x="2464" y="4462"/>
                    </a:lnTo>
                    <a:lnTo>
                      <a:pt x="2468" y="4476"/>
                    </a:lnTo>
                    <a:lnTo>
                      <a:pt x="2558" y="4880"/>
                    </a:lnTo>
                    <a:lnTo>
                      <a:pt x="2558" y="4880"/>
                    </a:lnTo>
                    <a:lnTo>
                      <a:pt x="2562" y="4894"/>
                    </a:lnTo>
                    <a:lnTo>
                      <a:pt x="2567" y="4907"/>
                    </a:lnTo>
                    <a:lnTo>
                      <a:pt x="2574" y="4919"/>
                    </a:lnTo>
                    <a:lnTo>
                      <a:pt x="2581" y="4931"/>
                    </a:lnTo>
                    <a:lnTo>
                      <a:pt x="2590" y="4942"/>
                    </a:lnTo>
                    <a:lnTo>
                      <a:pt x="2600" y="4952"/>
                    </a:lnTo>
                    <a:lnTo>
                      <a:pt x="2610" y="4960"/>
                    </a:lnTo>
                    <a:lnTo>
                      <a:pt x="2621" y="4968"/>
                    </a:lnTo>
                    <a:lnTo>
                      <a:pt x="2633" y="4975"/>
                    </a:lnTo>
                    <a:lnTo>
                      <a:pt x="2645" y="4981"/>
                    </a:lnTo>
                    <a:lnTo>
                      <a:pt x="2658" y="4985"/>
                    </a:lnTo>
                    <a:lnTo>
                      <a:pt x="2672" y="4988"/>
                    </a:lnTo>
                    <a:lnTo>
                      <a:pt x="2685" y="4990"/>
                    </a:lnTo>
                    <a:lnTo>
                      <a:pt x="2699" y="4990"/>
                    </a:lnTo>
                    <a:lnTo>
                      <a:pt x="2714" y="4989"/>
                    </a:lnTo>
                    <a:lnTo>
                      <a:pt x="2728" y="4987"/>
                    </a:lnTo>
                    <a:lnTo>
                      <a:pt x="3336" y="4850"/>
                    </a:lnTo>
                    <a:lnTo>
                      <a:pt x="3336" y="4850"/>
                    </a:lnTo>
                    <a:lnTo>
                      <a:pt x="3350" y="4846"/>
                    </a:lnTo>
                    <a:lnTo>
                      <a:pt x="3363" y="4841"/>
                    </a:lnTo>
                    <a:lnTo>
                      <a:pt x="3376" y="4835"/>
                    </a:lnTo>
                    <a:lnTo>
                      <a:pt x="3387" y="4827"/>
                    </a:lnTo>
                    <a:lnTo>
                      <a:pt x="3398" y="4819"/>
                    </a:lnTo>
                    <a:lnTo>
                      <a:pt x="3408" y="4809"/>
                    </a:lnTo>
                    <a:lnTo>
                      <a:pt x="3417" y="4799"/>
                    </a:lnTo>
                    <a:lnTo>
                      <a:pt x="3425" y="4787"/>
                    </a:lnTo>
                    <a:lnTo>
                      <a:pt x="3431" y="4776"/>
                    </a:lnTo>
                    <a:lnTo>
                      <a:pt x="3437" y="4763"/>
                    </a:lnTo>
                    <a:lnTo>
                      <a:pt x="3441" y="4750"/>
                    </a:lnTo>
                    <a:lnTo>
                      <a:pt x="3444" y="4737"/>
                    </a:lnTo>
                    <a:lnTo>
                      <a:pt x="3446" y="4723"/>
                    </a:lnTo>
                    <a:lnTo>
                      <a:pt x="3447" y="4709"/>
                    </a:lnTo>
                    <a:lnTo>
                      <a:pt x="3446" y="4695"/>
                    </a:lnTo>
                    <a:lnTo>
                      <a:pt x="3443" y="4681"/>
                    </a:lnTo>
                    <a:lnTo>
                      <a:pt x="3352" y="4278"/>
                    </a:lnTo>
                    <a:lnTo>
                      <a:pt x="3352" y="4278"/>
                    </a:lnTo>
                    <a:lnTo>
                      <a:pt x="3350" y="4263"/>
                    </a:lnTo>
                    <a:lnTo>
                      <a:pt x="3349" y="4248"/>
                    </a:lnTo>
                    <a:lnTo>
                      <a:pt x="3349" y="4233"/>
                    </a:lnTo>
                    <a:lnTo>
                      <a:pt x="3350" y="4218"/>
                    </a:lnTo>
                    <a:lnTo>
                      <a:pt x="3352" y="4203"/>
                    </a:lnTo>
                    <a:lnTo>
                      <a:pt x="3356" y="4187"/>
                    </a:lnTo>
                    <a:lnTo>
                      <a:pt x="3360" y="4172"/>
                    </a:lnTo>
                    <a:lnTo>
                      <a:pt x="3366" y="4158"/>
                    </a:lnTo>
                    <a:lnTo>
                      <a:pt x="3372" y="4143"/>
                    </a:lnTo>
                    <a:lnTo>
                      <a:pt x="3379" y="4129"/>
                    </a:lnTo>
                    <a:lnTo>
                      <a:pt x="3388" y="4116"/>
                    </a:lnTo>
                    <a:lnTo>
                      <a:pt x="3397" y="4103"/>
                    </a:lnTo>
                    <a:lnTo>
                      <a:pt x="3407" y="4092"/>
                    </a:lnTo>
                    <a:lnTo>
                      <a:pt x="3417" y="4081"/>
                    </a:lnTo>
                    <a:lnTo>
                      <a:pt x="3429" y="4071"/>
                    </a:lnTo>
                    <a:lnTo>
                      <a:pt x="3441" y="4063"/>
                    </a:lnTo>
                    <a:lnTo>
                      <a:pt x="3795" y="3783"/>
                    </a:lnTo>
                    <a:lnTo>
                      <a:pt x="3795" y="3783"/>
                    </a:lnTo>
                    <a:lnTo>
                      <a:pt x="3806" y="3773"/>
                    </a:lnTo>
                    <a:lnTo>
                      <a:pt x="3818" y="3764"/>
                    </a:lnTo>
                    <a:lnTo>
                      <a:pt x="3831" y="3756"/>
                    </a:lnTo>
                    <a:lnTo>
                      <a:pt x="3845" y="3749"/>
                    </a:lnTo>
                    <a:lnTo>
                      <a:pt x="3859" y="3743"/>
                    </a:lnTo>
                    <a:lnTo>
                      <a:pt x="3874" y="3738"/>
                    </a:lnTo>
                    <a:lnTo>
                      <a:pt x="3889" y="3734"/>
                    </a:lnTo>
                    <a:lnTo>
                      <a:pt x="3905" y="3731"/>
                    </a:lnTo>
                    <a:lnTo>
                      <a:pt x="3920" y="3729"/>
                    </a:lnTo>
                    <a:lnTo>
                      <a:pt x="3936" y="3728"/>
                    </a:lnTo>
                    <a:lnTo>
                      <a:pt x="3952" y="3728"/>
                    </a:lnTo>
                    <a:lnTo>
                      <a:pt x="3967" y="3730"/>
                    </a:lnTo>
                    <a:lnTo>
                      <a:pt x="3982" y="3732"/>
                    </a:lnTo>
                    <a:lnTo>
                      <a:pt x="3997" y="3735"/>
                    </a:lnTo>
                    <a:lnTo>
                      <a:pt x="4011" y="3740"/>
                    </a:lnTo>
                    <a:lnTo>
                      <a:pt x="4024" y="3746"/>
                    </a:lnTo>
                    <a:lnTo>
                      <a:pt x="4396" y="3926"/>
                    </a:lnTo>
                    <a:lnTo>
                      <a:pt x="4396" y="3926"/>
                    </a:lnTo>
                    <a:lnTo>
                      <a:pt x="4409" y="3932"/>
                    </a:lnTo>
                    <a:lnTo>
                      <a:pt x="4423" y="3936"/>
                    </a:lnTo>
                    <a:lnTo>
                      <a:pt x="4436" y="3939"/>
                    </a:lnTo>
                    <a:lnTo>
                      <a:pt x="4450" y="3940"/>
                    </a:lnTo>
                    <a:lnTo>
                      <a:pt x="4464" y="3940"/>
                    </a:lnTo>
                    <a:lnTo>
                      <a:pt x="4477" y="3939"/>
                    </a:lnTo>
                    <a:lnTo>
                      <a:pt x="4491" y="3936"/>
                    </a:lnTo>
                    <a:lnTo>
                      <a:pt x="4504" y="3932"/>
                    </a:lnTo>
                    <a:lnTo>
                      <a:pt x="4516" y="3927"/>
                    </a:lnTo>
                    <a:lnTo>
                      <a:pt x="4529" y="3921"/>
                    </a:lnTo>
                    <a:lnTo>
                      <a:pt x="4540" y="3914"/>
                    </a:lnTo>
                    <a:lnTo>
                      <a:pt x="4551" y="3905"/>
                    </a:lnTo>
                    <a:lnTo>
                      <a:pt x="4561" y="3896"/>
                    </a:lnTo>
                    <a:lnTo>
                      <a:pt x="4570" y="3885"/>
                    </a:lnTo>
                    <a:lnTo>
                      <a:pt x="4578" y="3873"/>
                    </a:lnTo>
                    <a:lnTo>
                      <a:pt x="4585" y="3860"/>
                    </a:lnTo>
                    <a:lnTo>
                      <a:pt x="4857" y="3300"/>
                    </a:lnTo>
                    <a:lnTo>
                      <a:pt x="4857" y="3300"/>
                    </a:lnTo>
                    <a:lnTo>
                      <a:pt x="4863" y="3286"/>
                    </a:lnTo>
                    <a:lnTo>
                      <a:pt x="4867" y="3273"/>
                    </a:lnTo>
                    <a:lnTo>
                      <a:pt x="4870" y="3259"/>
                    </a:lnTo>
                    <a:lnTo>
                      <a:pt x="4871" y="3245"/>
                    </a:lnTo>
                    <a:lnTo>
                      <a:pt x="4872" y="3231"/>
                    </a:lnTo>
                    <a:lnTo>
                      <a:pt x="4870" y="3218"/>
                    </a:lnTo>
                    <a:lnTo>
                      <a:pt x="4868" y="3204"/>
                    </a:lnTo>
                    <a:lnTo>
                      <a:pt x="4864" y="3191"/>
                    </a:lnTo>
                    <a:lnTo>
                      <a:pt x="4859" y="3179"/>
                    </a:lnTo>
                    <a:lnTo>
                      <a:pt x="4853" y="3167"/>
                    </a:lnTo>
                    <a:lnTo>
                      <a:pt x="4845" y="3155"/>
                    </a:lnTo>
                    <a:lnTo>
                      <a:pt x="4837" y="3144"/>
                    </a:lnTo>
                    <a:lnTo>
                      <a:pt x="4827" y="3134"/>
                    </a:lnTo>
                    <a:lnTo>
                      <a:pt x="4816" y="3125"/>
                    </a:lnTo>
                    <a:lnTo>
                      <a:pt x="4805" y="3117"/>
                    </a:lnTo>
                    <a:lnTo>
                      <a:pt x="4792" y="3110"/>
                    </a:lnTo>
                    <a:lnTo>
                      <a:pt x="4421" y="2930"/>
                    </a:lnTo>
                    <a:lnTo>
                      <a:pt x="4421" y="2930"/>
                    </a:lnTo>
                    <a:lnTo>
                      <a:pt x="4408" y="2923"/>
                    </a:lnTo>
                    <a:lnTo>
                      <a:pt x="4396" y="2915"/>
                    </a:lnTo>
                    <a:lnTo>
                      <a:pt x="4384" y="2905"/>
                    </a:lnTo>
                    <a:lnTo>
                      <a:pt x="4373" y="2895"/>
                    </a:lnTo>
                    <a:lnTo>
                      <a:pt x="4363" y="2884"/>
                    </a:lnTo>
                    <a:lnTo>
                      <a:pt x="4354" y="2872"/>
                    </a:lnTo>
                    <a:lnTo>
                      <a:pt x="4345" y="2859"/>
                    </a:lnTo>
                    <a:lnTo>
                      <a:pt x="4338" y="2845"/>
                    </a:lnTo>
                    <a:lnTo>
                      <a:pt x="4331" y="2831"/>
                    </a:lnTo>
                    <a:lnTo>
                      <a:pt x="4325" y="2817"/>
                    </a:lnTo>
                    <a:lnTo>
                      <a:pt x="4321" y="2802"/>
                    </a:lnTo>
                    <a:lnTo>
                      <a:pt x="4317" y="2787"/>
                    </a:lnTo>
                    <a:lnTo>
                      <a:pt x="4315" y="2772"/>
                    </a:lnTo>
                    <a:lnTo>
                      <a:pt x="4314" y="2758"/>
                    </a:lnTo>
                    <a:lnTo>
                      <a:pt x="4314" y="2743"/>
                    </a:lnTo>
                    <a:lnTo>
                      <a:pt x="4316" y="2728"/>
                    </a:lnTo>
                    <a:lnTo>
                      <a:pt x="4316" y="2728"/>
                    </a:lnTo>
                    <a:lnTo>
                      <a:pt x="4318" y="2710"/>
                    </a:lnTo>
                    <a:lnTo>
                      <a:pt x="4323" y="2662"/>
                    </a:lnTo>
                    <a:lnTo>
                      <a:pt x="4326" y="2629"/>
                    </a:lnTo>
                    <a:lnTo>
                      <a:pt x="4329" y="2590"/>
                    </a:lnTo>
                    <a:lnTo>
                      <a:pt x="4331" y="2548"/>
                    </a:lnTo>
                    <a:lnTo>
                      <a:pt x="4332" y="2502"/>
                    </a:lnTo>
                    <a:lnTo>
                      <a:pt x="4332" y="2502"/>
                    </a:lnTo>
                    <a:close/>
                    <a:moveTo>
                      <a:pt x="3788" y="2500"/>
                    </a:moveTo>
                    <a:lnTo>
                      <a:pt x="3788" y="2500"/>
                    </a:lnTo>
                    <a:lnTo>
                      <a:pt x="3787" y="2533"/>
                    </a:lnTo>
                    <a:lnTo>
                      <a:pt x="3786" y="2567"/>
                    </a:lnTo>
                    <a:lnTo>
                      <a:pt x="3784" y="2600"/>
                    </a:lnTo>
                    <a:lnTo>
                      <a:pt x="3780" y="2633"/>
                    </a:lnTo>
                    <a:lnTo>
                      <a:pt x="3777" y="2666"/>
                    </a:lnTo>
                    <a:lnTo>
                      <a:pt x="3772" y="2698"/>
                    </a:lnTo>
                    <a:lnTo>
                      <a:pt x="3767" y="2730"/>
                    </a:lnTo>
                    <a:lnTo>
                      <a:pt x="3760" y="2762"/>
                    </a:lnTo>
                    <a:lnTo>
                      <a:pt x="3753" y="2794"/>
                    </a:lnTo>
                    <a:lnTo>
                      <a:pt x="3746" y="2825"/>
                    </a:lnTo>
                    <a:lnTo>
                      <a:pt x="3737" y="2856"/>
                    </a:lnTo>
                    <a:lnTo>
                      <a:pt x="3728" y="2887"/>
                    </a:lnTo>
                    <a:lnTo>
                      <a:pt x="3718" y="2917"/>
                    </a:lnTo>
                    <a:lnTo>
                      <a:pt x="3707" y="2947"/>
                    </a:lnTo>
                    <a:lnTo>
                      <a:pt x="3696" y="2977"/>
                    </a:lnTo>
                    <a:lnTo>
                      <a:pt x="3684" y="3006"/>
                    </a:lnTo>
                    <a:lnTo>
                      <a:pt x="3671" y="3035"/>
                    </a:lnTo>
                    <a:lnTo>
                      <a:pt x="3657" y="3064"/>
                    </a:lnTo>
                    <a:lnTo>
                      <a:pt x="3643" y="3092"/>
                    </a:lnTo>
                    <a:lnTo>
                      <a:pt x="3628" y="3120"/>
                    </a:lnTo>
                    <a:lnTo>
                      <a:pt x="3613" y="3147"/>
                    </a:lnTo>
                    <a:lnTo>
                      <a:pt x="3597" y="3174"/>
                    </a:lnTo>
                    <a:lnTo>
                      <a:pt x="3580" y="3201"/>
                    </a:lnTo>
                    <a:lnTo>
                      <a:pt x="3563" y="3227"/>
                    </a:lnTo>
                    <a:lnTo>
                      <a:pt x="3545" y="3252"/>
                    </a:lnTo>
                    <a:lnTo>
                      <a:pt x="3526" y="3278"/>
                    </a:lnTo>
                    <a:lnTo>
                      <a:pt x="3507" y="3302"/>
                    </a:lnTo>
                    <a:lnTo>
                      <a:pt x="3487" y="3327"/>
                    </a:lnTo>
                    <a:lnTo>
                      <a:pt x="3467" y="3350"/>
                    </a:lnTo>
                    <a:lnTo>
                      <a:pt x="3446" y="3374"/>
                    </a:lnTo>
                    <a:lnTo>
                      <a:pt x="3425" y="3396"/>
                    </a:lnTo>
                    <a:lnTo>
                      <a:pt x="3403" y="3419"/>
                    </a:lnTo>
                    <a:lnTo>
                      <a:pt x="3381" y="3440"/>
                    </a:lnTo>
                    <a:lnTo>
                      <a:pt x="3358" y="3462"/>
                    </a:lnTo>
                    <a:lnTo>
                      <a:pt x="3334" y="3482"/>
                    </a:lnTo>
                    <a:lnTo>
                      <a:pt x="3310" y="3502"/>
                    </a:lnTo>
                    <a:lnTo>
                      <a:pt x="3286" y="3522"/>
                    </a:lnTo>
                    <a:lnTo>
                      <a:pt x="3261" y="3541"/>
                    </a:lnTo>
                    <a:lnTo>
                      <a:pt x="3236" y="3559"/>
                    </a:lnTo>
                    <a:lnTo>
                      <a:pt x="3210" y="3577"/>
                    </a:lnTo>
                    <a:lnTo>
                      <a:pt x="3184" y="3594"/>
                    </a:lnTo>
                    <a:lnTo>
                      <a:pt x="3157" y="3611"/>
                    </a:lnTo>
                    <a:lnTo>
                      <a:pt x="3130" y="3626"/>
                    </a:lnTo>
                    <a:lnTo>
                      <a:pt x="3102" y="3642"/>
                    </a:lnTo>
                    <a:lnTo>
                      <a:pt x="3074" y="3656"/>
                    </a:lnTo>
                    <a:lnTo>
                      <a:pt x="3046" y="3670"/>
                    </a:lnTo>
                    <a:lnTo>
                      <a:pt x="3017" y="3683"/>
                    </a:lnTo>
                    <a:lnTo>
                      <a:pt x="2988" y="3696"/>
                    </a:lnTo>
                    <a:lnTo>
                      <a:pt x="2959" y="3708"/>
                    </a:lnTo>
                    <a:lnTo>
                      <a:pt x="2929" y="3719"/>
                    </a:lnTo>
                    <a:lnTo>
                      <a:pt x="2899" y="3730"/>
                    </a:lnTo>
                    <a:lnTo>
                      <a:pt x="2868" y="3739"/>
                    </a:lnTo>
                    <a:lnTo>
                      <a:pt x="2838" y="3748"/>
                    </a:lnTo>
                    <a:lnTo>
                      <a:pt x="2807" y="3757"/>
                    </a:lnTo>
                    <a:lnTo>
                      <a:pt x="2775" y="3764"/>
                    </a:lnTo>
                    <a:lnTo>
                      <a:pt x="2744" y="3771"/>
                    </a:lnTo>
                    <a:lnTo>
                      <a:pt x="2712" y="3777"/>
                    </a:lnTo>
                    <a:lnTo>
                      <a:pt x="2679" y="3782"/>
                    </a:lnTo>
                    <a:lnTo>
                      <a:pt x="2647" y="3787"/>
                    </a:lnTo>
                    <a:lnTo>
                      <a:pt x="2614" y="3790"/>
                    </a:lnTo>
                    <a:lnTo>
                      <a:pt x="2581" y="3793"/>
                    </a:lnTo>
                    <a:lnTo>
                      <a:pt x="2548" y="3795"/>
                    </a:lnTo>
                    <a:lnTo>
                      <a:pt x="2515" y="3796"/>
                    </a:lnTo>
                    <a:lnTo>
                      <a:pt x="2481" y="3796"/>
                    </a:lnTo>
                    <a:lnTo>
                      <a:pt x="2481" y="3796"/>
                    </a:lnTo>
                    <a:lnTo>
                      <a:pt x="2446" y="3796"/>
                    </a:lnTo>
                    <a:lnTo>
                      <a:pt x="2413" y="3794"/>
                    </a:lnTo>
                    <a:lnTo>
                      <a:pt x="2380" y="3792"/>
                    </a:lnTo>
                    <a:lnTo>
                      <a:pt x="2347" y="3789"/>
                    </a:lnTo>
                    <a:lnTo>
                      <a:pt x="2314" y="3785"/>
                    </a:lnTo>
                    <a:lnTo>
                      <a:pt x="2282" y="3781"/>
                    </a:lnTo>
                    <a:lnTo>
                      <a:pt x="2250" y="3775"/>
                    </a:lnTo>
                    <a:lnTo>
                      <a:pt x="2218" y="3769"/>
                    </a:lnTo>
                    <a:lnTo>
                      <a:pt x="2186" y="3762"/>
                    </a:lnTo>
                    <a:lnTo>
                      <a:pt x="2155" y="3754"/>
                    </a:lnTo>
                    <a:lnTo>
                      <a:pt x="2124" y="3746"/>
                    </a:lnTo>
                    <a:lnTo>
                      <a:pt x="2093" y="3736"/>
                    </a:lnTo>
                    <a:lnTo>
                      <a:pt x="2063" y="3726"/>
                    </a:lnTo>
                    <a:lnTo>
                      <a:pt x="2033" y="3716"/>
                    </a:lnTo>
                    <a:lnTo>
                      <a:pt x="2003" y="3704"/>
                    </a:lnTo>
                    <a:lnTo>
                      <a:pt x="1974" y="3692"/>
                    </a:lnTo>
                    <a:lnTo>
                      <a:pt x="1945" y="3679"/>
                    </a:lnTo>
                    <a:lnTo>
                      <a:pt x="1916" y="3666"/>
                    </a:lnTo>
                    <a:lnTo>
                      <a:pt x="1888" y="3652"/>
                    </a:lnTo>
                    <a:lnTo>
                      <a:pt x="1860" y="3637"/>
                    </a:lnTo>
                    <a:lnTo>
                      <a:pt x="1833" y="3621"/>
                    </a:lnTo>
                    <a:lnTo>
                      <a:pt x="1806" y="3605"/>
                    </a:lnTo>
                    <a:lnTo>
                      <a:pt x="1779" y="3589"/>
                    </a:lnTo>
                    <a:lnTo>
                      <a:pt x="1753" y="3571"/>
                    </a:lnTo>
                    <a:lnTo>
                      <a:pt x="1728" y="3553"/>
                    </a:lnTo>
                    <a:lnTo>
                      <a:pt x="1702" y="3535"/>
                    </a:lnTo>
                    <a:lnTo>
                      <a:pt x="1678" y="3516"/>
                    </a:lnTo>
                    <a:lnTo>
                      <a:pt x="1653" y="3496"/>
                    </a:lnTo>
                    <a:lnTo>
                      <a:pt x="1630" y="3476"/>
                    </a:lnTo>
                    <a:lnTo>
                      <a:pt x="1606" y="3455"/>
                    </a:lnTo>
                    <a:lnTo>
                      <a:pt x="1584" y="3433"/>
                    </a:lnTo>
                    <a:lnTo>
                      <a:pt x="1561" y="3412"/>
                    </a:lnTo>
                    <a:lnTo>
                      <a:pt x="1540" y="3389"/>
                    </a:lnTo>
                    <a:lnTo>
                      <a:pt x="1518" y="3366"/>
                    </a:lnTo>
                    <a:lnTo>
                      <a:pt x="1498" y="3343"/>
                    </a:lnTo>
                    <a:lnTo>
                      <a:pt x="1478" y="3319"/>
                    </a:lnTo>
                    <a:lnTo>
                      <a:pt x="1458" y="3294"/>
                    </a:lnTo>
                    <a:lnTo>
                      <a:pt x="1439" y="3269"/>
                    </a:lnTo>
                    <a:lnTo>
                      <a:pt x="1421" y="3244"/>
                    </a:lnTo>
                    <a:lnTo>
                      <a:pt x="1403" y="3218"/>
                    </a:lnTo>
                    <a:lnTo>
                      <a:pt x="1386" y="3192"/>
                    </a:lnTo>
                    <a:lnTo>
                      <a:pt x="1370" y="3165"/>
                    </a:lnTo>
                    <a:lnTo>
                      <a:pt x="1354" y="3138"/>
                    </a:lnTo>
                    <a:lnTo>
                      <a:pt x="1338" y="3111"/>
                    </a:lnTo>
                    <a:lnTo>
                      <a:pt x="1324" y="3083"/>
                    </a:lnTo>
                    <a:lnTo>
                      <a:pt x="1310" y="3054"/>
                    </a:lnTo>
                    <a:lnTo>
                      <a:pt x="1297" y="3026"/>
                    </a:lnTo>
                    <a:lnTo>
                      <a:pt x="1284" y="2997"/>
                    </a:lnTo>
                    <a:lnTo>
                      <a:pt x="1272" y="2967"/>
                    </a:lnTo>
                    <a:lnTo>
                      <a:pt x="1261" y="2937"/>
                    </a:lnTo>
                    <a:lnTo>
                      <a:pt x="1250" y="2907"/>
                    </a:lnTo>
                    <a:lnTo>
                      <a:pt x="1241" y="2877"/>
                    </a:lnTo>
                    <a:lnTo>
                      <a:pt x="1232" y="2846"/>
                    </a:lnTo>
                    <a:lnTo>
                      <a:pt x="1223" y="2815"/>
                    </a:lnTo>
                    <a:lnTo>
                      <a:pt x="1216" y="2784"/>
                    </a:lnTo>
                    <a:lnTo>
                      <a:pt x="1209" y="2752"/>
                    </a:lnTo>
                    <a:lnTo>
                      <a:pt x="1203" y="2720"/>
                    </a:lnTo>
                    <a:lnTo>
                      <a:pt x="1198" y="2688"/>
                    </a:lnTo>
                    <a:lnTo>
                      <a:pt x="1194" y="2655"/>
                    </a:lnTo>
                    <a:lnTo>
                      <a:pt x="1190" y="2623"/>
                    </a:lnTo>
                    <a:lnTo>
                      <a:pt x="1187" y="2590"/>
                    </a:lnTo>
                    <a:lnTo>
                      <a:pt x="1185" y="2557"/>
                    </a:lnTo>
                    <a:lnTo>
                      <a:pt x="1184" y="2523"/>
                    </a:lnTo>
                    <a:lnTo>
                      <a:pt x="1184" y="2490"/>
                    </a:lnTo>
                    <a:lnTo>
                      <a:pt x="1184" y="2490"/>
                    </a:lnTo>
                    <a:lnTo>
                      <a:pt x="1184" y="2455"/>
                    </a:lnTo>
                    <a:lnTo>
                      <a:pt x="1186" y="2422"/>
                    </a:lnTo>
                    <a:lnTo>
                      <a:pt x="1188" y="2388"/>
                    </a:lnTo>
                    <a:lnTo>
                      <a:pt x="1191" y="2356"/>
                    </a:lnTo>
                    <a:lnTo>
                      <a:pt x="1195" y="2323"/>
                    </a:lnTo>
                    <a:lnTo>
                      <a:pt x="1199" y="2290"/>
                    </a:lnTo>
                    <a:lnTo>
                      <a:pt x="1205" y="2258"/>
                    </a:lnTo>
                    <a:lnTo>
                      <a:pt x="1211" y="2226"/>
                    </a:lnTo>
                    <a:lnTo>
                      <a:pt x="1218" y="2195"/>
                    </a:lnTo>
                    <a:lnTo>
                      <a:pt x="1226" y="2163"/>
                    </a:lnTo>
                    <a:lnTo>
                      <a:pt x="1234" y="2132"/>
                    </a:lnTo>
                    <a:lnTo>
                      <a:pt x="1244" y="2102"/>
                    </a:lnTo>
                    <a:lnTo>
                      <a:pt x="1254" y="2071"/>
                    </a:lnTo>
                    <a:lnTo>
                      <a:pt x="1264" y="2041"/>
                    </a:lnTo>
                    <a:lnTo>
                      <a:pt x="1276" y="2012"/>
                    </a:lnTo>
                    <a:lnTo>
                      <a:pt x="1288" y="1982"/>
                    </a:lnTo>
                    <a:lnTo>
                      <a:pt x="1301" y="1953"/>
                    </a:lnTo>
                    <a:lnTo>
                      <a:pt x="1314" y="1925"/>
                    </a:lnTo>
                    <a:lnTo>
                      <a:pt x="1328" y="1897"/>
                    </a:lnTo>
                    <a:lnTo>
                      <a:pt x="1343" y="1869"/>
                    </a:lnTo>
                    <a:lnTo>
                      <a:pt x="1359" y="1841"/>
                    </a:lnTo>
                    <a:lnTo>
                      <a:pt x="1375" y="1814"/>
                    </a:lnTo>
                    <a:lnTo>
                      <a:pt x="1391" y="1788"/>
                    </a:lnTo>
                    <a:lnTo>
                      <a:pt x="1409" y="1762"/>
                    </a:lnTo>
                    <a:lnTo>
                      <a:pt x="1427" y="1736"/>
                    </a:lnTo>
                    <a:lnTo>
                      <a:pt x="1445" y="1711"/>
                    </a:lnTo>
                    <a:lnTo>
                      <a:pt x="1464" y="1686"/>
                    </a:lnTo>
                    <a:lnTo>
                      <a:pt x="1484" y="1662"/>
                    </a:lnTo>
                    <a:lnTo>
                      <a:pt x="1504" y="1638"/>
                    </a:lnTo>
                    <a:lnTo>
                      <a:pt x="1525" y="1615"/>
                    </a:lnTo>
                    <a:lnTo>
                      <a:pt x="1547" y="1592"/>
                    </a:lnTo>
                    <a:lnTo>
                      <a:pt x="1569" y="1570"/>
                    </a:lnTo>
                    <a:lnTo>
                      <a:pt x="1591" y="1548"/>
                    </a:lnTo>
                    <a:lnTo>
                      <a:pt x="1614" y="1527"/>
                    </a:lnTo>
                    <a:lnTo>
                      <a:pt x="1637" y="1506"/>
                    </a:lnTo>
                    <a:lnTo>
                      <a:pt x="1661" y="1486"/>
                    </a:lnTo>
                    <a:lnTo>
                      <a:pt x="1686" y="1467"/>
                    </a:lnTo>
                    <a:lnTo>
                      <a:pt x="1711" y="1448"/>
                    </a:lnTo>
                    <a:lnTo>
                      <a:pt x="1736" y="1429"/>
                    </a:lnTo>
                    <a:lnTo>
                      <a:pt x="1762" y="1412"/>
                    </a:lnTo>
                    <a:lnTo>
                      <a:pt x="1788" y="1395"/>
                    </a:lnTo>
                    <a:lnTo>
                      <a:pt x="1815" y="1378"/>
                    </a:lnTo>
                    <a:lnTo>
                      <a:pt x="1842" y="1362"/>
                    </a:lnTo>
                    <a:lnTo>
                      <a:pt x="1869" y="1347"/>
                    </a:lnTo>
                    <a:lnTo>
                      <a:pt x="1897" y="1332"/>
                    </a:lnTo>
                    <a:lnTo>
                      <a:pt x="1926" y="1318"/>
                    </a:lnTo>
                    <a:lnTo>
                      <a:pt x="1954" y="1305"/>
                    </a:lnTo>
                    <a:lnTo>
                      <a:pt x="1983" y="1293"/>
                    </a:lnTo>
                    <a:lnTo>
                      <a:pt x="2013" y="1281"/>
                    </a:lnTo>
                    <a:lnTo>
                      <a:pt x="2043" y="1270"/>
                    </a:lnTo>
                    <a:lnTo>
                      <a:pt x="2073" y="1259"/>
                    </a:lnTo>
                    <a:lnTo>
                      <a:pt x="2103" y="1249"/>
                    </a:lnTo>
                    <a:lnTo>
                      <a:pt x="2134" y="1240"/>
                    </a:lnTo>
                    <a:lnTo>
                      <a:pt x="2165" y="1232"/>
                    </a:lnTo>
                    <a:lnTo>
                      <a:pt x="2196" y="1225"/>
                    </a:lnTo>
                    <a:lnTo>
                      <a:pt x="2228" y="1218"/>
                    </a:lnTo>
                    <a:lnTo>
                      <a:pt x="2260" y="1212"/>
                    </a:lnTo>
                    <a:lnTo>
                      <a:pt x="2292" y="1207"/>
                    </a:lnTo>
                    <a:lnTo>
                      <a:pt x="2325" y="1202"/>
                    </a:lnTo>
                    <a:lnTo>
                      <a:pt x="2357" y="1199"/>
                    </a:lnTo>
                    <a:lnTo>
                      <a:pt x="2390" y="1196"/>
                    </a:lnTo>
                    <a:lnTo>
                      <a:pt x="2424" y="1194"/>
                    </a:lnTo>
                    <a:lnTo>
                      <a:pt x="2457" y="1193"/>
                    </a:lnTo>
                    <a:lnTo>
                      <a:pt x="2492" y="1192"/>
                    </a:lnTo>
                    <a:lnTo>
                      <a:pt x="2492" y="1192"/>
                    </a:lnTo>
                    <a:lnTo>
                      <a:pt x="2525" y="1193"/>
                    </a:lnTo>
                    <a:lnTo>
                      <a:pt x="2558" y="1194"/>
                    </a:lnTo>
                    <a:lnTo>
                      <a:pt x="2592" y="1197"/>
                    </a:lnTo>
                    <a:lnTo>
                      <a:pt x="2625" y="1200"/>
                    </a:lnTo>
                    <a:lnTo>
                      <a:pt x="2657" y="1204"/>
                    </a:lnTo>
                    <a:lnTo>
                      <a:pt x="2690" y="1208"/>
                    </a:lnTo>
                    <a:lnTo>
                      <a:pt x="2722" y="1214"/>
                    </a:lnTo>
                    <a:lnTo>
                      <a:pt x="2754" y="1220"/>
                    </a:lnTo>
                    <a:lnTo>
                      <a:pt x="2785" y="1227"/>
                    </a:lnTo>
                    <a:lnTo>
                      <a:pt x="2817" y="1235"/>
                    </a:lnTo>
                    <a:lnTo>
                      <a:pt x="2848" y="1243"/>
                    </a:lnTo>
                    <a:lnTo>
                      <a:pt x="2878" y="1252"/>
                    </a:lnTo>
                    <a:lnTo>
                      <a:pt x="2909" y="1262"/>
                    </a:lnTo>
                    <a:lnTo>
                      <a:pt x="2939" y="1273"/>
                    </a:lnTo>
                    <a:lnTo>
                      <a:pt x="2968" y="1285"/>
                    </a:lnTo>
                    <a:lnTo>
                      <a:pt x="2998" y="1297"/>
                    </a:lnTo>
                    <a:lnTo>
                      <a:pt x="3027" y="1309"/>
                    </a:lnTo>
                    <a:lnTo>
                      <a:pt x="3055" y="1323"/>
                    </a:lnTo>
                    <a:lnTo>
                      <a:pt x="3083" y="1337"/>
                    </a:lnTo>
                    <a:lnTo>
                      <a:pt x="3111" y="1352"/>
                    </a:lnTo>
                    <a:lnTo>
                      <a:pt x="3139" y="1367"/>
                    </a:lnTo>
                    <a:lnTo>
                      <a:pt x="3166" y="1383"/>
                    </a:lnTo>
                    <a:lnTo>
                      <a:pt x="3192" y="1400"/>
                    </a:lnTo>
                    <a:lnTo>
                      <a:pt x="3218" y="1418"/>
                    </a:lnTo>
                    <a:lnTo>
                      <a:pt x="3244" y="1435"/>
                    </a:lnTo>
                    <a:lnTo>
                      <a:pt x="3269" y="1454"/>
                    </a:lnTo>
                    <a:lnTo>
                      <a:pt x="3294" y="1473"/>
                    </a:lnTo>
                    <a:lnTo>
                      <a:pt x="3318" y="1493"/>
                    </a:lnTo>
                    <a:lnTo>
                      <a:pt x="3342" y="1513"/>
                    </a:lnTo>
                    <a:lnTo>
                      <a:pt x="3365" y="1534"/>
                    </a:lnTo>
                    <a:lnTo>
                      <a:pt x="3388" y="1555"/>
                    </a:lnTo>
                    <a:lnTo>
                      <a:pt x="3410" y="1577"/>
                    </a:lnTo>
                    <a:lnTo>
                      <a:pt x="3432" y="1600"/>
                    </a:lnTo>
                    <a:lnTo>
                      <a:pt x="3453" y="1623"/>
                    </a:lnTo>
                    <a:lnTo>
                      <a:pt x="3474" y="1646"/>
                    </a:lnTo>
                    <a:lnTo>
                      <a:pt x="3494" y="1670"/>
                    </a:lnTo>
                    <a:lnTo>
                      <a:pt x="3513" y="1694"/>
                    </a:lnTo>
                    <a:lnTo>
                      <a:pt x="3532" y="1719"/>
                    </a:lnTo>
                    <a:lnTo>
                      <a:pt x="3551" y="1745"/>
                    </a:lnTo>
                    <a:lnTo>
                      <a:pt x="3568" y="1770"/>
                    </a:lnTo>
                    <a:lnTo>
                      <a:pt x="3585" y="1797"/>
                    </a:lnTo>
                    <a:lnTo>
                      <a:pt x="3602" y="1823"/>
                    </a:lnTo>
                    <a:lnTo>
                      <a:pt x="3618" y="1850"/>
                    </a:lnTo>
                    <a:lnTo>
                      <a:pt x="3633" y="1878"/>
                    </a:lnTo>
                    <a:lnTo>
                      <a:pt x="3648" y="1906"/>
                    </a:lnTo>
                    <a:lnTo>
                      <a:pt x="3662" y="1934"/>
                    </a:lnTo>
                    <a:lnTo>
                      <a:pt x="3675" y="1963"/>
                    </a:lnTo>
                    <a:lnTo>
                      <a:pt x="3687" y="1992"/>
                    </a:lnTo>
                    <a:lnTo>
                      <a:pt x="3699" y="2021"/>
                    </a:lnTo>
                    <a:lnTo>
                      <a:pt x="3711" y="2051"/>
                    </a:lnTo>
                    <a:lnTo>
                      <a:pt x="3721" y="2081"/>
                    </a:lnTo>
                    <a:lnTo>
                      <a:pt x="3731" y="2112"/>
                    </a:lnTo>
                    <a:lnTo>
                      <a:pt x="3740" y="2142"/>
                    </a:lnTo>
                    <a:lnTo>
                      <a:pt x="3748" y="2173"/>
                    </a:lnTo>
                    <a:lnTo>
                      <a:pt x="3756" y="2205"/>
                    </a:lnTo>
                    <a:lnTo>
                      <a:pt x="3762" y="2236"/>
                    </a:lnTo>
                    <a:lnTo>
                      <a:pt x="3768" y="2268"/>
                    </a:lnTo>
                    <a:lnTo>
                      <a:pt x="3773" y="2301"/>
                    </a:lnTo>
                    <a:lnTo>
                      <a:pt x="3778" y="2333"/>
                    </a:lnTo>
                    <a:lnTo>
                      <a:pt x="3781" y="2366"/>
                    </a:lnTo>
                    <a:lnTo>
                      <a:pt x="3784" y="2399"/>
                    </a:lnTo>
                    <a:lnTo>
                      <a:pt x="3786" y="2432"/>
                    </a:lnTo>
                    <a:lnTo>
                      <a:pt x="3787" y="2466"/>
                    </a:lnTo>
                    <a:lnTo>
                      <a:pt x="3788" y="2500"/>
                    </a:lnTo>
                    <a:lnTo>
                      <a:pt x="3788" y="250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sp>
          <p:nvSpPr>
            <p:cNvPr id="570" name="Freihandform: Form 569">
              <a:extLst>
                <a:ext uri="{FF2B5EF4-FFF2-40B4-BE49-F238E27FC236}">
                  <a16:creationId xmlns:a16="http://schemas.microsoft.com/office/drawing/2014/main" id="{7DBDE7FD-A17A-4873-B38A-2E832D16CA33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6353" y="4103634"/>
              <a:ext cx="319087" cy="1551629"/>
            </a:xfrm>
            <a:custGeom>
              <a:avLst/>
              <a:gdLst>
                <a:gd name="connsiteX0" fmla="*/ 314325 w 319087"/>
                <a:gd name="connsiteY0" fmla="*/ 0 h 1952625"/>
                <a:gd name="connsiteX1" fmla="*/ 0 w 319087"/>
                <a:gd name="connsiteY1" fmla="*/ 0 h 1952625"/>
                <a:gd name="connsiteX2" fmla="*/ 0 w 319087"/>
                <a:gd name="connsiteY2" fmla="*/ 1952625 h 1952625"/>
                <a:gd name="connsiteX3" fmla="*/ 319087 w 319087"/>
                <a:gd name="connsiteY3" fmla="*/ 1952625 h 1952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9087" h="1952625">
                  <a:moveTo>
                    <a:pt x="314325" y="0"/>
                  </a:moveTo>
                  <a:lnTo>
                    <a:pt x="0" y="0"/>
                  </a:lnTo>
                  <a:lnTo>
                    <a:pt x="0" y="1952625"/>
                  </a:lnTo>
                  <a:lnTo>
                    <a:pt x="319087" y="1952625"/>
                  </a:lnTo>
                </a:path>
              </a:pathLst>
            </a:cu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cxnSp>
          <p:nvCxnSpPr>
            <p:cNvPr id="572" name="Gerader Verbinder 571">
              <a:extLst>
                <a:ext uri="{FF2B5EF4-FFF2-40B4-BE49-F238E27FC236}">
                  <a16:creationId xmlns:a16="http://schemas.microsoft.com/office/drawing/2014/main" id="{87DB167A-A057-4403-8A1F-5797317F11C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164491" y="4983841"/>
              <a:ext cx="339005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Gerader Verbinder 577">
              <a:extLst>
                <a:ext uri="{FF2B5EF4-FFF2-40B4-BE49-F238E27FC236}">
                  <a16:creationId xmlns:a16="http://schemas.microsoft.com/office/drawing/2014/main" id="{0C800A18-9F29-4923-995E-FC454B64BFC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849248" y="4103633"/>
              <a:ext cx="370014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Gerader Verbinder 578">
              <a:extLst>
                <a:ext uri="{FF2B5EF4-FFF2-40B4-BE49-F238E27FC236}">
                  <a16:creationId xmlns:a16="http://schemas.microsoft.com/office/drawing/2014/main" id="{D59D3F89-9E7D-4911-BE3C-942FB4D17287}"/>
                </a:ext>
              </a:extLst>
            </p:cNvPr>
            <p:cNvCxnSpPr>
              <a:cxnSpLocks/>
              <a:endCxn id="340" idx="1"/>
            </p:cNvCxnSpPr>
            <p:nvPr/>
          </p:nvCxnSpPr>
          <p:spPr bwMode="gray">
            <a:xfrm>
              <a:off x="6628291" y="4103633"/>
              <a:ext cx="917702" cy="1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1" name="Verbinder: gewinkelt 580">
              <a:extLst>
                <a:ext uri="{FF2B5EF4-FFF2-40B4-BE49-F238E27FC236}">
                  <a16:creationId xmlns:a16="http://schemas.microsoft.com/office/drawing/2014/main" id="{AB5C1182-7A4C-4276-870F-FF34372C1737}"/>
                </a:ext>
              </a:extLst>
            </p:cNvPr>
            <p:cNvCxnSpPr>
              <a:cxnSpLocks/>
              <a:stCxn id="333" idx="1"/>
              <a:endCxn id="344" idx="1"/>
            </p:cNvCxnSpPr>
            <p:nvPr/>
          </p:nvCxnSpPr>
          <p:spPr bwMode="gray">
            <a:xfrm rot="10800000" flipV="1">
              <a:off x="7545993" y="1775228"/>
              <a:ext cx="12700" cy="3880678"/>
            </a:xfrm>
            <a:prstGeom prst="bentConnector3">
              <a:avLst>
                <a:gd name="adj1" fmla="val 1800000"/>
              </a:avLst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Gerader Verbinder 583">
              <a:extLst>
                <a:ext uri="{FF2B5EF4-FFF2-40B4-BE49-F238E27FC236}">
                  <a16:creationId xmlns:a16="http://schemas.microsoft.com/office/drawing/2014/main" id="{5BA68088-1C68-4F8F-BC34-3B4CF224005C}"/>
                </a:ext>
              </a:extLst>
            </p:cNvPr>
            <p:cNvCxnSpPr>
              <a:cxnSpLocks/>
              <a:endCxn id="341" idx="1"/>
            </p:cNvCxnSpPr>
            <p:nvPr/>
          </p:nvCxnSpPr>
          <p:spPr bwMode="gray">
            <a:xfrm>
              <a:off x="7327606" y="4491701"/>
              <a:ext cx="218387" cy="1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Gerader Verbinder 585">
              <a:extLst>
                <a:ext uri="{FF2B5EF4-FFF2-40B4-BE49-F238E27FC236}">
                  <a16:creationId xmlns:a16="http://schemas.microsoft.com/office/drawing/2014/main" id="{527DAC79-0D10-47A6-BCD9-98630DBEF6B5}"/>
                </a:ext>
              </a:extLst>
            </p:cNvPr>
            <p:cNvCxnSpPr>
              <a:cxnSpLocks/>
              <a:endCxn id="342" idx="1"/>
            </p:cNvCxnSpPr>
            <p:nvPr/>
          </p:nvCxnSpPr>
          <p:spPr bwMode="gray">
            <a:xfrm>
              <a:off x="7327606" y="4874756"/>
              <a:ext cx="218387" cy="0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0" name="Gerader Verbinder 589">
              <a:extLst>
                <a:ext uri="{FF2B5EF4-FFF2-40B4-BE49-F238E27FC236}">
                  <a16:creationId xmlns:a16="http://schemas.microsoft.com/office/drawing/2014/main" id="{58C412EC-2986-4D74-86EB-DFA040327A8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27606" y="3719177"/>
              <a:ext cx="218387" cy="1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1" name="Gerader Verbinder 590">
              <a:extLst>
                <a:ext uri="{FF2B5EF4-FFF2-40B4-BE49-F238E27FC236}">
                  <a16:creationId xmlns:a16="http://schemas.microsoft.com/office/drawing/2014/main" id="{6B48623B-8594-4C0F-B0F8-7F7FE4A04BD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27606" y="3325492"/>
              <a:ext cx="218387" cy="1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Gerader Verbinder 591">
              <a:extLst>
                <a:ext uri="{FF2B5EF4-FFF2-40B4-BE49-F238E27FC236}">
                  <a16:creationId xmlns:a16="http://schemas.microsoft.com/office/drawing/2014/main" id="{CB4AB1CA-79C9-461B-88AE-B1AE8859172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27606" y="2938167"/>
              <a:ext cx="218387" cy="1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3" name="Gerader Verbinder 592">
              <a:extLst>
                <a:ext uri="{FF2B5EF4-FFF2-40B4-BE49-F238E27FC236}">
                  <a16:creationId xmlns:a16="http://schemas.microsoft.com/office/drawing/2014/main" id="{5CB2E4BD-23F3-4C02-8147-E4D2B2CF8C8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27606" y="2550842"/>
              <a:ext cx="218387" cy="1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4" name="Gerader Verbinder 593">
              <a:extLst>
                <a:ext uri="{FF2B5EF4-FFF2-40B4-BE49-F238E27FC236}">
                  <a16:creationId xmlns:a16="http://schemas.microsoft.com/office/drawing/2014/main" id="{4B486F2C-78A5-42BB-BB32-CA4D02F3FD0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27606" y="2163517"/>
              <a:ext cx="218387" cy="1"/>
            </a:xfrm>
            <a:prstGeom prst="line">
              <a:avLst/>
            </a:pr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210" name="Gruppieren 8209">
              <a:extLst>
                <a:ext uri="{FF2B5EF4-FFF2-40B4-BE49-F238E27FC236}">
                  <a16:creationId xmlns:a16="http://schemas.microsoft.com/office/drawing/2014/main" id="{6A2A2AE9-0333-4A31-9742-4AC8B05A66DC}"/>
                </a:ext>
              </a:extLst>
            </p:cNvPr>
            <p:cNvGrpSpPr/>
            <p:nvPr/>
          </p:nvGrpSpPr>
          <p:grpSpPr bwMode="gray">
            <a:xfrm>
              <a:off x="5885877" y="3687405"/>
              <a:ext cx="664116" cy="622283"/>
              <a:chOff x="5885877" y="3687405"/>
              <a:chExt cx="664116" cy="622283"/>
            </a:xfrm>
          </p:grpSpPr>
          <p:grpSp>
            <p:nvGrpSpPr>
              <p:cNvPr id="566" name="Gruppieren 565">
                <a:extLst>
                  <a:ext uri="{FF2B5EF4-FFF2-40B4-BE49-F238E27FC236}">
                    <a16:creationId xmlns:a16="http://schemas.microsoft.com/office/drawing/2014/main" id="{0523566C-314A-4C73-8E6F-ABB8B3A29A19}"/>
                  </a:ext>
                </a:extLst>
              </p:cNvPr>
              <p:cNvGrpSpPr/>
              <p:nvPr/>
            </p:nvGrpSpPr>
            <p:grpSpPr bwMode="gray">
              <a:xfrm>
                <a:off x="5885877" y="3687405"/>
                <a:ext cx="634210" cy="622283"/>
                <a:chOff x="5885877" y="3687405"/>
                <a:chExt cx="634210" cy="622283"/>
              </a:xfrm>
            </p:grpSpPr>
            <p:grpSp>
              <p:nvGrpSpPr>
                <p:cNvPr id="463" name="Gruppieren 462">
                  <a:extLst>
                    <a:ext uri="{FF2B5EF4-FFF2-40B4-BE49-F238E27FC236}">
                      <a16:creationId xmlns:a16="http://schemas.microsoft.com/office/drawing/2014/main" id="{8D4AAD7D-4FDD-4B59-B16D-531393C8F2FB}"/>
                    </a:ext>
                  </a:extLst>
                </p:cNvPr>
                <p:cNvGrpSpPr>
                  <a:grpSpLocks/>
                </p:cNvGrpSpPr>
                <p:nvPr/>
              </p:nvGrpSpPr>
              <p:grpSpPr bwMode="gray">
                <a:xfrm>
                  <a:off x="5968059" y="3787219"/>
                  <a:ext cx="552028" cy="522469"/>
                  <a:chOff x="4262351" y="4720010"/>
                  <a:chExt cx="552028" cy="522469"/>
                </a:xfrm>
              </p:grpSpPr>
              <p:pic>
                <p:nvPicPr>
                  <p:cNvPr id="498" name="Picture 211">
                    <a:extLst>
                      <a:ext uri="{FF2B5EF4-FFF2-40B4-BE49-F238E27FC236}">
                        <a16:creationId xmlns:a16="http://schemas.microsoft.com/office/drawing/2014/main" id="{2EA2B775-6025-4F22-A78F-0BABF9758F5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gray">
                  <a:xfrm>
                    <a:off x="4262351" y="4720010"/>
                    <a:ext cx="408366" cy="522469"/>
                  </a:xfrm>
                  <a:prstGeom prst="rect">
                    <a:avLst/>
                  </a:prstGeom>
                </p:spPr>
              </p:pic>
              <p:grpSp>
                <p:nvGrpSpPr>
                  <p:cNvPr id="499" name="SAGD, Siemens, healthineers, evolve">
                    <a:extLst>
                      <a:ext uri="{FF2B5EF4-FFF2-40B4-BE49-F238E27FC236}">
                        <a16:creationId xmlns:a16="http://schemas.microsoft.com/office/drawing/2014/main" id="{0884D043-B39B-409B-9081-0275104F2B04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4580736" y="4977944"/>
                    <a:ext cx="233643" cy="234138"/>
                    <a:chOff x="1188" y="1252"/>
                    <a:chExt cx="2268" cy="2268"/>
                  </a:xfrm>
                </p:grpSpPr>
                <p:sp>
                  <p:nvSpPr>
                    <p:cNvPr id="500" name="AutoShape 4">
                      <a:extLst>
                        <a:ext uri="{FF2B5EF4-FFF2-40B4-BE49-F238E27FC236}">
                          <a16:creationId xmlns:a16="http://schemas.microsoft.com/office/drawing/2014/main" id="{0B9F8823-B080-445B-AA67-93EE5ADFBAB9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501" name="Freeform 6">
                      <a:extLst>
                        <a:ext uri="{FF2B5EF4-FFF2-40B4-BE49-F238E27FC236}">
                          <a16:creationId xmlns:a16="http://schemas.microsoft.com/office/drawing/2014/main" id="{851B9352-5A80-4586-A07B-A76A7750283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502" name="Freeform 7">
                      <a:extLst>
                        <a:ext uri="{FF2B5EF4-FFF2-40B4-BE49-F238E27FC236}">
                          <a16:creationId xmlns:a16="http://schemas.microsoft.com/office/drawing/2014/main" id="{D00C19FE-1407-4056-B9AC-681088B2F55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no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503" name="Freeform 8">
                      <a:extLst>
                        <a:ext uri="{FF2B5EF4-FFF2-40B4-BE49-F238E27FC236}">
                          <a16:creationId xmlns:a16="http://schemas.microsoft.com/office/drawing/2014/main" id="{1807BC08-D101-4AEA-986A-915A7B659DAD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</p:grpSp>
            <p:grpSp>
              <p:nvGrpSpPr>
                <p:cNvPr id="461" name="Gruppieren 460">
                  <a:extLst>
                    <a:ext uri="{FF2B5EF4-FFF2-40B4-BE49-F238E27FC236}">
                      <a16:creationId xmlns:a16="http://schemas.microsoft.com/office/drawing/2014/main" id="{4CCD9A03-4CE0-401A-9FF9-87BB978FEECF}"/>
                    </a:ext>
                  </a:extLst>
                </p:cNvPr>
                <p:cNvGrpSpPr/>
                <p:nvPr/>
              </p:nvGrpSpPr>
              <p:grpSpPr bwMode="gray">
                <a:xfrm>
                  <a:off x="5885877" y="3687405"/>
                  <a:ext cx="372183" cy="152306"/>
                  <a:chOff x="5885877" y="3687405"/>
                  <a:chExt cx="372183" cy="152306"/>
                </a:xfrm>
              </p:grpSpPr>
              <p:grpSp>
                <p:nvGrpSpPr>
                  <p:cNvPr id="468" name="SAGD, Siemens, healthineers, evolve">
                    <a:extLst>
                      <a:ext uri="{FF2B5EF4-FFF2-40B4-BE49-F238E27FC236}">
                        <a16:creationId xmlns:a16="http://schemas.microsoft.com/office/drawing/2014/main" id="{5DDCAC85-E47B-4394-BCDF-C87960C75DA1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6044812" y="3687405"/>
                    <a:ext cx="101573" cy="101788"/>
                    <a:chOff x="1188" y="1252"/>
                    <a:chExt cx="2268" cy="2268"/>
                  </a:xfrm>
                </p:grpSpPr>
                <p:sp>
                  <p:nvSpPr>
                    <p:cNvPr id="490" name="AutoShape 4">
                      <a:extLst>
                        <a:ext uri="{FF2B5EF4-FFF2-40B4-BE49-F238E27FC236}">
                          <a16:creationId xmlns:a16="http://schemas.microsoft.com/office/drawing/2014/main" id="{B0525D6D-B928-45FD-8170-449537BD02BD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491" name="Freeform 6">
                      <a:extLst>
                        <a:ext uri="{FF2B5EF4-FFF2-40B4-BE49-F238E27FC236}">
                          <a16:creationId xmlns:a16="http://schemas.microsoft.com/office/drawing/2014/main" id="{44E2183A-E892-465D-9F34-B73E582DAF9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492" name="Freeform 7">
                      <a:extLst>
                        <a:ext uri="{FF2B5EF4-FFF2-40B4-BE49-F238E27FC236}">
                          <a16:creationId xmlns:a16="http://schemas.microsoft.com/office/drawing/2014/main" id="{61B4DC95-76A5-4876-A478-7D7297E09B3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solidFill>
                      <a:schemeClr val="accent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493" name="Freeform 8">
                      <a:extLst>
                        <a:ext uri="{FF2B5EF4-FFF2-40B4-BE49-F238E27FC236}">
                          <a16:creationId xmlns:a16="http://schemas.microsoft.com/office/drawing/2014/main" id="{1A401840-40D4-45C0-B642-0CA7BCA36BB7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  <p:grpSp>
                <p:nvGrpSpPr>
                  <p:cNvPr id="469" name="SAGD, Siemens, healthineers, evolve">
                    <a:extLst>
                      <a:ext uri="{FF2B5EF4-FFF2-40B4-BE49-F238E27FC236}">
                        <a16:creationId xmlns:a16="http://schemas.microsoft.com/office/drawing/2014/main" id="{F731626A-FDE0-43F2-8929-8E20F3C3A635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6156487" y="3687405"/>
                    <a:ext cx="101573" cy="101788"/>
                    <a:chOff x="1188" y="1252"/>
                    <a:chExt cx="2268" cy="2268"/>
                  </a:xfrm>
                </p:grpSpPr>
                <p:sp>
                  <p:nvSpPr>
                    <p:cNvPr id="486" name="AutoShape 4">
                      <a:extLst>
                        <a:ext uri="{FF2B5EF4-FFF2-40B4-BE49-F238E27FC236}">
                          <a16:creationId xmlns:a16="http://schemas.microsoft.com/office/drawing/2014/main" id="{1923875F-BAA6-449B-8CD1-0A63E858B89F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487" name="Freeform 6">
                      <a:extLst>
                        <a:ext uri="{FF2B5EF4-FFF2-40B4-BE49-F238E27FC236}">
                          <a16:creationId xmlns:a16="http://schemas.microsoft.com/office/drawing/2014/main" id="{F9C3F67C-5467-4D76-A0B8-A9FD59AAC54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rgbClr val="7A162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488" name="Freeform 7">
                      <a:extLst>
                        <a:ext uri="{FF2B5EF4-FFF2-40B4-BE49-F238E27FC236}">
                          <a16:creationId xmlns:a16="http://schemas.microsoft.com/office/drawing/2014/main" id="{A01555C8-1632-4C5A-9C26-3C9614CE929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no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489" name="Freeform 8">
                      <a:extLst>
                        <a:ext uri="{FF2B5EF4-FFF2-40B4-BE49-F238E27FC236}">
                          <a16:creationId xmlns:a16="http://schemas.microsoft.com/office/drawing/2014/main" id="{1C9A3856-6A10-4117-ABCA-C9217CAFDBB6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  <p:grpSp>
                <p:nvGrpSpPr>
                  <p:cNvPr id="470" name="Gruppieren 469">
                    <a:extLst>
                      <a:ext uri="{FF2B5EF4-FFF2-40B4-BE49-F238E27FC236}">
                        <a16:creationId xmlns:a16="http://schemas.microsoft.com/office/drawing/2014/main" id="{29D76DC8-1099-416C-8E79-4F6E1E02C632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5885877" y="3737923"/>
                    <a:ext cx="324923" cy="101788"/>
                    <a:chOff x="561363" y="4863990"/>
                    <a:chExt cx="1157889" cy="362730"/>
                  </a:xfrm>
                </p:grpSpPr>
                <p:grpSp>
                  <p:nvGrpSpPr>
                    <p:cNvPr id="471" name="SAGD, Siemens, healthineers, evolve">
                      <a:extLst>
                        <a:ext uri="{FF2B5EF4-FFF2-40B4-BE49-F238E27FC236}">
                          <a16:creationId xmlns:a16="http://schemas.microsoft.com/office/drawing/2014/main" id="{DE5D858E-96F2-4F34-AA56-21462FA51CAD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gray">
                    <a:xfrm>
                      <a:off x="561363" y="4863990"/>
                      <a:ext cx="361963" cy="362730"/>
                      <a:chOff x="1188" y="1252"/>
                      <a:chExt cx="2268" cy="2268"/>
                    </a:xfrm>
                  </p:grpSpPr>
                  <p:sp>
                    <p:nvSpPr>
                      <p:cNvPr id="482" name="AutoShape 4">
                        <a:extLst>
                          <a:ext uri="{FF2B5EF4-FFF2-40B4-BE49-F238E27FC236}">
                            <a16:creationId xmlns:a16="http://schemas.microsoft.com/office/drawing/2014/main" id="{2130A2D2-D906-418D-8DEE-427434620127}"/>
                          </a:ext>
                        </a:extLst>
                      </p:cNvPr>
                      <p:cNvSpPr>
                        <a:spLocks noChangeAspect="1" noChangeArrowheads="1" noTextEdit="1"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483" name="Freeform 6">
                        <a:extLst>
                          <a:ext uri="{FF2B5EF4-FFF2-40B4-BE49-F238E27FC236}">
                            <a16:creationId xmlns:a16="http://schemas.microsoft.com/office/drawing/2014/main" id="{30038A41-6750-4CF0-B9A2-21679ACE42F1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  <a:close/>
                          </a:path>
                        </a:pathLst>
                      </a:custGeom>
                      <a:solidFill>
                        <a:srgbClr val="3ABFED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484" name="Freeform 7">
                        <a:extLst>
                          <a:ext uri="{FF2B5EF4-FFF2-40B4-BE49-F238E27FC236}">
                            <a16:creationId xmlns:a16="http://schemas.microsoft.com/office/drawing/2014/main" id="{DAA5E809-F542-4517-907C-A715AB492D3F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</a:path>
                        </a:pathLst>
                      </a:custGeom>
                      <a:noFill/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485" name="Freeform 8">
                        <a:extLst>
                          <a:ext uri="{FF2B5EF4-FFF2-40B4-BE49-F238E27FC236}">
                            <a16:creationId xmlns:a16="http://schemas.microsoft.com/office/drawing/2014/main" id="{CFF5A80A-0483-4B19-A44A-3AC567E087CE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gray">
                      <a:xfrm>
                        <a:off x="1510" y="1566"/>
                        <a:ext cx="1615" cy="165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319" y="2213"/>
                          </a:cxn>
                          <a:cxn ang="0">
                            <a:pos x="4796" y="1894"/>
                          </a:cxn>
                          <a:cxn ang="0">
                            <a:pos x="4876" y="1759"/>
                          </a:cxn>
                          <a:cxn ang="0">
                            <a:pos x="4526" y="1075"/>
                          </a:cxn>
                          <a:cxn ang="0">
                            <a:pos x="4005" y="1264"/>
                          </a:cxn>
                          <a:cxn ang="0">
                            <a:pos x="3815" y="1225"/>
                          </a:cxn>
                          <a:cxn ang="0">
                            <a:pos x="3367" y="807"/>
                          </a:cxn>
                          <a:cxn ang="0">
                            <a:pos x="3456" y="245"/>
                          </a:cxn>
                          <a:cxn ang="0">
                            <a:pos x="2745" y="3"/>
                          </a:cxn>
                          <a:cxn ang="0">
                            <a:pos x="2590" y="70"/>
                          </a:cxn>
                          <a:cxn ang="0">
                            <a:pos x="2416" y="615"/>
                          </a:cxn>
                          <a:cxn ang="0">
                            <a:pos x="1822" y="774"/>
                          </a:cxn>
                          <a:cxn ang="0">
                            <a:pos x="1644" y="700"/>
                          </a:cxn>
                          <a:cxn ang="0">
                            <a:pos x="1252" y="324"/>
                          </a:cxn>
                          <a:cxn ang="0">
                            <a:pos x="653" y="807"/>
                          </a:cxn>
                          <a:cxn ang="0">
                            <a:pos x="942" y="1274"/>
                          </a:cxn>
                          <a:cxn ang="0">
                            <a:pos x="960" y="1467"/>
                          </a:cxn>
                          <a:cxn ang="0">
                            <a:pos x="660" y="2003"/>
                          </a:cxn>
                          <a:cxn ang="0">
                            <a:pos x="90" y="2042"/>
                          </a:cxn>
                          <a:cxn ang="0">
                            <a:pos x="0" y="2797"/>
                          </a:cxn>
                          <a:cxn ang="0">
                            <a:pos x="86" y="2927"/>
                          </a:cxn>
                          <a:cxn ang="0">
                            <a:pos x="656" y="2972"/>
                          </a:cxn>
                          <a:cxn ang="0">
                            <a:pos x="952" y="3509"/>
                          </a:cxn>
                          <a:cxn ang="0">
                            <a:pos x="932" y="3702"/>
                          </a:cxn>
                          <a:cxn ang="0">
                            <a:pos x="640" y="4167"/>
                          </a:cxn>
                          <a:cxn ang="0">
                            <a:pos x="1235" y="4655"/>
                          </a:cxn>
                          <a:cxn ang="0">
                            <a:pos x="1630" y="4283"/>
                          </a:cxn>
                          <a:cxn ang="0">
                            <a:pos x="1809" y="4210"/>
                          </a:cxn>
                          <a:cxn ang="0">
                            <a:pos x="2403" y="4373"/>
                          </a:cxn>
                          <a:cxn ang="0">
                            <a:pos x="2574" y="4919"/>
                          </a:cxn>
                          <a:cxn ang="0">
                            <a:pos x="2728" y="4987"/>
                          </a:cxn>
                          <a:cxn ang="0">
                            <a:pos x="3441" y="4750"/>
                          </a:cxn>
                          <a:cxn ang="0">
                            <a:pos x="3356" y="4187"/>
                          </a:cxn>
                          <a:cxn ang="0">
                            <a:pos x="3806" y="3773"/>
                          </a:cxn>
                          <a:cxn ang="0">
                            <a:pos x="3997" y="3735"/>
                          </a:cxn>
                          <a:cxn ang="0">
                            <a:pos x="4516" y="3927"/>
                          </a:cxn>
                          <a:cxn ang="0">
                            <a:pos x="4871" y="3245"/>
                          </a:cxn>
                          <a:cxn ang="0">
                            <a:pos x="4421" y="2930"/>
                          </a:cxn>
                          <a:cxn ang="0">
                            <a:pos x="4317" y="2787"/>
                          </a:cxn>
                          <a:cxn ang="0">
                            <a:pos x="3788" y="2500"/>
                          </a:cxn>
                          <a:cxn ang="0">
                            <a:pos x="3728" y="2887"/>
                          </a:cxn>
                          <a:cxn ang="0">
                            <a:pos x="3545" y="3252"/>
                          </a:cxn>
                          <a:cxn ang="0">
                            <a:pos x="3261" y="3541"/>
                          </a:cxn>
                          <a:cxn ang="0">
                            <a:pos x="2899" y="3730"/>
                          </a:cxn>
                          <a:cxn ang="0">
                            <a:pos x="2481" y="3796"/>
                          </a:cxn>
                          <a:cxn ang="0">
                            <a:pos x="2093" y="3736"/>
                          </a:cxn>
                          <a:cxn ang="0">
                            <a:pos x="1728" y="3553"/>
                          </a:cxn>
                          <a:cxn ang="0">
                            <a:pos x="1439" y="3269"/>
                          </a:cxn>
                          <a:cxn ang="0">
                            <a:pos x="1250" y="2907"/>
                          </a:cxn>
                          <a:cxn ang="0">
                            <a:pos x="1184" y="2490"/>
                          </a:cxn>
                          <a:cxn ang="0">
                            <a:pos x="1244" y="2102"/>
                          </a:cxn>
                          <a:cxn ang="0">
                            <a:pos x="1427" y="1736"/>
                          </a:cxn>
                          <a:cxn ang="0">
                            <a:pos x="1711" y="1448"/>
                          </a:cxn>
                          <a:cxn ang="0">
                            <a:pos x="2073" y="1259"/>
                          </a:cxn>
                          <a:cxn ang="0">
                            <a:pos x="2492" y="1192"/>
                          </a:cxn>
                          <a:cxn ang="0">
                            <a:pos x="2878" y="1252"/>
                          </a:cxn>
                          <a:cxn ang="0">
                            <a:pos x="3244" y="1435"/>
                          </a:cxn>
                          <a:cxn ang="0">
                            <a:pos x="3532" y="1719"/>
                          </a:cxn>
                          <a:cxn ang="0">
                            <a:pos x="3721" y="2081"/>
                          </a:cxn>
                          <a:cxn ang="0">
                            <a:pos x="3788" y="2500"/>
                          </a:cxn>
                        </a:cxnLst>
                        <a:rect l="0" t="0" r="r" b="b"/>
                        <a:pathLst>
                          <a:path w="4876" h="4990">
                            <a:moveTo>
                              <a:pt x="4332" y="2502"/>
                            </a:moveTo>
                            <a:lnTo>
                              <a:pt x="4332" y="2502"/>
                            </a:lnTo>
                            <a:lnTo>
                              <a:pt x="4331" y="2455"/>
                            </a:lnTo>
                            <a:lnTo>
                              <a:pt x="4329" y="2412"/>
                            </a:lnTo>
                            <a:lnTo>
                              <a:pt x="4327" y="2373"/>
                            </a:lnTo>
                            <a:lnTo>
                              <a:pt x="4324" y="2340"/>
                            </a:lnTo>
                            <a:lnTo>
                              <a:pt x="4319" y="2291"/>
                            </a:lnTo>
                            <a:lnTo>
                              <a:pt x="4317" y="2273"/>
                            </a:lnTo>
                            <a:lnTo>
                              <a:pt x="4317" y="2273"/>
                            </a:lnTo>
                            <a:lnTo>
                              <a:pt x="4315" y="2258"/>
                            </a:lnTo>
                            <a:lnTo>
                              <a:pt x="4315" y="2243"/>
                            </a:lnTo>
                            <a:lnTo>
                              <a:pt x="4317" y="2228"/>
                            </a:lnTo>
                            <a:lnTo>
                              <a:pt x="4319" y="2213"/>
                            </a:lnTo>
                            <a:lnTo>
                              <a:pt x="4323" y="2199"/>
                            </a:lnTo>
                            <a:lnTo>
                              <a:pt x="4327" y="2184"/>
                            </a:lnTo>
                            <a:lnTo>
                              <a:pt x="4333" y="2170"/>
                            </a:lnTo>
                            <a:lnTo>
                              <a:pt x="4340" y="2156"/>
                            </a:lnTo>
                            <a:lnTo>
                              <a:pt x="4348" y="2142"/>
                            </a:lnTo>
                            <a:lnTo>
                              <a:pt x="4356" y="2130"/>
                            </a:lnTo>
                            <a:lnTo>
                              <a:pt x="4366" y="2117"/>
                            </a:lnTo>
                            <a:lnTo>
                              <a:pt x="4376" y="2106"/>
                            </a:lnTo>
                            <a:lnTo>
                              <a:pt x="4387" y="2096"/>
                            </a:lnTo>
                            <a:lnTo>
                              <a:pt x="4399" y="2087"/>
                            </a:lnTo>
                            <a:lnTo>
                              <a:pt x="4411" y="2078"/>
                            </a:lnTo>
                            <a:lnTo>
                              <a:pt x="4424" y="2071"/>
                            </a:lnTo>
                            <a:lnTo>
                              <a:pt x="4796" y="1894"/>
                            </a:lnTo>
                            <a:lnTo>
                              <a:pt x="4796" y="1894"/>
                            </a:lnTo>
                            <a:lnTo>
                              <a:pt x="4809" y="1887"/>
                            </a:lnTo>
                            <a:lnTo>
                              <a:pt x="4820" y="1879"/>
                            </a:lnTo>
                            <a:lnTo>
                              <a:pt x="4831" y="1870"/>
                            </a:lnTo>
                            <a:lnTo>
                              <a:pt x="4841" y="1860"/>
                            </a:lnTo>
                            <a:lnTo>
                              <a:pt x="4849" y="1849"/>
                            </a:lnTo>
                            <a:lnTo>
                              <a:pt x="4857" y="1838"/>
                            </a:lnTo>
                            <a:lnTo>
                              <a:pt x="4863" y="1826"/>
                            </a:lnTo>
                            <a:lnTo>
                              <a:pt x="4868" y="1813"/>
                            </a:lnTo>
                            <a:lnTo>
                              <a:pt x="4872" y="1800"/>
                            </a:lnTo>
                            <a:lnTo>
                              <a:pt x="4875" y="1787"/>
                            </a:lnTo>
                            <a:lnTo>
                              <a:pt x="4876" y="1773"/>
                            </a:lnTo>
                            <a:lnTo>
                              <a:pt x="4876" y="1759"/>
                            </a:lnTo>
                            <a:lnTo>
                              <a:pt x="4875" y="1746"/>
                            </a:lnTo>
                            <a:lnTo>
                              <a:pt x="4872" y="1732"/>
                            </a:lnTo>
                            <a:lnTo>
                              <a:pt x="4868" y="1718"/>
                            </a:lnTo>
                            <a:lnTo>
                              <a:pt x="4863" y="1705"/>
                            </a:lnTo>
                            <a:lnTo>
                              <a:pt x="4595" y="1142"/>
                            </a:lnTo>
                            <a:lnTo>
                              <a:pt x="4595" y="1142"/>
                            </a:lnTo>
                            <a:lnTo>
                              <a:pt x="4588" y="1130"/>
                            </a:lnTo>
                            <a:lnTo>
                              <a:pt x="4580" y="1118"/>
                            </a:lnTo>
                            <a:lnTo>
                              <a:pt x="4571" y="1107"/>
                            </a:lnTo>
                            <a:lnTo>
                              <a:pt x="4561" y="1097"/>
                            </a:lnTo>
                            <a:lnTo>
                              <a:pt x="4550" y="1089"/>
                            </a:lnTo>
                            <a:lnTo>
                              <a:pt x="4539" y="1081"/>
                            </a:lnTo>
                            <a:lnTo>
                              <a:pt x="4526" y="1075"/>
                            </a:lnTo>
                            <a:lnTo>
                              <a:pt x="4514" y="1070"/>
                            </a:lnTo>
                            <a:lnTo>
                              <a:pt x="4501" y="1066"/>
                            </a:lnTo>
                            <a:lnTo>
                              <a:pt x="4487" y="1063"/>
                            </a:lnTo>
                            <a:lnTo>
                              <a:pt x="4474" y="1062"/>
                            </a:lnTo>
                            <a:lnTo>
                              <a:pt x="4460" y="1062"/>
                            </a:lnTo>
                            <a:lnTo>
                              <a:pt x="4446" y="1063"/>
                            </a:lnTo>
                            <a:lnTo>
                              <a:pt x="4433" y="1066"/>
                            </a:lnTo>
                            <a:lnTo>
                              <a:pt x="4419" y="1070"/>
                            </a:lnTo>
                            <a:lnTo>
                              <a:pt x="4406" y="1075"/>
                            </a:lnTo>
                            <a:lnTo>
                              <a:pt x="4033" y="1253"/>
                            </a:lnTo>
                            <a:lnTo>
                              <a:pt x="4033" y="1253"/>
                            </a:lnTo>
                            <a:lnTo>
                              <a:pt x="4019" y="1259"/>
                            </a:lnTo>
                            <a:lnTo>
                              <a:pt x="4005" y="1264"/>
                            </a:lnTo>
                            <a:lnTo>
                              <a:pt x="3990" y="1267"/>
                            </a:lnTo>
                            <a:lnTo>
                              <a:pt x="3975" y="1269"/>
                            </a:lnTo>
                            <a:lnTo>
                              <a:pt x="3960" y="1271"/>
                            </a:lnTo>
                            <a:lnTo>
                              <a:pt x="3944" y="1271"/>
                            </a:lnTo>
                            <a:lnTo>
                              <a:pt x="3928" y="1270"/>
                            </a:lnTo>
                            <a:lnTo>
                              <a:pt x="3913" y="1267"/>
                            </a:lnTo>
                            <a:lnTo>
                              <a:pt x="3897" y="1264"/>
                            </a:lnTo>
                            <a:lnTo>
                              <a:pt x="3882" y="1260"/>
                            </a:lnTo>
                            <a:lnTo>
                              <a:pt x="3867" y="1255"/>
                            </a:lnTo>
                            <a:lnTo>
                              <a:pt x="3853" y="1249"/>
                            </a:lnTo>
                            <a:lnTo>
                              <a:pt x="3839" y="1242"/>
                            </a:lnTo>
                            <a:lnTo>
                              <a:pt x="3827" y="1234"/>
                            </a:lnTo>
                            <a:lnTo>
                              <a:pt x="3815" y="1225"/>
                            </a:lnTo>
                            <a:lnTo>
                              <a:pt x="3804" y="1215"/>
                            </a:lnTo>
                            <a:lnTo>
                              <a:pt x="3451" y="932"/>
                            </a:lnTo>
                            <a:lnTo>
                              <a:pt x="3451" y="932"/>
                            </a:lnTo>
                            <a:lnTo>
                              <a:pt x="3439" y="924"/>
                            </a:lnTo>
                            <a:lnTo>
                              <a:pt x="3428" y="914"/>
                            </a:lnTo>
                            <a:lnTo>
                              <a:pt x="3417" y="903"/>
                            </a:lnTo>
                            <a:lnTo>
                              <a:pt x="3407" y="891"/>
                            </a:lnTo>
                            <a:lnTo>
                              <a:pt x="3398" y="879"/>
                            </a:lnTo>
                            <a:lnTo>
                              <a:pt x="3390" y="865"/>
                            </a:lnTo>
                            <a:lnTo>
                              <a:pt x="3383" y="852"/>
                            </a:lnTo>
                            <a:lnTo>
                              <a:pt x="3376" y="837"/>
                            </a:lnTo>
                            <a:lnTo>
                              <a:pt x="3371" y="822"/>
                            </a:lnTo>
                            <a:lnTo>
                              <a:pt x="3367" y="807"/>
                            </a:lnTo>
                            <a:lnTo>
                              <a:pt x="3363" y="792"/>
                            </a:lnTo>
                            <a:lnTo>
                              <a:pt x="3361" y="777"/>
                            </a:lnTo>
                            <a:lnTo>
                              <a:pt x="3360" y="761"/>
                            </a:lnTo>
                            <a:lnTo>
                              <a:pt x="3360" y="746"/>
                            </a:lnTo>
                            <a:lnTo>
                              <a:pt x="3362" y="731"/>
                            </a:lnTo>
                            <a:lnTo>
                              <a:pt x="3364" y="717"/>
                            </a:lnTo>
                            <a:lnTo>
                              <a:pt x="3458" y="314"/>
                            </a:lnTo>
                            <a:lnTo>
                              <a:pt x="3458" y="314"/>
                            </a:lnTo>
                            <a:lnTo>
                              <a:pt x="3460" y="300"/>
                            </a:lnTo>
                            <a:lnTo>
                              <a:pt x="3461" y="286"/>
                            </a:lnTo>
                            <a:lnTo>
                              <a:pt x="3461" y="272"/>
                            </a:lnTo>
                            <a:lnTo>
                              <a:pt x="3459" y="258"/>
                            </a:lnTo>
                            <a:lnTo>
                              <a:pt x="3456" y="245"/>
                            </a:lnTo>
                            <a:lnTo>
                              <a:pt x="3452" y="232"/>
                            </a:lnTo>
                            <a:lnTo>
                              <a:pt x="3447" y="219"/>
                            </a:lnTo>
                            <a:lnTo>
                              <a:pt x="3440" y="207"/>
                            </a:lnTo>
                            <a:lnTo>
                              <a:pt x="3432" y="196"/>
                            </a:lnTo>
                            <a:lnTo>
                              <a:pt x="3423" y="186"/>
                            </a:lnTo>
                            <a:lnTo>
                              <a:pt x="3414" y="176"/>
                            </a:lnTo>
                            <a:lnTo>
                              <a:pt x="3403" y="168"/>
                            </a:lnTo>
                            <a:lnTo>
                              <a:pt x="3391" y="160"/>
                            </a:lnTo>
                            <a:lnTo>
                              <a:pt x="3379" y="153"/>
                            </a:lnTo>
                            <a:lnTo>
                              <a:pt x="3366" y="148"/>
                            </a:lnTo>
                            <a:lnTo>
                              <a:pt x="3352" y="144"/>
                            </a:lnTo>
                            <a:lnTo>
                              <a:pt x="2745" y="3"/>
                            </a:lnTo>
                            <a:lnTo>
                              <a:pt x="2745" y="3"/>
                            </a:lnTo>
                            <a:lnTo>
                              <a:pt x="2730" y="1"/>
                            </a:lnTo>
                            <a:lnTo>
                              <a:pt x="2716" y="0"/>
                            </a:lnTo>
                            <a:lnTo>
                              <a:pt x="2702" y="0"/>
                            </a:lnTo>
                            <a:lnTo>
                              <a:pt x="2688" y="2"/>
                            </a:lnTo>
                            <a:lnTo>
                              <a:pt x="2675" y="5"/>
                            </a:lnTo>
                            <a:lnTo>
                              <a:pt x="2662" y="9"/>
                            </a:lnTo>
                            <a:lnTo>
                              <a:pt x="2649" y="15"/>
                            </a:lnTo>
                            <a:lnTo>
                              <a:pt x="2638" y="21"/>
                            </a:lnTo>
                            <a:lnTo>
                              <a:pt x="2626" y="29"/>
                            </a:lnTo>
                            <a:lnTo>
                              <a:pt x="2616" y="38"/>
                            </a:lnTo>
                            <a:lnTo>
                              <a:pt x="2606" y="48"/>
                            </a:lnTo>
                            <a:lnTo>
                              <a:pt x="2598" y="58"/>
                            </a:lnTo>
                            <a:lnTo>
                              <a:pt x="2590" y="70"/>
                            </a:lnTo>
                            <a:lnTo>
                              <a:pt x="2584" y="82"/>
                            </a:lnTo>
                            <a:lnTo>
                              <a:pt x="2578" y="96"/>
                            </a:lnTo>
                            <a:lnTo>
                              <a:pt x="2574" y="110"/>
                            </a:lnTo>
                            <a:lnTo>
                              <a:pt x="2481" y="512"/>
                            </a:lnTo>
                            <a:lnTo>
                              <a:pt x="2481" y="512"/>
                            </a:lnTo>
                            <a:lnTo>
                              <a:pt x="2477" y="526"/>
                            </a:lnTo>
                            <a:lnTo>
                              <a:pt x="2472" y="540"/>
                            </a:lnTo>
                            <a:lnTo>
                              <a:pt x="2465" y="554"/>
                            </a:lnTo>
                            <a:lnTo>
                              <a:pt x="2457" y="567"/>
                            </a:lnTo>
                            <a:lnTo>
                              <a:pt x="2448" y="580"/>
                            </a:lnTo>
                            <a:lnTo>
                              <a:pt x="2438" y="592"/>
                            </a:lnTo>
                            <a:lnTo>
                              <a:pt x="2428" y="604"/>
                            </a:lnTo>
                            <a:lnTo>
                              <a:pt x="2416" y="615"/>
                            </a:lnTo>
                            <a:lnTo>
                              <a:pt x="2404" y="625"/>
                            </a:lnTo>
                            <a:lnTo>
                              <a:pt x="2392" y="634"/>
                            </a:lnTo>
                            <a:lnTo>
                              <a:pt x="2378" y="643"/>
                            </a:lnTo>
                            <a:lnTo>
                              <a:pt x="2365" y="650"/>
                            </a:lnTo>
                            <a:lnTo>
                              <a:pt x="2351" y="656"/>
                            </a:lnTo>
                            <a:lnTo>
                              <a:pt x="2336" y="661"/>
                            </a:lnTo>
                            <a:lnTo>
                              <a:pt x="2322" y="665"/>
                            </a:lnTo>
                            <a:lnTo>
                              <a:pt x="2308" y="668"/>
                            </a:lnTo>
                            <a:lnTo>
                              <a:pt x="1866" y="766"/>
                            </a:lnTo>
                            <a:lnTo>
                              <a:pt x="1866" y="766"/>
                            </a:lnTo>
                            <a:lnTo>
                              <a:pt x="1852" y="770"/>
                            </a:lnTo>
                            <a:lnTo>
                              <a:pt x="1837" y="772"/>
                            </a:lnTo>
                            <a:lnTo>
                              <a:pt x="1822" y="774"/>
                            </a:lnTo>
                            <a:lnTo>
                              <a:pt x="1807" y="774"/>
                            </a:lnTo>
                            <a:lnTo>
                              <a:pt x="1792" y="774"/>
                            </a:lnTo>
                            <a:lnTo>
                              <a:pt x="1776" y="772"/>
                            </a:lnTo>
                            <a:lnTo>
                              <a:pt x="1761" y="769"/>
                            </a:lnTo>
                            <a:lnTo>
                              <a:pt x="1745" y="765"/>
                            </a:lnTo>
                            <a:lnTo>
                              <a:pt x="1730" y="760"/>
                            </a:lnTo>
                            <a:lnTo>
                              <a:pt x="1716" y="754"/>
                            </a:lnTo>
                            <a:lnTo>
                              <a:pt x="1702" y="747"/>
                            </a:lnTo>
                            <a:lnTo>
                              <a:pt x="1689" y="739"/>
                            </a:lnTo>
                            <a:lnTo>
                              <a:pt x="1676" y="730"/>
                            </a:lnTo>
                            <a:lnTo>
                              <a:pt x="1664" y="721"/>
                            </a:lnTo>
                            <a:lnTo>
                              <a:pt x="1654" y="711"/>
                            </a:lnTo>
                            <a:lnTo>
                              <a:pt x="1644" y="700"/>
                            </a:lnTo>
                            <a:lnTo>
                              <a:pt x="1387" y="375"/>
                            </a:lnTo>
                            <a:lnTo>
                              <a:pt x="1387" y="375"/>
                            </a:lnTo>
                            <a:lnTo>
                              <a:pt x="1378" y="365"/>
                            </a:lnTo>
                            <a:lnTo>
                              <a:pt x="1368" y="355"/>
                            </a:lnTo>
                            <a:lnTo>
                              <a:pt x="1356" y="346"/>
                            </a:lnTo>
                            <a:lnTo>
                              <a:pt x="1345" y="339"/>
                            </a:lnTo>
                            <a:lnTo>
                              <a:pt x="1332" y="333"/>
                            </a:lnTo>
                            <a:lnTo>
                              <a:pt x="1319" y="328"/>
                            </a:lnTo>
                            <a:lnTo>
                              <a:pt x="1306" y="325"/>
                            </a:lnTo>
                            <a:lnTo>
                              <a:pt x="1293" y="323"/>
                            </a:lnTo>
                            <a:lnTo>
                              <a:pt x="1279" y="322"/>
                            </a:lnTo>
                            <a:lnTo>
                              <a:pt x="1265" y="322"/>
                            </a:lnTo>
                            <a:lnTo>
                              <a:pt x="1252" y="324"/>
                            </a:lnTo>
                            <a:lnTo>
                              <a:pt x="1238" y="327"/>
                            </a:lnTo>
                            <a:lnTo>
                              <a:pt x="1225" y="331"/>
                            </a:lnTo>
                            <a:lnTo>
                              <a:pt x="1213" y="337"/>
                            </a:lnTo>
                            <a:lnTo>
                              <a:pt x="1200" y="344"/>
                            </a:lnTo>
                            <a:lnTo>
                              <a:pt x="1188" y="352"/>
                            </a:lnTo>
                            <a:lnTo>
                              <a:pt x="700" y="739"/>
                            </a:lnTo>
                            <a:lnTo>
                              <a:pt x="700" y="739"/>
                            </a:lnTo>
                            <a:lnTo>
                              <a:pt x="689" y="748"/>
                            </a:lnTo>
                            <a:lnTo>
                              <a:pt x="679" y="759"/>
                            </a:lnTo>
                            <a:lnTo>
                              <a:pt x="671" y="770"/>
                            </a:lnTo>
                            <a:lnTo>
                              <a:pt x="664" y="782"/>
                            </a:lnTo>
                            <a:lnTo>
                              <a:pt x="658" y="794"/>
                            </a:lnTo>
                            <a:lnTo>
                              <a:pt x="653" y="807"/>
                            </a:lnTo>
                            <a:lnTo>
                              <a:pt x="649" y="820"/>
                            </a:lnTo>
                            <a:lnTo>
                              <a:pt x="647" y="834"/>
                            </a:lnTo>
                            <a:lnTo>
                              <a:pt x="646" y="847"/>
                            </a:lnTo>
                            <a:lnTo>
                              <a:pt x="647" y="861"/>
                            </a:lnTo>
                            <a:lnTo>
                              <a:pt x="648" y="874"/>
                            </a:lnTo>
                            <a:lnTo>
                              <a:pt x="651" y="888"/>
                            </a:lnTo>
                            <a:lnTo>
                              <a:pt x="656" y="901"/>
                            </a:lnTo>
                            <a:lnTo>
                              <a:pt x="661" y="914"/>
                            </a:lnTo>
                            <a:lnTo>
                              <a:pt x="668" y="926"/>
                            </a:lnTo>
                            <a:lnTo>
                              <a:pt x="677" y="938"/>
                            </a:lnTo>
                            <a:lnTo>
                              <a:pt x="933" y="1262"/>
                            </a:lnTo>
                            <a:lnTo>
                              <a:pt x="933" y="1262"/>
                            </a:lnTo>
                            <a:lnTo>
                              <a:pt x="942" y="1274"/>
                            </a:lnTo>
                            <a:lnTo>
                              <a:pt x="950" y="1287"/>
                            </a:lnTo>
                            <a:lnTo>
                              <a:pt x="956" y="1301"/>
                            </a:lnTo>
                            <a:lnTo>
                              <a:pt x="962" y="1315"/>
                            </a:lnTo>
                            <a:lnTo>
                              <a:pt x="966" y="1330"/>
                            </a:lnTo>
                            <a:lnTo>
                              <a:pt x="970" y="1345"/>
                            </a:lnTo>
                            <a:lnTo>
                              <a:pt x="972" y="1361"/>
                            </a:lnTo>
                            <a:lnTo>
                              <a:pt x="974" y="1376"/>
                            </a:lnTo>
                            <a:lnTo>
                              <a:pt x="974" y="1392"/>
                            </a:lnTo>
                            <a:lnTo>
                              <a:pt x="973" y="1408"/>
                            </a:lnTo>
                            <a:lnTo>
                              <a:pt x="971" y="1423"/>
                            </a:lnTo>
                            <a:lnTo>
                              <a:pt x="969" y="1438"/>
                            </a:lnTo>
                            <a:lnTo>
                              <a:pt x="965" y="1453"/>
                            </a:lnTo>
                            <a:lnTo>
                              <a:pt x="960" y="1467"/>
                            </a:lnTo>
                            <a:lnTo>
                              <a:pt x="954" y="1481"/>
                            </a:lnTo>
                            <a:lnTo>
                              <a:pt x="947" y="1494"/>
                            </a:lnTo>
                            <a:lnTo>
                              <a:pt x="749" y="1901"/>
                            </a:lnTo>
                            <a:lnTo>
                              <a:pt x="749" y="1901"/>
                            </a:lnTo>
                            <a:lnTo>
                              <a:pt x="744" y="1914"/>
                            </a:lnTo>
                            <a:lnTo>
                              <a:pt x="737" y="1927"/>
                            </a:lnTo>
                            <a:lnTo>
                              <a:pt x="728" y="1940"/>
                            </a:lnTo>
                            <a:lnTo>
                              <a:pt x="719" y="1952"/>
                            </a:lnTo>
                            <a:lnTo>
                              <a:pt x="709" y="1964"/>
                            </a:lnTo>
                            <a:lnTo>
                              <a:pt x="698" y="1975"/>
                            </a:lnTo>
                            <a:lnTo>
                              <a:pt x="686" y="1985"/>
                            </a:lnTo>
                            <a:lnTo>
                              <a:pt x="673" y="1994"/>
                            </a:lnTo>
                            <a:lnTo>
                              <a:pt x="660" y="2003"/>
                            </a:lnTo>
                            <a:lnTo>
                              <a:pt x="646" y="2010"/>
                            </a:lnTo>
                            <a:lnTo>
                              <a:pt x="632" y="2017"/>
                            </a:lnTo>
                            <a:lnTo>
                              <a:pt x="617" y="2023"/>
                            </a:lnTo>
                            <a:lnTo>
                              <a:pt x="603" y="2027"/>
                            </a:lnTo>
                            <a:lnTo>
                              <a:pt x="588" y="2030"/>
                            </a:lnTo>
                            <a:lnTo>
                              <a:pt x="573" y="2032"/>
                            </a:lnTo>
                            <a:lnTo>
                              <a:pt x="558" y="2033"/>
                            </a:lnTo>
                            <a:lnTo>
                              <a:pt x="145" y="2031"/>
                            </a:lnTo>
                            <a:lnTo>
                              <a:pt x="145" y="2031"/>
                            </a:lnTo>
                            <a:lnTo>
                              <a:pt x="130" y="2032"/>
                            </a:lnTo>
                            <a:lnTo>
                              <a:pt x="116" y="2034"/>
                            </a:lnTo>
                            <a:lnTo>
                              <a:pt x="103" y="2037"/>
                            </a:lnTo>
                            <a:lnTo>
                              <a:pt x="90" y="2042"/>
                            </a:lnTo>
                            <a:lnTo>
                              <a:pt x="77" y="2048"/>
                            </a:lnTo>
                            <a:lnTo>
                              <a:pt x="65" y="2055"/>
                            </a:lnTo>
                            <a:lnTo>
                              <a:pt x="55" y="2063"/>
                            </a:lnTo>
                            <a:lnTo>
                              <a:pt x="44" y="2072"/>
                            </a:lnTo>
                            <a:lnTo>
                              <a:pt x="35" y="2083"/>
                            </a:lnTo>
                            <a:lnTo>
                              <a:pt x="27" y="2093"/>
                            </a:lnTo>
                            <a:lnTo>
                              <a:pt x="20" y="2105"/>
                            </a:lnTo>
                            <a:lnTo>
                              <a:pt x="14" y="2117"/>
                            </a:lnTo>
                            <a:lnTo>
                              <a:pt x="9" y="2130"/>
                            </a:lnTo>
                            <a:lnTo>
                              <a:pt x="5" y="2144"/>
                            </a:lnTo>
                            <a:lnTo>
                              <a:pt x="3" y="2158"/>
                            </a:lnTo>
                            <a:lnTo>
                              <a:pt x="2" y="2172"/>
                            </a:lnTo>
                            <a:lnTo>
                              <a:pt x="0" y="2797"/>
                            </a:lnTo>
                            <a:lnTo>
                              <a:pt x="0" y="2797"/>
                            </a:lnTo>
                            <a:lnTo>
                              <a:pt x="1" y="2811"/>
                            </a:lnTo>
                            <a:lnTo>
                              <a:pt x="3" y="2825"/>
                            </a:lnTo>
                            <a:lnTo>
                              <a:pt x="6" y="2839"/>
                            </a:lnTo>
                            <a:lnTo>
                              <a:pt x="11" y="2852"/>
                            </a:lnTo>
                            <a:lnTo>
                              <a:pt x="17" y="2864"/>
                            </a:lnTo>
                            <a:lnTo>
                              <a:pt x="24" y="2876"/>
                            </a:lnTo>
                            <a:lnTo>
                              <a:pt x="32" y="2887"/>
                            </a:lnTo>
                            <a:lnTo>
                              <a:pt x="41" y="2897"/>
                            </a:lnTo>
                            <a:lnTo>
                              <a:pt x="51" y="2906"/>
                            </a:lnTo>
                            <a:lnTo>
                              <a:pt x="62" y="2914"/>
                            </a:lnTo>
                            <a:lnTo>
                              <a:pt x="74" y="2921"/>
                            </a:lnTo>
                            <a:lnTo>
                              <a:pt x="86" y="2927"/>
                            </a:lnTo>
                            <a:lnTo>
                              <a:pt x="99" y="2932"/>
                            </a:lnTo>
                            <a:lnTo>
                              <a:pt x="113" y="2936"/>
                            </a:lnTo>
                            <a:lnTo>
                              <a:pt x="127" y="2938"/>
                            </a:lnTo>
                            <a:lnTo>
                              <a:pt x="141" y="2939"/>
                            </a:lnTo>
                            <a:lnTo>
                              <a:pt x="555" y="2941"/>
                            </a:lnTo>
                            <a:lnTo>
                              <a:pt x="555" y="2941"/>
                            </a:lnTo>
                            <a:lnTo>
                              <a:pt x="570" y="2941"/>
                            </a:lnTo>
                            <a:lnTo>
                              <a:pt x="584" y="2944"/>
                            </a:lnTo>
                            <a:lnTo>
                              <a:pt x="599" y="2947"/>
                            </a:lnTo>
                            <a:lnTo>
                              <a:pt x="614" y="2951"/>
                            </a:lnTo>
                            <a:lnTo>
                              <a:pt x="628" y="2957"/>
                            </a:lnTo>
                            <a:lnTo>
                              <a:pt x="642" y="2964"/>
                            </a:lnTo>
                            <a:lnTo>
                              <a:pt x="656" y="2972"/>
                            </a:lnTo>
                            <a:lnTo>
                              <a:pt x="669" y="2980"/>
                            </a:lnTo>
                            <a:lnTo>
                              <a:pt x="682" y="2990"/>
                            </a:lnTo>
                            <a:lnTo>
                              <a:pt x="694" y="3000"/>
                            </a:lnTo>
                            <a:lnTo>
                              <a:pt x="705" y="3011"/>
                            </a:lnTo>
                            <a:lnTo>
                              <a:pt x="715" y="3023"/>
                            </a:lnTo>
                            <a:lnTo>
                              <a:pt x="724" y="3035"/>
                            </a:lnTo>
                            <a:lnTo>
                              <a:pt x="732" y="3048"/>
                            </a:lnTo>
                            <a:lnTo>
                              <a:pt x="739" y="3061"/>
                            </a:lnTo>
                            <a:lnTo>
                              <a:pt x="745" y="3075"/>
                            </a:lnTo>
                            <a:lnTo>
                              <a:pt x="939" y="3482"/>
                            </a:lnTo>
                            <a:lnTo>
                              <a:pt x="939" y="3482"/>
                            </a:lnTo>
                            <a:lnTo>
                              <a:pt x="946" y="3495"/>
                            </a:lnTo>
                            <a:lnTo>
                              <a:pt x="952" y="3509"/>
                            </a:lnTo>
                            <a:lnTo>
                              <a:pt x="956" y="3523"/>
                            </a:lnTo>
                            <a:lnTo>
                              <a:pt x="960" y="3538"/>
                            </a:lnTo>
                            <a:lnTo>
                              <a:pt x="963" y="3553"/>
                            </a:lnTo>
                            <a:lnTo>
                              <a:pt x="964" y="3569"/>
                            </a:lnTo>
                            <a:lnTo>
                              <a:pt x="965" y="3585"/>
                            </a:lnTo>
                            <a:lnTo>
                              <a:pt x="965" y="3600"/>
                            </a:lnTo>
                            <a:lnTo>
                              <a:pt x="963" y="3616"/>
                            </a:lnTo>
                            <a:lnTo>
                              <a:pt x="960" y="3632"/>
                            </a:lnTo>
                            <a:lnTo>
                              <a:pt x="957" y="3647"/>
                            </a:lnTo>
                            <a:lnTo>
                              <a:pt x="952" y="3661"/>
                            </a:lnTo>
                            <a:lnTo>
                              <a:pt x="947" y="3676"/>
                            </a:lnTo>
                            <a:lnTo>
                              <a:pt x="940" y="3689"/>
                            </a:lnTo>
                            <a:lnTo>
                              <a:pt x="932" y="3702"/>
                            </a:lnTo>
                            <a:lnTo>
                              <a:pt x="924" y="3714"/>
                            </a:lnTo>
                            <a:lnTo>
                              <a:pt x="664" y="4036"/>
                            </a:lnTo>
                            <a:lnTo>
                              <a:pt x="664" y="4036"/>
                            </a:lnTo>
                            <a:lnTo>
                              <a:pt x="656" y="4048"/>
                            </a:lnTo>
                            <a:lnTo>
                              <a:pt x="649" y="4060"/>
                            </a:lnTo>
                            <a:lnTo>
                              <a:pt x="643" y="4073"/>
                            </a:lnTo>
                            <a:lnTo>
                              <a:pt x="639" y="4086"/>
                            </a:lnTo>
                            <a:lnTo>
                              <a:pt x="636" y="4100"/>
                            </a:lnTo>
                            <a:lnTo>
                              <a:pt x="634" y="4113"/>
                            </a:lnTo>
                            <a:lnTo>
                              <a:pt x="633" y="4127"/>
                            </a:lnTo>
                            <a:lnTo>
                              <a:pt x="634" y="4141"/>
                            </a:lnTo>
                            <a:lnTo>
                              <a:pt x="636" y="4154"/>
                            </a:lnTo>
                            <a:lnTo>
                              <a:pt x="640" y="4167"/>
                            </a:lnTo>
                            <a:lnTo>
                              <a:pt x="644" y="4180"/>
                            </a:lnTo>
                            <a:lnTo>
                              <a:pt x="650" y="4192"/>
                            </a:lnTo>
                            <a:lnTo>
                              <a:pt x="657" y="4204"/>
                            </a:lnTo>
                            <a:lnTo>
                              <a:pt x="666" y="4216"/>
                            </a:lnTo>
                            <a:lnTo>
                              <a:pt x="675" y="4226"/>
                            </a:lnTo>
                            <a:lnTo>
                              <a:pt x="686" y="4236"/>
                            </a:lnTo>
                            <a:lnTo>
                              <a:pt x="1172" y="4626"/>
                            </a:lnTo>
                            <a:lnTo>
                              <a:pt x="1172" y="4626"/>
                            </a:lnTo>
                            <a:lnTo>
                              <a:pt x="1183" y="4634"/>
                            </a:lnTo>
                            <a:lnTo>
                              <a:pt x="1196" y="4642"/>
                            </a:lnTo>
                            <a:lnTo>
                              <a:pt x="1208" y="4647"/>
                            </a:lnTo>
                            <a:lnTo>
                              <a:pt x="1221" y="4652"/>
                            </a:lnTo>
                            <a:lnTo>
                              <a:pt x="1235" y="4655"/>
                            </a:lnTo>
                            <a:lnTo>
                              <a:pt x="1248" y="4657"/>
                            </a:lnTo>
                            <a:lnTo>
                              <a:pt x="1262" y="4657"/>
                            </a:lnTo>
                            <a:lnTo>
                              <a:pt x="1276" y="4656"/>
                            </a:lnTo>
                            <a:lnTo>
                              <a:pt x="1289" y="4654"/>
                            </a:lnTo>
                            <a:lnTo>
                              <a:pt x="1302" y="4651"/>
                            </a:lnTo>
                            <a:lnTo>
                              <a:pt x="1315" y="4646"/>
                            </a:lnTo>
                            <a:lnTo>
                              <a:pt x="1328" y="4640"/>
                            </a:lnTo>
                            <a:lnTo>
                              <a:pt x="1339" y="4633"/>
                            </a:lnTo>
                            <a:lnTo>
                              <a:pt x="1351" y="4625"/>
                            </a:lnTo>
                            <a:lnTo>
                              <a:pt x="1361" y="4615"/>
                            </a:lnTo>
                            <a:lnTo>
                              <a:pt x="1371" y="4604"/>
                            </a:lnTo>
                            <a:lnTo>
                              <a:pt x="1630" y="4283"/>
                            </a:lnTo>
                            <a:lnTo>
                              <a:pt x="1630" y="4283"/>
                            </a:lnTo>
                            <a:lnTo>
                              <a:pt x="1639" y="4272"/>
                            </a:lnTo>
                            <a:lnTo>
                              <a:pt x="1650" y="4262"/>
                            </a:lnTo>
                            <a:lnTo>
                              <a:pt x="1662" y="4252"/>
                            </a:lnTo>
                            <a:lnTo>
                              <a:pt x="1675" y="4244"/>
                            </a:lnTo>
                            <a:lnTo>
                              <a:pt x="1688" y="4236"/>
                            </a:lnTo>
                            <a:lnTo>
                              <a:pt x="1702" y="4229"/>
                            </a:lnTo>
                            <a:lnTo>
                              <a:pt x="1717" y="4223"/>
                            </a:lnTo>
                            <a:lnTo>
                              <a:pt x="1732" y="4219"/>
                            </a:lnTo>
                            <a:lnTo>
                              <a:pt x="1747" y="4215"/>
                            </a:lnTo>
                            <a:lnTo>
                              <a:pt x="1762" y="4212"/>
                            </a:lnTo>
                            <a:lnTo>
                              <a:pt x="1778" y="4210"/>
                            </a:lnTo>
                            <a:lnTo>
                              <a:pt x="1793" y="4210"/>
                            </a:lnTo>
                            <a:lnTo>
                              <a:pt x="1809" y="4210"/>
                            </a:lnTo>
                            <a:lnTo>
                              <a:pt x="1824" y="4212"/>
                            </a:lnTo>
                            <a:lnTo>
                              <a:pt x="1838" y="4215"/>
                            </a:lnTo>
                            <a:lnTo>
                              <a:pt x="1852" y="4219"/>
                            </a:lnTo>
                            <a:lnTo>
                              <a:pt x="2295" y="4319"/>
                            </a:lnTo>
                            <a:lnTo>
                              <a:pt x="2295" y="4319"/>
                            </a:lnTo>
                            <a:lnTo>
                              <a:pt x="2309" y="4322"/>
                            </a:lnTo>
                            <a:lnTo>
                              <a:pt x="2324" y="4326"/>
                            </a:lnTo>
                            <a:lnTo>
                              <a:pt x="2338" y="4331"/>
                            </a:lnTo>
                            <a:lnTo>
                              <a:pt x="2352" y="4337"/>
                            </a:lnTo>
                            <a:lnTo>
                              <a:pt x="2366" y="4345"/>
                            </a:lnTo>
                            <a:lnTo>
                              <a:pt x="2379" y="4353"/>
                            </a:lnTo>
                            <a:lnTo>
                              <a:pt x="2391" y="4363"/>
                            </a:lnTo>
                            <a:lnTo>
                              <a:pt x="2403" y="4373"/>
                            </a:lnTo>
                            <a:lnTo>
                              <a:pt x="2415" y="4384"/>
                            </a:lnTo>
                            <a:lnTo>
                              <a:pt x="2425" y="4396"/>
                            </a:lnTo>
                            <a:lnTo>
                              <a:pt x="2435" y="4408"/>
                            </a:lnTo>
                            <a:lnTo>
                              <a:pt x="2443" y="4421"/>
                            </a:lnTo>
                            <a:lnTo>
                              <a:pt x="2451" y="4434"/>
                            </a:lnTo>
                            <a:lnTo>
                              <a:pt x="2457" y="4448"/>
                            </a:lnTo>
                            <a:lnTo>
                              <a:pt x="2464" y="4462"/>
                            </a:lnTo>
                            <a:lnTo>
                              <a:pt x="2468" y="4476"/>
                            </a:lnTo>
                            <a:lnTo>
                              <a:pt x="2558" y="4880"/>
                            </a:lnTo>
                            <a:lnTo>
                              <a:pt x="2558" y="4880"/>
                            </a:lnTo>
                            <a:lnTo>
                              <a:pt x="2562" y="4894"/>
                            </a:lnTo>
                            <a:lnTo>
                              <a:pt x="2567" y="4907"/>
                            </a:lnTo>
                            <a:lnTo>
                              <a:pt x="2574" y="4919"/>
                            </a:lnTo>
                            <a:lnTo>
                              <a:pt x="2581" y="4931"/>
                            </a:lnTo>
                            <a:lnTo>
                              <a:pt x="2590" y="4942"/>
                            </a:lnTo>
                            <a:lnTo>
                              <a:pt x="2600" y="4952"/>
                            </a:lnTo>
                            <a:lnTo>
                              <a:pt x="2610" y="4960"/>
                            </a:lnTo>
                            <a:lnTo>
                              <a:pt x="2621" y="4968"/>
                            </a:lnTo>
                            <a:lnTo>
                              <a:pt x="2633" y="4975"/>
                            </a:lnTo>
                            <a:lnTo>
                              <a:pt x="2645" y="4981"/>
                            </a:lnTo>
                            <a:lnTo>
                              <a:pt x="2658" y="4985"/>
                            </a:lnTo>
                            <a:lnTo>
                              <a:pt x="2672" y="4988"/>
                            </a:lnTo>
                            <a:lnTo>
                              <a:pt x="2685" y="4990"/>
                            </a:lnTo>
                            <a:lnTo>
                              <a:pt x="2699" y="4990"/>
                            </a:lnTo>
                            <a:lnTo>
                              <a:pt x="2714" y="4989"/>
                            </a:lnTo>
                            <a:lnTo>
                              <a:pt x="2728" y="4987"/>
                            </a:lnTo>
                            <a:lnTo>
                              <a:pt x="3336" y="4850"/>
                            </a:lnTo>
                            <a:lnTo>
                              <a:pt x="3336" y="4850"/>
                            </a:lnTo>
                            <a:lnTo>
                              <a:pt x="3350" y="4846"/>
                            </a:lnTo>
                            <a:lnTo>
                              <a:pt x="3363" y="4841"/>
                            </a:lnTo>
                            <a:lnTo>
                              <a:pt x="3376" y="4835"/>
                            </a:lnTo>
                            <a:lnTo>
                              <a:pt x="3387" y="4827"/>
                            </a:lnTo>
                            <a:lnTo>
                              <a:pt x="3398" y="4819"/>
                            </a:lnTo>
                            <a:lnTo>
                              <a:pt x="3408" y="4809"/>
                            </a:lnTo>
                            <a:lnTo>
                              <a:pt x="3417" y="4799"/>
                            </a:lnTo>
                            <a:lnTo>
                              <a:pt x="3425" y="4787"/>
                            </a:lnTo>
                            <a:lnTo>
                              <a:pt x="3431" y="4776"/>
                            </a:lnTo>
                            <a:lnTo>
                              <a:pt x="3437" y="4763"/>
                            </a:lnTo>
                            <a:lnTo>
                              <a:pt x="3441" y="4750"/>
                            </a:lnTo>
                            <a:lnTo>
                              <a:pt x="3444" y="4737"/>
                            </a:lnTo>
                            <a:lnTo>
                              <a:pt x="3446" y="4723"/>
                            </a:lnTo>
                            <a:lnTo>
                              <a:pt x="3447" y="4709"/>
                            </a:lnTo>
                            <a:lnTo>
                              <a:pt x="3446" y="4695"/>
                            </a:lnTo>
                            <a:lnTo>
                              <a:pt x="3443" y="4681"/>
                            </a:lnTo>
                            <a:lnTo>
                              <a:pt x="3352" y="4278"/>
                            </a:lnTo>
                            <a:lnTo>
                              <a:pt x="3352" y="4278"/>
                            </a:lnTo>
                            <a:lnTo>
                              <a:pt x="3350" y="4263"/>
                            </a:lnTo>
                            <a:lnTo>
                              <a:pt x="3349" y="4248"/>
                            </a:lnTo>
                            <a:lnTo>
                              <a:pt x="3349" y="4233"/>
                            </a:lnTo>
                            <a:lnTo>
                              <a:pt x="3350" y="4218"/>
                            </a:lnTo>
                            <a:lnTo>
                              <a:pt x="3352" y="4203"/>
                            </a:lnTo>
                            <a:lnTo>
                              <a:pt x="3356" y="4187"/>
                            </a:lnTo>
                            <a:lnTo>
                              <a:pt x="3360" y="4172"/>
                            </a:lnTo>
                            <a:lnTo>
                              <a:pt x="3366" y="4158"/>
                            </a:lnTo>
                            <a:lnTo>
                              <a:pt x="3372" y="4143"/>
                            </a:lnTo>
                            <a:lnTo>
                              <a:pt x="3379" y="4129"/>
                            </a:lnTo>
                            <a:lnTo>
                              <a:pt x="3388" y="4116"/>
                            </a:lnTo>
                            <a:lnTo>
                              <a:pt x="3397" y="4103"/>
                            </a:lnTo>
                            <a:lnTo>
                              <a:pt x="3407" y="4092"/>
                            </a:lnTo>
                            <a:lnTo>
                              <a:pt x="3417" y="4081"/>
                            </a:lnTo>
                            <a:lnTo>
                              <a:pt x="3429" y="4071"/>
                            </a:lnTo>
                            <a:lnTo>
                              <a:pt x="3441" y="4063"/>
                            </a:lnTo>
                            <a:lnTo>
                              <a:pt x="3795" y="3783"/>
                            </a:lnTo>
                            <a:lnTo>
                              <a:pt x="3795" y="3783"/>
                            </a:lnTo>
                            <a:lnTo>
                              <a:pt x="3806" y="3773"/>
                            </a:lnTo>
                            <a:lnTo>
                              <a:pt x="3818" y="3764"/>
                            </a:lnTo>
                            <a:lnTo>
                              <a:pt x="3831" y="3756"/>
                            </a:lnTo>
                            <a:lnTo>
                              <a:pt x="3845" y="3749"/>
                            </a:lnTo>
                            <a:lnTo>
                              <a:pt x="3859" y="3743"/>
                            </a:lnTo>
                            <a:lnTo>
                              <a:pt x="3874" y="3738"/>
                            </a:lnTo>
                            <a:lnTo>
                              <a:pt x="3889" y="3734"/>
                            </a:lnTo>
                            <a:lnTo>
                              <a:pt x="3905" y="3731"/>
                            </a:lnTo>
                            <a:lnTo>
                              <a:pt x="3920" y="3729"/>
                            </a:lnTo>
                            <a:lnTo>
                              <a:pt x="3936" y="3728"/>
                            </a:lnTo>
                            <a:lnTo>
                              <a:pt x="3952" y="3728"/>
                            </a:lnTo>
                            <a:lnTo>
                              <a:pt x="3967" y="3730"/>
                            </a:lnTo>
                            <a:lnTo>
                              <a:pt x="3982" y="3732"/>
                            </a:lnTo>
                            <a:lnTo>
                              <a:pt x="3997" y="3735"/>
                            </a:lnTo>
                            <a:lnTo>
                              <a:pt x="4011" y="3740"/>
                            </a:lnTo>
                            <a:lnTo>
                              <a:pt x="4024" y="3746"/>
                            </a:lnTo>
                            <a:lnTo>
                              <a:pt x="4396" y="3926"/>
                            </a:lnTo>
                            <a:lnTo>
                              <a:pt x="4396" y="3926"/>
                            </a:lnTo>
                            <a:lnTo>
                              <a:pt x="4409" y="3932"/>
                            </a:lnTo>
                            <a:lnTo>
                              <a:pt x="4423" y="3936"/>
                            </a:lnTo>
                            <a:lnTo>
                              <a:pt x="4436" y="3939"/>
                            </a:lnTo>
                            <a:lnTo>
                              <a:pt x="4450" y="3940"/>
                            </a:lnTo>
                            <a:lnTo>
                              <a:pt x="4464" y="3940"/>
                            </a:lnTo>
                            <a:lnTo>
                              <a:pt x="4477" y="3939"/>
                            </a:lnTo>
                            <a:lnTo>
                              <a:pt x="4491" y="3936"/>
                            </a:lnTo>
                            <a:lnTo>
                              <a:pt x="4504" y="3932"/>
                            </a:lnTo>
                            <a:lnTo>
                              <a:pt x="4516" y="3927"/>
                            </a:lnTo>
                            <a:lnTo>
                              <a:pt x="4529" y="3921"/>
                            </a:lnTo>
                            <a:lnTo>
                              <a:pt x="4540" y="3914"/>
                            </a:lnTo>
                            <a:lnTo>
                              <a:pt x="4551" y="3905"/>
                            </a:lnTo>
                            <a:lnTo>
                              <a:pt x="4561" y="3896"/>
                            </a:lnTo>
                            <a:lnTo>
                              <a:pt x="4570" y="3885"/>
                            </a:lnTo>
                            <a:lnTo>
                              <a:pt x="4578" y="3873"/>
                            </a:lnTo>
                            <a:lnTo>
                              <a:pt x="4585" y="3860"/>
                            </a:lnTo>
                            <a:lnTo>
                              <a:pt x="4857" y="3300"/>
                            </a:lnTo>
                            <a:lnTo>
                              <a:pt x="4857" y="3300"/>
                            </a:lnTo>
                            <a:lnTo>
                              <a:pt x="4863" y="3286"/>
                            </a:lnTo>
                            <a:lnTo>
                              <a:pt x="4867" y="3273"/>
                            </a:lnTo>
                            <a:lnTo>
                              <a:pt x="4870" y="3259"/>
                            </a:lnTo>
                            <a:lnTo>
                              <a:pt x="4871" y="3245"/>
                            </a:lnTo>
                            <a:lnTo>
                              <a:pt x="4872" y="3231"/>
                            </a:lnTo>
                            <a:lnTo>
                              <a:pt x="4870" y="3218"/>
                            </a:lnTo>
                            <a:lnTo>
                              <a:pt x="4868" y="3204"/>
                            </a:lnTo>
                            <a:lnTo>
                              <a:pt x="4864" y="3191"/>
                            </a:lnTo>
                            <a:lnTo>
                              <a:pt x="4859" y="3179"/>
                            </a:lnTo>
                            <a:lnTo>
                              <a:pt x="4853" y="3167"/>
                            </a:lnTo>
                            <a:lnTo>
                              <a:pt x="4845" y="3155"/>
                            </a:lnTo>
                            <a:lnTo>
                              <a:pt x="4837" y="3144"/>
                            </a:lnTo>
                            <a:lnTo>
                              <a:pt x="4827" y="3134"/>
                            </a:lnTo>
                            <a:lnTo>
                              <a:pt x="4816" y="3125"/>
                            </a:lnTo>
                            <a:lnTo>
                              <a:pt x="4805" y="3117"/>
                            </a:lnTo>
                            <a:lnTo>
                              <a:pt x="4792" y="3110"/>
                            </a:lnTo>
                            <a:lnTo>
                              <a:pt x="4421" y="2930"/>
                            </a:lnTo>
                            <a:lnTo>
                              <a:pt x="4421" y="2930"/>
                            </a:lnTo>
                            <a:lnTo>
                              <a:pt x="4408" y="2923"/>
                            </a:lnTo>
                            <a:lnTo>
                              <a:pt x="4396" y="2915"/>
                            </a:lnTo>
                            <a:lnTo>
                              <a:pt x="4384" y="2905"/>
                            </a:lnTo>
                            <a:lnTo>
                              <a:pt x="4373" y="2895"/>
                            </a:lnTo>
                            <a:lnTo>
                              <a:pt x="4363" y="2884"/>
                            </a:lnTo>
                            <a:lnTo>
                              <a:pt x="4354" y="2872"/>
                            </a:lnTo>
                            <a:lnTo>
                              <a:pt x="4345" y="2859"/>
                            </a:lnTo>
                            <a:lnTo>
                              <a:pt x="4338" y="2845"/>
                            </a:lnTo>
                            <a:lnTo>
                              <a:pt x="4331" y="2831"/>
                            </a:lnTo>
                            <a:lnTo>
                              <a:pt x="4325" y="2817"/>
                            </a:lnTo>
                            <a:lnTo>
                              <a:pt x="4321" y="2802"/>
                            </a:lnTo>
                            <a:lnTo>
                              <a:pt x="4317" y="2787"/>
                            </a:lnTo>
                            <a:lnTo>
                              <a:pt x="4315" y="2772"/>
                            </a:lnTo>
                            <a:lnTo>
                              <a:pt x="4314" y="2758"/>
                            </a:lnTo>
                            <a:lnTo>
                              <a:pt x="4314" y="2743"/>
                            </a:lnTo>
                            <a:lnTo>
                              <a:pt x="4316" y="2728"/>
                            </a:lnTo>
                            <a:lnTo>
                              <a:pt x="4316" y="2728"/>
                            </a:lnTo>
                            <a:lnTo>
                              <a:pt x="4318" y="2710"/>
                            </a:lnTo>
                            <a:lnTo>
                              <a:pt x="4323" y="2662"/>
                            </a:lnTo>
                            <a:lnTo>
                              <a:pt x="4326" y="2629"/>
                            </a:lnTo>
                            <a:lnTo>
                              <a:pt x="4329" y="2590"/>
                            </a:lnTo>
                            <a:lnTo>
                              <a:pt x="4331" y="2548"/>
                            </a:lnTo>
                            <a:lnTo>
                              <a:pt x="4332" y="2502"/>
                            </a:lnTo>
                            <a:lnTo>
                              <a:pt x="4332" y="2502"/>
                            </a:lnTo>
                            <a:close/>
                            <a:moveTo>
                              <a:pt x="3788" y="2500"/>
                            </a:moveTo>
                            <a:lnTo>
                              <a:pt x="3788" y="2500"/>
                            </a:lnTo>
                            <a:lnTo>
                              <a:pt x="3787" y="2533"/>
                            </a:lnTo>
                            <a:lnTo>
                              <a:pt x="3786" y="2567"/>
                            </a:lnTo>
                            <a:lnTo>
                              <a:pt x="3784" y="2600"/>
                            </a:lnTo>
                            <a:lnTo>
                              <a:pt x="3780" y="2633"/>
                            </a:lnTo>
                            <a:lnTo>
                              <a:pt x="3777" y="2666"/>
                            </a:lnTo>
                            <a:lnTo>
                              <a:pt x="3772" y="2698"/>
                            </a:lnTo>
                            <a:lnTo>
                              <a:pt x="3767" y="2730"/>
                            </a:lnTo>
                            <a:lnTo>
                              <a:pt x="3760" y="2762"/>
                            </a:lnTo>
                            <a:lnTo>
                              <a:pt x="3753" y="2794"/>
                            </a:lnTo>
                            <a:lnTo>
                              <a:pt x="3746" y="2825"/>
                            </a:lnTo>
                            <a:lnTo>
                              <a:pt x="3737" y="2856"/>
                            </a:lnTo>
                            <a:lnTo>
                              <a:pt x="3728" y="2887"/>
                            </a:lnTo>
                            <a:lnTo>
                              <a:pt x="3718" y="2917"/>
                            </a:lnTo>
                            <a:lnTo>
                              <a:pt x="3707" y="2947"/>
                            </a:lnTo>
                            <a:lnTo>
                              <a:pt x="3696" y="2977"/>
                            </a:lnTo>
                            <a:lnTo>
                              <a:pt x="3684" y="3006"/>
                            </a:lnTo>
                            <a:lnTo>
                              <a:pt x="3671" y="3035"/>
                            </a:lnTo>
                            <a:lnTo>
                              <a:pt x="3657" y="3064"/>
                            </a:lnTo>
                            <a:lnTo>
                              <a:pt x="3643" y="3092"/>
                            </a:lnTo>
                            <a:lnTo>
                              <a:pt x="3628" y="3120"/>
                            </a:lnTo>
                            <a:lnTo>
                              <a:pt x="3613" y="3147"/>
                            </a:lnTo>
                            <a:lnTo>
                              <a:pt x="3597" y="3174"/>
                            </a:lnTo>
                            <a:lnTo>
                              <a:pt x="3580" y="3201"/>
                            </a:lnTo>
                            <a:lnTo>
                              <a:pt x="3563" y="3227"/>
                            </a:lnTo>
                            <a:lnTo>
                              <a:pt x="3545" y="3252"/>
                            </a:lnTo>
                            <a:lnTo>
                              <a:pt x="3526" y="3278"/>
                            </a:lnTo>
                            <a:lnTo>
                              <a:pt x="3507" y="3302"/>
                            </a:lnTo>
                            <a:lnTo>
                              <a:pt x="3487" y="3327"/>
                            </a:lnTo>
                            <a:lnTo>
                              <a:pt x="3467" y="3350"/>
                            </a:lnTo>
                            <a:lnTo>
                              <a:pt x="3446" y="3374"/>
                            </a:lnTo>
                            <a:lnTo>
                              <a:pt x="3425" y="3396"/>
                            </a:lnTo>
                            <a:lnTo>
                              <a:pt x="3403" y="3419"/>
                            </a:lnTo>
                            <a:lnTo>
                              <a:pt x="3381" y="3440"/>
                            </a:lnTo>
                            <a:lnTo>
                              <a:pt x="3358" y="3462"/>
                            </a:lnTo>
                            <a:lnTo>
                              <a:pt x="3334" y="3482"/>
                            </a:lnTo>
                            <a:lnTo>
                              <a:pt x="3310" y="3502"/>
                            </a:lnTo>
                            <a:lnTo>
                              <a:pt x="3286" y="3522"/>
                            </a:lnTo>
                            <a:lnTo>
                              <a:pt x="3261" y="3541"/>
                            </a:lnTo>
                            <a:lnTo>
                              <a:pt x="3236" y="3559"/>
                            </a:lnTo>
                            <a:lnTo>
                              <a:pt x="3210" y="3577"/>
                            </a:lnTo>
                            <a:lnTo>
                              <a:pt x="3184" y="3594"/>
                            </a:lnTo>
                            <a:lnTo>
                              <a:pt x="3157" y="3611"/>
                            </a:lnTo>
                            <a:lnTo>
                              <a:pt x="3130" y="3626"/>
                            </a:lnTo>
                            <a:lnTo>
                              <a:pt x="3102" y="3642"/>
                            </a:lnTo>
                            <a:lnTo>
                              <a:pt x="3074" y="3656"/>
                            </a:lnTo>
                            <a:lnTo>
                              <a:pt x="3046" y="3670"/>
                            </a:lnTo>
                            <a:lnTo>
                              <a:pt x="3017" y="3683"/>
                            </a:lnTo>
                            <a:lnTo>
                              <a:pt x="2988" y="3696"/>
                            </a:lnTo>
                            <a:lnTo>
                              <a:pt x="2959" y="3708"/>
                            </a:lnTo>
                            <a:lnTo>
                              <a:pt x="2929" y="3719"/>
                            </a:lnTo>
                            <a:lnTo>
                              <a:pt x="2899" y="3730"/>
                            </a:lnTo>
                            <a:lnTo>
                              <a:pt x="2868" y="3739"/>
                            </a:lnTo>
                            <a:lnTo>
                              <a:pt x="2838" y="3748"/>
                            </a:lnTo>
                            <a:lnTo>
                              <a:pt x="2807" y="3757"/>
                            </a:lnTo>
                            <a:lnTo>
                              <a:pt x="2775" y="3764"/>
                            </a:lnTo>
                            <a:lnTo>
                              <a:pt x="2744" y="3771"/>
                            </a:lnTo>
                            <a:lnTo>
                              <a:pt x="2712" y="3777"/>
                            </a:lnTo>
                            <a:lnTo>
                              <a:pt x="2679" y="3782"/>
                            </a:lnTo>
                            <a:lnTo>
                              <a:pt x="2647" y="3787"/>
                            </a:lnTo>
                            <a:lnTo>
                              <a:pt x="2614" y="3790"/>
                            </a:lnTo>
                            <a:lnTo>
                              <a:pt x="2581" y="3793"/>
                            </a:lnTo>
                            <a:lnTo>
                              <a:pt x="2548" y="3795"/>
                            </a:lnTo>
                            <a:lnTo>
                              <a:pt x="2515" y="3796"/>
                            </a:lnTo>
                            <a:lnTo>
                              <a:pt x="2481" y="3796"/>
                            </a:lnTo>
                            <a:lnTo>
                              <a:pt x="2481" y="3796"/>
                            </a:lnTo>
                            <a:lnTo>
                              <a:pt x="2446" y="3796"/>
                            </a:lnTo>
                            <a:lnTo>
                              <a:pt x="2413" y="3794"/>
                            </a:lnTo>
                            <a:lnTo>
                              <a:pt x="2380" y="3792"/>
                            </a:lnTo>
                            <a:lnTo>
                              <a:pt x="2347" y="3789"/>
                            </a:lnTo>
                            <a:lnTo>
                              <a:pt x="2314" y="3785"/>
                            </a:lnTo>
                            <a:lnTo>
                              <a:pt x="2282" y="3781"/>
                            </a:lnTo>
                            <a:lnTo>
                              <a:pt x="2250" y="3775"/>
                            </a:lnTo>
                            <a:lnTo>
                              <a:pt x="2218" y="3769"/>
                            </a:lnTo>
                            <a:lnTo>
                              <a:pt x="2186" y="3762"/>
                            </a:lnTo>
                            <a:lnTo>
                              <a:pt x="2155" y="3754"/>
                            </a:lnTo>
                            <a:lnTo>
                              <a:pt x="2124" y="3746"/>
                            </a:lnTo>
                            <a:lnTo>
                              <a:pt x="2093" y="3736"/>
                            </a:lnTo>
                            <a:lnTo>
                              <a:pt x="2063" y="3726"/>
                            </a:lnTo>
                            <a:lnTo>
                              <a:pt x="2033" y="3716"/>
                            </a:lnTo>
                            <a:lnTo>
                              <a:pt x="2003" y="3704"/>
                            </a:lnTo>
                            <a:lnTo>
                              <a:pt x="1974" y="3692"/>
                            </a:lnTo>
                            <a:lnTo>
                              <a:pt x="1945" y="3679"/>
                            </a:lnTo>
                            <a:lnTo>
                              <a:pt x="1916" y="3666"/>
                            </a:lnTo>
                            <a:lnTo>
                              <a:pt x="1888" y="3652"/>
                            </a:lnTo>
                            <a:lnTo>
                              <a:pt x="1860" y="3637"/>
                            </a:lnTo>
                            <a:lnTo>
                              <a:pt x="1833" y="3621"/>
                            </a:lnTo>
                            <a:lnTo>
                              <a:pt x="1806" y="3605"/>
                            </a:lnTo>
                            <a:lnTo>
                              <a:pt x="1779" y="3589"/>
                            </a:lnTo>
                            <a:lnTo>
                              <a:pt x="1753" y="3571"/>
                            </a:lnTo>
                            <a:lnTo>
                              <a:pt x="1728" y="3553"/>
                            </a:lnTo>
                            <a:lnTo>
                              <a:pt x="1702" y="3535"/>
                            </a:lnTo>
                            <a:lnTo>
                              <a:pt x="1678" y="3516"/>
                            </a:lnTo>
                            <a:lnTo>
                              <a:pt x="1653" y="3496"/>
                            </a:lnTo>
                            <a:lnTo>
                              <a:pt x="1630" y="3476"/>
                            </a:lnTo>
                            <a:lnTo>
                              <a:pt x="1606" y="3455"/>
                            </a:lnTo>
                            <a:lnTo>
                              <a:pt x="1584" y="3433"/>
                            </a:lnTo>
                            <a:lnTo>
                              <a:pt x="1561" y="3412"/>
                            </a:lnTo>
                            <a:lnTo>
                              <a:pt x="1540" y="3389"/>
                            </a:lnTo>
                            <a:lnTo>
                              <a:pt x="1518" y="3366"/>
                            </a:lnTo>
                            <a:lnTo>
                              <a:pt x="1498" y="3343"/>
                            </a:lnTo>
                            <a:lnTo>
                              <a:pt x="1478" y="3319"/>
                            </a:lnTo>
                            <a:lnTo>
                              <a:pt x="1458" y="3294"/>
                            </a:lnTo>
                            <a:lnTo>
                              <a:pt x="1439" y="3269"/>
                            </a:lnTo>
                            <a:lnTo>
                              <a:pt x="1421" y="3244"/>
                            </a:lnTo>
                            <a:lnTo>
                              <a:pt x="1403" y="3218"/>
                            </a:lnTo>
                            <a:lnTo>
                              <a:pt x="1386" y="3192"/>
                            </a:lnTo>
                            <a:lnTo>
                              <a:pt x="1370" y="3165"/>
                            </a:lnTo>
                            <a:lnTo>
                              <a:pt x="1354" y="3138"/>
                            </a:lnTo>
                            <a:lnTo>
                              <a:pt x="1338" y="3111"/>
                            </a:lnTo>
                            <a:lnTo>
                              <a:pt x="1324" y="3083"/>
                            </a:lnTo>
                            <a:lnTo>
                              <a:pt x="1310" y="3054"/>
                            </a:lnTo>
                            <a:lnTo>
                              <a:pt x="1297" y="3026"/>
                            </a:lnTo>
                            <a:lnTo>
                              <a:pt x="1284" y="2997"/>
                            </a:lnTo>
                            <a:lnTo>
                              <a:pt x="1272" y="2967"/>
                            </a:lnTo>
                            <a:lnTo>
                              <a:pt x="1261" y="2937"/>
                            </a:lnTo>
                            <a:lnTo>
                              <a:pt x="1250" y="2907"/>
                            </a:lnTo>
                            <a:lnTo>
                              <a:pt x="1241" y="2877"/>
                            </a:lnTo>
                            <a:lnTo>
                              <a:pt x="1232" y="2846"/>
                            </a:lnTo>
                            <a:lnTo>
                              <a:pt x="1223" y="2815"/>
                            </a:lnTo>
                            <a:lnTo>
                              <a:pt x="1216" y="2784"/>
                            </a:lnTo>
                            <a:lnTo>
                              <a:pt x="1209" y="2752"/>
                            </a:lnTo>
                            <a:lnTo>
                              <a:pt x="1203" y="2720"/>
                            </a:lnTo>
                            <a:lnTo>
                              <a:pt x="1198" y="2688"/>
                            </a:lnTo>
                            <a:lnTo>
                              <a:pt x="1194" y="2655"/>
                            </a:lnTo>
                            <a:lnTo>
                              <a:pt x="1190" y="2623"/>
                            </a:lnTo>
                            <a:lnTo>
                              <a:pt x="1187" y="2590"/>
                            </a:lnTo>
                            <a:lnTo>
                              <a:pt x="1185" y="2557"/>
                            </a:lnTo>
                            <a:lnTo>
                              <a:pt x="1184" y="2523"/>
                            </a:lnTo>
                            <a:lnTo>
                              <a:pt x="1184" y="2490"/>
                            </a:lnTo>
                            <a:lnTo>
                              <a:pt x="1184" y="2490"/>
                            </a:lnTo>
                            <a:lnTo>
                              <a:pt x="1184" y="2455"/>
                            </a:lnTo>
                            <a:lnTo>
                              <a:pt x="1186" y="2422"/>
                            </a:lnTo>
                            <a:lnTo>
                              <a:pt x="1188" y="2388"/>
                            </a:lnTo>
                            <a:lnTo>
                              <a:pt x="1191" y="2356"/>
                            </a:lnTo>
                            <a:lnTo>
                              <a:pt x="1195" y="2323"/>
                            </a:lnTo>
                            <a:lnTo>
                              <a:pt x="1199" y="2290"/>
                            </a:lnTo>
                            <a:lnTo>
                              <a:pt x="1205" y="2258"/>
                            </a:lnTo>
                            <a:lnTo>
                              <a:pt x="1211" y="2226"/>
                            </a:lnTo>
                            <a:lnTo>
                              <a:pt x="1218" y="2195"/>
                            </a:lnTo>
                            <a:lnTo>
                              <a:pt x="1226" y="2163"/>
                            </a:lnTo>
                            <a:lnTo>
                              <a:pt x="1234" y="2132"/>
                            </a:lnTo>
                            <a:lnTo>
                              <a:pt x="1244" y="2102"/>
                            </a:lnTo>
                            <a:lnTo>
                              <a:pt x="1254" y="2071"/>
                            </a:lnTo>
                            <a:lnTo>
                              <a:pt x="1264" y="2041"/>
                            </a:lnTo>
                            <a:lnTo>
                              <a:pt x="1276" y="2012"/>
                            </a:lnTo>
                            <a:lnTo>
                              <a:pt x="1288" y="1982"/>
                            </a:lnTo>
                            <a:lnTo>
                              <a:pt x="1301" y="1953"/>
                            </a:lnTo>
                            <a:lnTo>
                              <a:pt x="1314" y="1925"/>
                            </a:lnTo>
                            <a:lnTo>
                              <a:pt x="1328" y="1897"/>
                            </a:lnTo>
                            <a:lnTo>
                              <a:pt x="1343" y="1869"/>
                            </a:lnTo>
                            <a:lnTo>
                              <a:pt x="1359" y="1841"/>
                            </a:lnTo>
                            <a:lnTo>
                              <a:pt x="1375" y="1814"/>
                            </a:lnTo>
                            <a:lnTo>
                              <a:pt x="1391" y="1788"/>
                            </a:lnTo>
                            <a:lnTo>
                              <a:pt x="1409" y="1762"/>
                            </a:lnTo>
                            <a:lnTo>
                              <a:pt x="1427" y="1736"/>
                            </a:lnTo>
                            <a:lnTo>
                              <a:pt x="1445" y="1711"/>
                            </a:lnTo>
                            <a:lnTo>
                              <a:pt x="1464" y="1686"/>
                            </a:lnTo>
                            <a:lnTo>
                              <a:pt x="1484" y="1662"/>
                            </a:lnTo>
                            <a:lnTo>
                              <a:pt x="1504" y="1638"/>
                            </a:lnTo>
                            <a:lnTo>
                              <a:pt x="1525" y="1615"/>
                            </a:lnTo>
                            <a:lnTo>
                              <a:pt x="1547" y="1592"/>
                            </a:lnTo>
                            <a:lnTo>
                              <a:pt x="1569" y="1570"/>
                            </a:lnTo>
                            <a:lnTo>
                              <a:pt x="1591" y="1548"/>
                            </a:lnTo>
                            <a:lnTo>
                              <a:pt x="1614" y="1527"/>
                            </a:lnTo>
                            <a:lnTo>
                              <a:pt x="1637" y="1506"/>
                            </a:lnTo>
                            <a:lnTo>
                              <a:pt x="1661" y="1486"/>
                            </a:lnTo>
                            <a:lnTo>
                              <a:pt x="1686" y="1467"/>
                            </a:lnTo>
                            <a:lnTo>
                              <a:pt x="1711" y="1448"/>
                            </a:lnTo>
                            <a:lnTo>
                              <a:pt x="1736" y="1429"/>
                            </a:lnTo>
                            <a:lnTo>
                              <a:pt x="1762" y="1412"/>
                            </a:lnTo>
                            <a:lnTo>
                              <a:pt x="1788" y="1395"/>
                            </a:lnTo>
                            <a:lnTo>
                              <a:pt x="1815" y="1378"/>
                            </a:lnTo>
                            <a:lnTo>
                              <a:pt x="1842" y="1362"/>
                            </a:lnTo>
                            <a:lnTo>
                              <a:pt x="1869" y="1347"/>
                            </a:lnTo>
                            <a:lnTo>
                              <a:pt x="1897" y="1332"/>
                            </a:lnTo>
                            <a:lnTo>
                              <a:pt x="1926" y="1318"/>
                            </a:lnTo>
                            <a:lnTo>
                              <a:pt x="1954" y="1305"/>
                            </a:lnTo>
                            <a:lnTo>
                              <a:pt x="1983" y="1293"/>
                            </a:lnTo>
                            <a:lnTo>
                              <a:pt x="2013" y="1281"/>
                            </a:lnTo>
                            <a:lnTo>
                              <a:pt x="2043" y="1270"/>
                            </a:lnTo>
                            <a:lnTo>
                              <a:pt x="2073" y="1259"/>
                            </a:lnTo>
                            <a:lnTo>
                              <a:pt x="2103" y="1249"/>
                            </a:lnTo>
                            <a:lnTo>
                              <a:pt x="2134" y="1240"/>
                            </a:lnTo>
                            <a:lnTo>
                              <a:pt x="2165" y="1232"/>
                            </a:lnTo>
                            <a:lnTo>
                              <a:pt x="2196" y="1225"/>
                            </a:lnTo>
                            <a:lnTo>
                              <a:pt x="2228" y="1218"/>
                            </a:lnTo>
                            <a:lnTo>
                              <a:pt x="2260" y="1212"/>
                            </a:lnTo>
                            <a:lnTo>
                              <a:pt x="2292" y="1207"/>
                            </a:lnTo>
                            <a:lnTo>
                              <a:pt x="2325" y="1202"/>
                            </a:lnTo>
                            <a:lnTo>
                              <a:pt x="2357" y="1199"/>
                            </a:lnTo>
                            <a:lnTo>
                              <a:pt x="2390" y="1196"/>
                            </a:lnTo>
                            <a:lnTo>
                              <a:pt x="2424" y="1194"/>
                            </a:lnTo>
                            <a:lnTo>
                              <a:pt x="2457" y="1193"/>
                            </a:lnTo>
                            <a:lnTo>
                              <a:pt x="2492" y="1192"/>
                            </a:lnTo>
                            <a:lnTo>
                              <a:pt x="2492" y="1192"/>
                            </a:lnTo>
                            <a:lnTo>
                              <a:pt x="2525" y="1193"/>
                            </a:lnTo>
                            <a:lnTo>
                              <a:pt x="2558" y="1194"/>
                            </a:lnTo>
                            <a:lnTo>
                              <a:pt x="2592" y="1197"/>
                            </a:lnTo>
                            <a:lnTo>
                              <a:pt x="2625" y="1200"/>
                            </a:lnTo>
                            <a:lnTo>
                              <a:pt x="2657" y="1204"/>
                            </a:lnTo>
                            <a:lnTo>
                              <a:pt x="2690" y="1208"/>
                            </a:lnTo>
                            <a:lnTo>
                              <a:pt x="2722" y="1214"/>
                            </a:lnTo>
                            <a:lnTo>
                              <a:pt x="2754" y="1220"/>
                            </a:lnTo>
                            <a:lnTo>
                              <a:pt x="2785" y="1227"/>
                            </a:lnTo>
                            <a:lnTo>
                              <a:pt x="2817" y="1235"/>
                            </a:lnTo>
                            <a:lnTo>
                              <a:pt x="2848" y="1243"/>
                            </a:lnTo>
                            <a:lnTo>
                              <a:pt x="2878" y="1252"/>
                            </a:lnTo>
                            <a:lnTo>
                              <a:pt x="2909" y="1262"/>
                            </a:lnTo>
                            <a:lnTo>
                              <a:pt x="2939" y="1273"/>
                            </a:lnTo>
                            <a:lnTo>
                              <a:pt x="2968" y="1285"/>
                            </a:lnTo>
                            <a:lnTo>
                              <a:pt x="2998" y="1297"/>
                            </a:lnTo>
                            <a:lnTo>
                              <a:pt x="3027" y="1309"/>
                            </a:lnTo>
                            <a:lnTo>
                              <a:pt x="3055" y="1323"/>
                            </a:lnTo>
                            <a:lnTo>
                              <a:pt x="3083" y="1337"/>
                            </a:lnTo>
                            <a:lnTo>
                              <a:pt x="3111" y="1352"/>
                            </a:lnTo>
                            <a:lnTo>
                              <a:pt x="3139" y="1367"/>
                            </a:lnTo>
                            <a:lnTo>
                              <a:pt x="3166" y="1383"/>
                            </a:lnTo>
                            <a:lnTo>
                              <a:pt x="3192" y="1400"/>
                            </a:lnTo>
                            <a:lnTo>
                              <a:pt x="3218" y="1418"/>
                            </a:lnTo>
                            <a:lnTo>
                              <a:pt x="3244" y="1435"/>
                            </a:lnTo>
                            <a:lnTo>
                              <a:pt x="3269" y="1454"/>
                            </a:lnTo>
                            <a:lnTo>
                              <a:pt x="3294" y="1473"/>
                            </a:lnTo>
                            <a:lnTo>
                              <a:pt x="3318" y="1493"/>
                            </a:lnTo>
                            <a:lnTo>
                              <a:pt x="3342" y="1513"/>
                            </a:lnTo>
                            <a:lnTo>
                              <a:pt x="3365" y="1534"/>
                            </a:lnTo>
                            <a:lnTo>
                              <a:pt x="3388" y="1555"/>
                            </a:lnTo>
                            <a:lnTo>
                              <a:pt x="3410" y="1577"/>
                            </a:lnTo>
                            <a:lnTo>
                              <a:pt x="3432" y="1600"/>
                            </a:lnTo>
                            <a:lnTo>
                              <a:pt x="3453" y="1623"/>
                            </a:lnTo>
                            <a:lnTo>
                              <a:pt x="3474" y="1646"/>
                            </a:lnTo>
                            <a:lnTo>
                              <a:pt x="3494" y="1670"/>
                            </a:lnTo>
                            <a:lnTo>
                              <a:pt x="3513" y="1694"/>
                            </a:lnTo>
                            <a:lnTo>
                              <a:pt x="3532" y="1719"/>
                            </a:lnTo>
                            <a:lnTo>
                              <a:pt x="3551" y="1745"/>
                            </a:lnTo>
                            <a:lnTo>
                              <a:pt x="3568" y="1770"/>
                            </a:lnTo>
                            <a:lnTo>
                              <a:pt x="3585" y="1797"/>
                            </a:lnTo>
                            <a:lnTo>
                              <a:pt x="3602" y="1823"/>
                            </a:lnTo>
                            <a:lnTo>
                              <a:pt x="3618" y="1850"/>
                            </a:lnTo>
                            <a:lnTo>
                              <a:pt x="3633" y="1878"/>
                            </a:lnTo>
                            <a:lnTo>
                              <a:pt x="3648" y="1906"/>
                            </a:lnTo>
                            <a:lnTo>
                              <a:pt x="3662" y="1934"/>
                            </a:lnTo>
                            <a:lnTo>
                              <a:pt x="3675" y="1963"/>
                            </a:lnTo>
                            <a:lnTo>
                              <a:pt x="3687" y="1992"/>
                            </a:lnTo>
                            <a:lnTo>
                              <a:pt x="3699" y="2021"/>
                            </a:lnTo>
                            <a:lnTo>
                              <a:pt x="3711" y="2051"/>
                            </a:lnTo>
                            <a:lnTo>
                              <a:pt x="3721" y="2081"/>
                            </a:lnTo>
                            <a:lnTo>
                              <a:pt x="3731" y="2112"/>
                            </a:lnTo>
                            <a:lnTo>
                              <a:pt x="3740" y="2142"/>
                            </a:lnTo>
                            <a:lnTo>
                              <a:pt x="3748" y="2173"/>
                            </a:lnTo>
                            <a:lnTo>
                              <a:pt x="3756" y="2205"/>
                            </a:lnTo>
                            <a:lnTo>
                              <a:pt x="3762" y="2236"/>
                            </a:lnTo>
                            <a:lnTo>
                              <a:pt x="3768" y="2268"/>
                            </a:lnTo>
                            <a:lnTo>
                              <a:pt x="3773" y="2301"/>
                            </a:lnTo>
                            <a:lnTo>
                              <a:pt x="3778" y="2333"/>
                            </a:lnTo>
                            <a:lnTo>
                              <a:pt x="3781" y="2366"/>
                            </a:lnTo>
                            <a:lnTo>
                              <a:pt x="3784" y="2399"/>
                            </a:lnTo>
                            <a:lnTo>
                              <a:pt x="3786" y="2432"/>
                            </a:lnTo>
                            <a:lnTo>
                              <a:pt x="3787" y="2466"/>
                            </a:lnTo>
                            <a:lnTo>
                              <a:pt x="3788" y="2500"/>
                            </a:lnTo>
                            <a:lnTo>
                              <a:pt x="3788" y="2500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</p:grpSp>
                <p:sp>
                  <p:nvSpPr>
                    <p:cNvPr id="478" name="AutoShape 4">
                      <a:extLst>
                        <a:ext uri="{FF2B5EF4-FFF2-40B4-BE49-F238E27FC236}">
                          <a16:creationId xmlns:a16="http://schemas.microsoft.com/office/drawing/2014/main" id="{10209C75-0650-4467-A8EF-B3CCAC470A37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959326" y="4863990"/>
                      <a:ext cx="361963" cy="362730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grpSp>
                  <p:nvGrpSpPr>
                    <p:cNvPr id="473" name="SAGD, Siemens, healthineers, evolve">
                      <a:extLst>
                        <a:ext uri="{FF2B5EF4-FFF2-40B4-BE49-F238E27FC236}">
                          <a16:creationId xmlns:a16="http://schemas.microsoft.com/office/drawing/2014/main" id="{87040917-25CD-4C78-9DC6-B9FD93B24269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gray">
                    <a:xfrm>
                      <a:off x="1357289" y="4863990"/>
                      <a:ext cx="361963" cy="362730"/>
                      <a:chOff x="1188" y="1252"/>
                      <a:chExt cx="2268" cy="2268"/>
                    </a:xfrm>
                  </p:grpSpPr>
                  <p:sp>
                    <p:nvSpPr>
                      <p:cNvPr id="474" name="AutoShape 4">
                        <a:extLst>
                          <a:ext uri="{FF2B5EF4-FFF2-40B4-BE49-F238E27FC236}">
                            <a16:creationId xmlns:a16="http://schemas.microsoft.com/office/drawing/2014/main" id="{3C6941B2-3D85-458B-9D58-5C3FA08A46B7}"/>
                          </a:ext>
                        </a:extLst>
                      </p:cNvPr>
                      <p:cNvSpPr>
                        <a:spLocks noChangeAspect="1" noChangeArrowheads="1" noTextEdit="1"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475" name="Freeform 6">
                        <a:extLst>
                          <a:ext uri="{FF2B5EF4-FFF2-40B4-BE49-F238E27FC236}">
                            <a16:creationId xmlns:a16="http://schemas.microsoft.com/office/drawing/2014/main" id="{070134F3-D126-49AC-AB52-8D3E9C19E2AA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  <a:close/>
                          </a:path>
                        </a:pathLst>
                      </a:custGeom>
                      <a:solidFill>
                        <a:schemeClr val="tx1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476" name="Freeform 7">
                        <a:extLst>
                          <a:ext uri="{FF2B5EF4-FFF2-40B4-BE49-F238E27FC236}">
                            <a16:creationId xmlns:a16="http://schemas.microsoft.com/office/drawing/2014/main" id="{CF0F8CCB-C7E7-4B1E-91FF-FFE5B5204BA5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</a:path>
                        </a:pathLst>
                      </a:custGeom>
                      <a:noFill/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477" name="Freeform 8">
                        <a:extLst>
                          <a:ext uri="{FF2B5EF4-FFF2-40B4-BE49-F238E27FC236}">
                            <a16:creationId xmlns:a16="http://schemas.microsoft.com/office/drawing/2014/main" id="{DDB8B930-C0F3-4725-B845-7292759FEE62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gray">
                      <a:xfrm>
                        <a:off x="1510" y="1566"/>
                        <a:ext cx="1615" cy="165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319" y="2213"/>
                          </a:cxn>
                          <a:cxn ang="0">
                            <a:pos x="4796" y="1894"/>
                          </a:cxn>
                          <a:cxn ang="0">
                            <a:pos x="4876" y="1759"/>
                          </a:cxn>
                          <a:cxn ang="0">
                            <a:pos x="4526" y="1075"/>
                          </a:cxn>
                          <a:cxn ang="0">
                            <a:pos x="4005" y="1264"/>
                          </a:cxn>
                          <a:cxn ang="0">
                            <a:pos x="3815" y="1225"/>
                          </a:cxn>
                          <a:cxn ang="0">
                            <a:pos x="3367" y="807"/>
                          </a:cxn>
                          <a:cxn ang="0">
                            <a:pos x="3456" y="245"/>
                          </a:cxn>
                          <a:cxn ang="0">
                            <a:pos x="2745" y="3"/>
                          </a:cxn>
                          <a:cxn ang="0">
                            <a:pos x="2590" y="70"/>
                          </a:cxn>
                          <a:cxn ang="0">
                            <a:pos x="2416" y="615"/>
                          </a:cxn>
                          <a:cxn ang="0">
                            <a:pos x="1822" y="774"/>
                          </a:cxn>
                          <a:cxn ang="0">
                            <a:pos x="1644" y="700"/>
                          </a:cxn>
                          <a:cxn ang="0">
                            <a:pos x="1252" y="324"/>
                          </a:cxn>
                          <a:cxn ang="0">
                            <a:pos x="653" y="807"/>
                          </a:cxn>
                          <a:cxn ang="0">
                            <a:pos x="942" y="1274"/>
                          </a:cxn>
                          <a:cxn ang="0">
                            <a:pos x="960" y="1467"/>
                          </a:cxn>
                          <a:cxn ang="0">
                            <a:pos x="660" y="2003"/>
                          </a:cxn>
                          <a:cxn ang="0">
                            <a:pos x="90" y="2042"/>
                          </a:cxn>
                          <a:cxn ang="0">
                            <a:pos x="0" y="2797"/>
                          </a:cxn>
                          <a:cxn ang="0">
                            <a:pos x="86" y="2927"/>
                          </a:cxn>
                          <a:cxn ang="0">
                            <a:pos x="656" y="2972"/>
                          </a:cxn>
                          <a:cxn ang="0">
                            <a:pos x="952" y="3509"/>
                          </a:cxn>
                          <a:cxn ang="0">
                            <a:pos x="932" y="3702"/>
                          </a:cxn>
                          <a:cxn ang="0">
                            <a:pos x="640" y="4167"/>
                          </a:cxn>
                          <a:cxn ang="0">
                            <a:pos x="1235" y="4655"/>
                          </a:cxn>
                          <a:cxn ang="0">
                            <a:pos x="1630" y="4283"/>
                          </a:cxn>
                          <a:cxn ang="0">
                            <a:pos x="1809" y="4210"/>
                          </a:cxn>
                          <a:cxn ang="0">
                            <a:pos x="2403" y="4373"/>
                          </a:cxn>
                          <a:cxn ang="0">
                            <a:pos x="2574" y="4919"/>
                          </a:cxn>
                          <a:cxn ang="0">
                            <a:pos x="2728" y="4987"/>
                          </a:cxn>
                          <a:cxn ang="0">
                            <a:pos x="3441" y="4750"/>
                          </a:cxn>
                          <a:cxn ang="0">
                            <a:pos x="3356" y="4187"/>
                          </a:cxn>
                          <a:cxn ang="0">
                            <a:pos x="3806" y="3773"/>
                          </a:cxn>
                          <a:cxn ang="0">
                            <a:pos x="3997" y="3735"/>
                          </a:cxn>
                          <a:cxn ang="0">
                            <a:pos x="4516" y="3927"/>
                          </a:cxn>
                          <a:cxn ang="0">
                            <a:pos x="4871" y="3245"/>
                          </a:cxn>
                          <a:cxn ang="0">
                            <a:pos x="4421" y="2930"/>
                          </a:cxn>
                          <a:cxn ang="0">
                            <a:pos x="4317" y="2787"/>
                          </a:cxn>
                          <a:cxn ang="0">
                            <a:pos x="3788" y="2500"/>
                          </a:cxn>
                          <a:cxn ang="0">
                            <a:pos x="3728" y="2887"/>
                          </a:cxn>
                          <a:cxn ang="0">
                            <a:pos x="3545" y="3252"/>
                          </a:cxn>
                          <a:cxn ang="0">
                            <a:pos x="3261" y="3541"/>
                          </a:cxn>
                          <a:cxn ang="0">
                            <a:pos x="2899" y="3730"/>
                          </a:cxn>
                          <a:cxn ang="0">
                            <a:pos x="2481" y="3796"/>
                          </a:cxn>
                          <a:cxn ang="0">
                            <a:pos x="2093" y="3736"/>
                          </a:cxn>
                          <a:cxn ang="0">
                            <a:pos x="1728" y="3553"/>
                          </a:cxn>
                          <a:cxn ang="0">
                            <a:pos x="1439" y="3269"/>
                          </a:cxn>
                          <a:cxn ang="0">
                            <a:pos x="1250" y="2907"/>
                          </a:cxn>
                          <a:cxn ang="0">
                            <a:pos x="1184" y="2490"/>
                          </a:cxn>
                          <a:cxn ang="0">
                            <a:pos x="1244" y="2102"/>
                          </a:cxn>
                          <a:cxn ang="0">
                            <a:pos x="1427" y="1736"/>
                          </a:cxn>
                          <a:cxn ang="0">
                            <a:pos x="1711" y="1448"/>
                          </a:cxn>
                          <a:cxn ang="0">
                            <a:pos x="2073" y="1259"/>
                          </a:cxn>
                          <a:cxn ang="0">
                            <a:pos x="2492" y="1192"/>
                          </a:cxn>
                          <a:cxn ang="0">
                            <a:pos x="2878" y="1252"/>
                          </a:cxn>
                          <a:cxn ang="0">
                            <a:pos x="3244" y="1435"/>
                          </a:cxn>
                          <a:cxn ang="0">
                            <a:pos x="3532" y="1719"/>
                          </a:cxn>
                          <a:cxn ang="0">
                            <a:pos x="3721" y="2081"/>
                          </a:cxn>
                          <a:cxn ang="0">
                            <a:pos x="3788" y="2500"/>
                          </a:cxn>
                        </a:cxnLst>
                        <a:rect l="0" t="0" r="r" b="b"/>
                        <a:pathLst>
                          <a:path w="4876" h="4990">
                            <a:moveTo>
                              <a:pt x="4332" y="2502"/>
                            </a:moveTo>
                            <a:lnTo>
                              <a:pt x="4332" y="2502"/>
                            </a:lnTo>
                            <a:lnTo>
                              <a:pt x="4331" y="2455"/>
                            </a:lnTo>
                            <a:lnTo>
                              <a:pt x="4329" y="2412"/>
                            </a:lnTo>
                            <a:lnTo>
                              <a:pt x="4327" y="2373"/>
                            </a:lnTo>
                            <a:lnTo>
                              <a:pt x="4324" y="2340"/>
                            </a:lnTo>
                            <a:lnTo>
                              <a:pt x="4319" y="2291"/>
                            </a:lnTo>
                            <a:lnTo>
                              <a:pt x="4317" y="2273"/>
                            </a:lnTo>
                            <a:lnTo>
                              <a:pt x="4317" y="2273"/>
                            </a:lnTo>
                            <a:lnTo>
                              <a:pt x="4315" y="2258"/>
                            </a:lnTo>
                            <a:lnTo>
                              <a:pt x="4315" y="2243"/>
                            </a:lnTo>
                            <a:lnTo>
                              <a:pt x="4317" y="2228"/>
                            </a:lnTo>
                            <a:lnTo>
                              <a:pt x="4319" y="2213"/>
                            </a:lnTo>
                            <a:lnTo>
                              <a:pt x="4323" y="2199"/>
                            </a:lnTo>
                            <a:lnTo>
                              <a:pt x="4327" y="2184"/>
                            </a:lnTo>
                            <a:lnTo>
                              <a:pt x="4333" y="2170"/>
                            </a:lnTo>
                            <a:lnTo>
                              <a:pt x="4340" y="2156"/>
                            </a:lnTo>
                            <a:lnTo>
                              <a:pt x="4348" y="2142"/>
                            </a:lnTo>
                            <a:lnTo>
                              <a:pt x="4356" y="2130"/>
                            </a:lnTo>
                            <a:lnTo>
                              <a:pt x="4366" y="2117"/>
                            </a:lnTo>
                            <a:lnTo>
                              <a:pt x="4376" y="2106"/>
                            </a:lnTo>
                            <a:lnTo>
                              <a:pt x="4387" y="2096"/>
                            </a:lnTo>
                            <a:lnTo>
                              <a:pt x="4399" y="2087"/>
                            </a:lnTo>
                            <a:lnTo>
                              <a:pt x="4411" y="2078"/>
                            </a:lnTo>
                            <a:lnTo>
                              <a:pt x="4424" y="2071"/>
                            </a:lnTo>
                            <a:lnTo>
                              <a:pt x="4796" y="1894"/>
                            </a:lnTo>
                            <a:lnTo>
                              <a:pt x="4796" y="1894"/>
                            </a:lnTo>
                            <a:lnTo>
                              <a:pt x="4809" y="1887"/>
                            </a:lnTo>
                            <a:lnTo>
                              <a:pt x="4820" y="1879"/>
                            </a:lnTo>
                            <a:lnTo>
                              <a:pt x="4831" y="1870"/>
                            </a:lnTo>
                            <a:lnTo>
                              <a:pt x="4841" y="1860"/>
                            </a:lnTo>
                            <a:lnTo>
                              <a:pt x="4849" y="1849"/>
                            </a:lnTo>
                            <a:lnTo>
                              <a:pt x="4857" y="1838"/>
                            </a:lnTo>
                            <a:lnTo>
                              <a:pt x="4863" y="1826"/>
                            </a:lnTo>
                            <a:lnTo>
                              <a:pt x="4868" y="1813"/>
                            </a:lnTo>
                            <a:lnTo>
                              <a:pt x="4872" y="1800"/>
                            </a:lnTo>
                            <a:lnTo>
                              <a:pt x="4875" y="1787"/>
                            </a:lnTo>
                            <a:lnTo>
                              <a:pt x="4876" y="1773"/>
                            </a:lnTo>
                            <a:lnTo>
                              <a:pt x="4876" y="1759"/>
                            </a:lnTo>
                            <a:lnTo>
                              <a:pt x="4875" y="1746"/>
                            </a:lnTo>
                            <a:lnTo>
                              <a:pt x="4872" y="1732"/>
                            </a:lnTo>
                            <a:lnTo>
                              <a:pt x="4868" y="1718"/>
                            </a:lnTo>
                            <a:lnTo>
                              <a:pt x="4863" y="1705"/>
                            </a:lnTo>
                            <a:lnTo>
                              <a:pt x="4595" y="1142"/>
                            </a:lnTo>
                            <a:lnTo>
                              <a:pt x="4595" y="1142"/>
                            </a:lnTo>
                            <a:lnTo>
                              <a:pt x="4588" y="1130"/>
                            </a:lnTo>
                            <a:lnTo>
                              <a:pt x="4580" y="1118"/>
                            </a:lnTo>
                            <a:lnTo>
                              <a:pt x="4571" y="1107"/>
                            </a:lnTo>
                            <a:lnTo>
                              <a:pt x="4561" y="1097"/>
                            </a:lnTo>
                            <a:lnTo>
                              <a:pt x="4550" y="1089"/>
                            </a:lnTo>
                            <a:lnTo>
                              <a:pt x="4539" y="1081"/>
                            </a:lnTo>
                            <a:lnTo>
                              <a:pt x="4526" y="1075"/>
                            </a:lnTo>
                            <a:lnTo>
                              <a:pt x="4514" y="1070"/>
                            </a:lnTo>
                            <a:lnTo>
                              <a:pt x="4501" y="1066"/>
                            </a:lnTo>
                            <a:lnTo>
                              <a:pt x="4487" y="1063"/>
                            </a:lnTo>
                            <a:lnTo>
                              <a:pt x="4474" y="1062"/>
                            </a:lnTo>
                            <a:lnTo>
                              <a:pt x="4460" y="1062"/>
                            </a:lnTo>
                            <a:lnTo>
                              <a:pt x="4446" y="1063"/>
                            </a:lnTo>
                            <a:lnTo>
                              <a:pt x="4433" y="1066"/>
                            </a:lnTo>
                            <a:lnTo>
                              <a:pt x="4419" y="1070"/>
                            </a:lnTo>
                            <a:lnTo>
                              <a:pt x="4406" y="1075"/>
                            </a:lnTo>
                            <a:lnTo>
                              <a:pt x="4033" y="1253"/>
                            </a:lnTo>
                            <a:lnTo>
                              <a:pt x="4033" y="1253"/>
                            </a:lnTo>
                            <a:lnTo>
                              <a:pt x="4019" y="1259"/>
                            </a:lnTo>
                            <a:lnTo>
                              <a:pt x="4005" y="1264"/>
                            </a:lnTo>
                            <a:lnTo>
                              <a:pt x="3990" y="1267"/>
                            </a:lnTo>
                            <a:lnTo>
                              <a:pt x="3975" y="1269"/>
                            </a:lnTo>
                            <a:lnTo>
                              <a:pt x="3960" y="1271"/>
                            </a:lnTo>
                            <a:lnTo>
                              <a:pt x="3944" y="1271"/>
                            </a:lnTo>
                            <a:lnTo>
                              <a:pt x="3928" y="1270"/>
                            </a:lnTo>
                            <a:lnTo>
                              <a:pt x="3913" y="1267"/>
                            </a:lnTo>
                            <a:lnTo>
                              <a:pt x="3897" y="1264"/>
                            </a:lnTo>
                            <a:lnTo>
                              <a:pt x="3882" y="1260"/>
                            </a:lnTo>
                            <a:lnTo>
                              <a:pt x="3867" y="1255"/>
                            </a:lnTo>
                            <a:lnTo>
                              <a:pt x="3853" y="1249"/>
                            </a:lnTo>
                            <a:lnTo>
                              <a:pt x="3839" y="1242"/>
                            </a:lnTo>
                            <a:lnTo>
                              <a:pt x="3827" y="1234"/>
                            </a:lnTo>
                            <a:lnTo>
                              <a:pt x="3815" y="1225"/>
                            </a:lnTo>
                            <a:lnTo>
                              <a:pt x="3804" y="1215"/>
                            </a:lnTo>
                            <a:lnTo>
                              <a:pt x="3451" y="932"/>
                            </a:lnTo>
                            <a:lnTo>
                              <a:pt x="3451" y="932"/>
                            </a:lnTo>
                            <a:lnTo>
                              <a:pt x="3439" y="924"/>
                            </a:lnTo>
                            <a:lnTo>
                              <a:pt x="3428" y="914"/>
                            </a:lnTo>
                            <a:lnTo>
                              <a:pt x="3417" y="903"/>
                            </a:lnTo>
                            <a:lnTo>
                              <a:pt x="3407" y="891"/>
                            </a:lnTo>
                            <a:lnTo>
                              <a:pt x="3398" y="879"/>
                            </a:lnTo>
                            <a:lnTo>
                              <a:pt x="3390" y="865"/>
                            </a:lnTo>
                            <a:lnTo>
                              <a:pt x="3383" y="852"/>
                            </a:lnTo>
                            <a:lnTo>
                              <a:pt x="3376" y="837"/>
                            </a:lnTo>
                            <a:lnTo>
                              <a:pt x="3371" y="822"/>
                            </a:lnTo>
                            <a:lnTo>
                              <a:pt x="3367" y="807"/>
                            </a:lnTo>
                            <a:lnTo>
                              <a:pt x="3363" y="792"/>
                            </a:lnTo>
                            <a:lnTo>
                              <a:pt x="3361" y="777"/>
                            </a:lnTo>
                            <a:lnTo>
                              <a:pt x="3360" y="761"/>
                            </a:lnTo>
                            <a:lnTo>
                              <a:pt x="3360" y="746"/>
                            </a:lnTo>
                            <a:lnTo>
                              <a:pt x="3362" y="731"/>
                            </a:lnTo>
                            <a:lnTo>
                              <a:pt x="3364" y="717"/>
                            </a:lnTo>
                            <a:lnTo>
                              <a:pt x="3458" y="314"/>
                            </a:lnTo>
                            <a:lnTo>
                              <a:pt x="3458" y="314"/>
                            </a:lnTo>
                            <a:lnTo>
                              <a:pt x="3460" y="300"/>
                            </a:lnTo>
                            <a:lnTo>
                              <a:pt x="3461" y="286"/>
                            </a:lnTo>
                            <a:lnTo>
                              <a:pt x="3461" y="272"/>
                            </a:lnTo>
                            <a:lnTo>
                              <a:pt x="3459" y="258"/>
                            </a:lnTo>
                            <a:lnTo>
                              <a:pt x="3456" y="245"/>
                            </a:lnTo>
                            <a:lnTo>
                              <a:pt x="3452" y="232"/>
                            </a:lnTo>
                            <a:lnTo>
                              <a:pt x="3447" y="219"/>
                            </a:lnTo>
                            <a:lnTo>
                              <a:pt x="3440" y="207"/>
                            </a:lnTo>
                            <a:lnTo>
                              <a:pt x="3432" y="196"/>
                            </a:lnTo>
                            <a:lnTo>
                              <a:pt x="3423" y="186"/>
                            </a:lnTo>
                            <a:lnTo>
                              <a:pt x="3414" y="176"/>
                            </a:lnTo>
                            <a:lnTo>
                              <a:pt x="3403" y="168"/>
                            </a:lnTo>
                            <a:lnTo>
                              <a:pt x="3391" y="160"/>
                            </a:lnTo>
                            <a:lnTo>
                              <a:pt x="3379" y="153"/>
                            </a:lnTo>
                            <a:lnTo>
                              <a:pt x="3366" y="148"/>
                            </a:lnTo>
                            <a:lnTo>
                              <a:pt x="3352" y="144"/>
                            </a:lnTo>
                            <a:lnTo>
                              <a:pt x="2745" y="3"/>
                            </a:lnTo>
                            <a:lnTo>
                              <a:pt x="2745" y="3"/>
                            </a:lnTo>
                            <a:lnTo>
                              <a:pt x="2730" y="1"/>
                            </a:lnTo>
                            <a:lnTo>
                              <a:pt x="2716" y="0"/>
                            </a:lnTo>
                            <a:lnTo>
                              <a:pt x="2702" y="0"/>
                            </a:lnTo>
                            <a:lnTo>
                              <a:pt x="2688" y="2"/>
                            </a:lnTo>
                            <a:lnTo>
                              <a:pt x="2675" y="5"/>
                            </a:lnTo>
                            <a:lnTo>
                              <a:pt x="2662" y="9"/>
                            </a:lnTo>
                            <a:lnTo>
                              <a:pt x="2649" y="15"/>
                            </a:lnTo>
                            <a:lnTo>
                              <a:pt x="2638" y="21"/>
                            </a:lnTo>
                            <a:lnTo>
                              <a:pt x="2626" y="29"/>
                            </a:lnTo>
                            <a:lnTo>
                              <a:pt x="2616" y="38"/>
                            </a:lnTo>
                            <a:lnTo>
                              <a:pt x="2606" y="48"/>
                            </a:lnTo>
                            <a:lnTo>
                              <a:pt x="2598" y="58"/>
                            </a:lnTo>
                            <a:lnTo>
                              <a:pt x="2590" y="70"/>
                            </a:lnTo>
                            <a:lnTo>
                              <a:pt x="2584" y="82"/>
                            </a:lnTo>
                            <a:lnTo>
                              <a:pt x="2578" y="96"/>
                            </a:lnTo>
                            <a:lnTo>
                              <a:pt x="2574" y="110"/>
                            </a:lnTo>
                            <a:lnTo>
                              <a:pt x="2481" y="512"/>
                            </a:lnTo>
                            <a:lnTo>
                              <a:pt x="2481" y="512"/>
                            </a:lnTo>
                            <a:lnTo>
                              <a:pt x="2477" y="526"/>
                            </a:lnTo>
                            <a:lnTo>
                              <a:pt x="2472" y="540"/>
                            </a:lnTo>
                            <a:lnTo>
                              <a:pt x="2465" y="554"/>
                            </a:lnTo>
                            <a:lnTo>
                              <a:pt x="2457" y="567"/>
                            </a:lnTo>
                            <a:lnTo>
                              <a:pt x="2448" y="580"/>
                            </a:lnTo>
                            <a:lnTo>
                              <a:pt x="2438" y="592"/>
                            </a:lnTo>
                            <a:lnTo>
                              <a:pt x="2428" y="604"/>
                            </a:lnTo>
                            <a:lnTo>
                              <a:pt x="2416" y="615"/>
                            </a:lnTo>
                            <a:lnTo>
                              <a:pt x="2404" y="625"/>
                            </a:lnTo>
                            <a:lnTo>
                              <a:pt x="2392" y="634"/>
                            </a:lnTo>
                            <a:lnTo>
                              <a:pt x="2378" y="643"/>
                            </a:lnTo>
                            <a:lnTo>
                              <a:pt x="2365" y="650"/>
                            </a:lnTo>
                            <a:lnTo>
                              <a:pt x="2351" y="656"/>
                            </a:lnTo>
                            <a:lnTo>
                              <a:pt x="2336" y="661"/>
                            </a:lnTo>
                            <a:lnTo>
                              <a:pt x="2322" y="665"/>
                            </a:lnTo>
                            <a:lnTo>
                              <a:pt x="2308" y="668"/>
                            </a:lnTo>
                            <a:lnTo>
                              <a:pt x="1866" y="766"/>
                            </a:lnTo>
                            <a:lnTo>
                              <a:pt x="1866" y="766"/>
                            </a:lnTo>
                            <a:lnTo>
                              <a:pt x="1852" y="770"/>
                            </a:lnTo>
                            <a:lnTo>
                              <a:pt x="1837" y="772"/>
                            </a:lnTo>
                            <a:lnTo>
                              <a:pt x="1822" y="774"/>
                            </a:lnTo>
                            <a:lnTo>
                              <a:pt x="1807" y="774"/>
                            </a:lnTo>
                            <a:lnTo>
                              <a:pt x="1792" y="774"/>
                            </a:lnTo>
                            <a:lnTo>
                              <a:pt x="1776" y="772"/>
                            </a:lnTo>
                            <a:lnTo>
                              <a:pt x="1761" y="769"/>
                            </a:lnTo>
                            <a:lnTo>
                              <a:pt x="1745" y="765"/>
                            </a:lnTo>
                            <a:lnTo>
                              <a:pt x="1730" y="760"/>
                            </a:lnTo>
                            <a:lnTo>
                              <a:pt x="1716" y="754"/>
                            </a:lnTo>
                            <a:lnTo>
                              <a:pt x="1702" y="747"/>
                            </a:lnTo>
                            <a:lnTo>
                              <a:pt x="1689" y="739"/>
                            </a:lnTo>
                            <a:lnTo>
                              <a:pt x="1676" y="730"/>
                            </a:lnTo>
                            <a:lnTo>
                              <a:pt x="1664" y="721"/>
                            </a:lnTo>
                            <a:lnTo>
                              <a:pt x="1654" y="711"/>
                            </a:lnTo>
                            <a:lnTo>
                              <a:pt x="1644" y="700"/>
                            </a:lnTo>
                            <a:lnTo>
                              <a:pt x="1387" y="375"/>
                            </a:lnTo>
                            <a:lnTo>
                              <a:pt x="1387" y="375"/>
                            </a:lnTo>
                            <a:lnTo>
                              <a:pt x="1378" y="365"/>
                            </a:lnTo>
                            <a:lnTo>
                              <a:pt x="1368" y="355"/>
                            </a:lnTo>
                            <a:lnTo>
                              <a:pt x="1356" y="346"/>
                            </a:lnTo>
                            <a:lnTo>
                              <a:pt x="1345" y="339"/>
                            </a:lnTo>
                            <a:lnTo>
                              <a:pt x="1332" y="333"/>
                            </a:lnTo>
                            <a:lnTo>
                              <a:pt x="1319" y="328"/>
                            </a:lnTo>
                            <a:lnTo>
                              <a:pt x="1306" y="325"/>
                            </a:lnTo>
                            <a:lnTo>
                              <a:pt x="1293" y="323"/>
                            </a:lnTo>
                            <a:lnTo>
                              <a:pt x="1279" y="322"/>
                            </a:lnTo>
                            <a:lnTo>
                              <a:pt x="1265" y="322"/>
                            </a:lnTo>
                            <a:lnTo>
                              <a:pt x="1252" y="324"/>
                            </a:lnTo>
                            <a:lnTo>
                              <a:pt x="1238" y="327"/>
                            </a:lnTo>
                            <a:lnTo>
                              <a:pt x="1225" y="331"/>
                            </a:lnTo>
                            <a:lnTo>
                              <a:pt x="1213" y="337"/>
                            </a:lnTo>
                            <a:lnTo>
                              <a:pt x="1200" y="344"/>
                            </a:lnTo>
                            <a:lnTo>
                              <a:pt x="1188" y="352"/>
                            </a:lnTo>
                            <a:lnTo>
                              <a:pt x="700" y="739"/>
                            </a:lnTo>
                            <a:lnTo>
                              <a:pt x="700" y="739"/>
                            </a:lnTo>
                            <a:lnTo>
                              <a:pt x="689" y="748"/>
                            </a:lnTo>
                            <a:lnTo>
                              <a:pt x="679" y="759"/>
                            </a:lnTo>
                            <a:lnTo>
                              <a:pt x="671" y="770"/>
                            </a:lnTo>
                            <a:lnTo>
                              <a:pt x="664" y="782"/>
                            </a:lnTo>
                            <a:lnTo>
                              <a:pt x="658" y="794"/>
                            </a:lnTo>
                            <a:lnTo>
                              <a:pt x="653" y="807"/>
                            </a:lnTo>
                            <a:lnTo>
                              <a:pt x="649" y="820"/>
                            </a:lnTo>
                            <a:lnTo>
                              <a:pt x="647" y="834"/>
                            </a:lnTo>
                            <a:lnTo>
                              <a:pt x="646" y="847"/>
                            </a:lnTo>
                            <a:lnTo>
                              <a:pt x="647" y="861"/>
                            </a:lnTo>
                            <a:lnTo>
                              <a:pt x="648" y="874"/>
                            </a:lnTo>
                            <a:lnTo>
                              <a:pt x="651" y="888"/>
                            </a:lnTo>
                            <a:lnTo>
                              <a:pt x="656" y="901"/>
                            </a:lnTo>
                            <a:lnTo>
                              <a:pt x="661" y="914"/>
                            </a:lnTo>
                            <a:lnTo>
                              <a:pt x="668" y="926"/>
                            </a:lnTo>
                            <a:lnTo>
                              <a:pt x="677" y="938"/>
                            </a:lnTo>
                            <a:lnTo>
                              <a:pt x="933" y="1262"/>
                            </a:lnTo>
                            <a:lnTo>
                              <a:pt x="933" y="1262"/>
                            </a:lnTo>
                            <a:lnTo>
                              <a:pt x="942" y="1274"/>
                            </a:lnTo>
                            <a:lnTo>
                              <a:pt x="950" y="1287"/>
                            </a:lnTo>
                            <a:lnTo>
                              <a:pt x="956" y="1301"/>
                            </a:lnTo>
                            <a:lnTo>
                              <a:pt x="962" y="1315"/>
                            </a:lnTo>
                            <a:lnTo>
                              <a:pt x="966" y="1330"/>
                            </a:lnTo>
                            <a:lnTo>
                              <a:pt x="970" y="1345"/>
                            </a:lnTo>
                            <a:lnTo>
                              <a:pt x="972" y="1361"/>
                            </a:lnTo>
                            <a:lnTo>
                              <a:pt x="974" y="1376"/>
                            </a:lnTo>
                            <a:lnTo>
                              <a:pt x="974" y="1392"/>
                            </a:lnTo>
                            <a:lnTo>
                              <a:pt x="973" y="1408"/>
                            </a:lnTo>
                            <a:lnTo>
                              <a:pt x="971" y="1423"/>
                            </a:lnTo>
                            <a:lnTo>
                              <a:pt x="969" y="1438"/>
                            </a:lnTo>
                            <a:lnTo>
                              <a:pt x="965" y="1453"/>
                            </a:lnTo>
                            <a:lnTo>
                              <a:pt x="960" y="1467"/>
                            </a:lnTo>
                            <a:lnTo>
                              <a:pt x="954" y="1481"/>
                            </a:lnTo>
                            <a:lnTo>
                              <a:pt x="947" y="1494"/>
                            </a:lnTo>
                            <a:lnTo>
                              <a:pt x="749" y="1901"/>
                            </a:lnTo>
                            <a:lnTo>
                              <a:pt x="749" y="1901"/>
                            </a:lnTo>
                            <a:lnTo>
                              <a:pt x="744" y="1914"/>
                            </a:lnTo>
                            <a:lnTo>
                              <a:pt x="737" y="1927"/>
                            </a:lnTo>
                            <a:lnTo>
                              <a:pt x="728" y="1940"/>
                            </a:lnTo>
                            <a:lnTo>
                              <a:pt x="719" y="1952"/>
                            </a:lnTo>
                            <a:lnTo>
                              <a:pt x="709" y="1964"/>
                            </a:lnTo>
                            <a:lnTo>
                              <a:pt x="698" y="1975"/>
                            </a:lnTo>
                            <a:lnTo>
                              <a:pt x="686" y="1985"/>
                            </a:lnTo>
                            <a:lnTo>
                              <a:pt x="673" y="1994"/>
                            </a:lnTo>
                            <a:lnTo>
                              <a:pt x="660" y="2003"/>
                            </a:lnTo>
                            <a:lnTo>
                              <a:pt x="646" y="2010"/>
                            </a:lnTo>
                            <a:lnTo>
                              <a:pt x="632" y="2017"/>
                            </a:lnTo>
                            <a:lnTo>
                              <a:pt x="617" y="2023"/>
                            </a:lnTo>
                            <a:lnTo>
                              <a:pt x="603" y="2027"/>
                            </a:lnTo>
                            <a:lnTo>
                              <a:pt x="588" y="2030"/>
                            </a:lnTo>
                            <a:lnTo>
                              <a:pt x="573" y="2032"/>
                            </a:lnTo>
                            <a:lnTo>
                              <a:pt x="558" y="2033"/>
                            </a:lnTo>
                            <a:lnTo>
                              <a:pt x="145" y="2031"/>
                            </a:lnTo>
                            <a:lnTo>
                              <a:pt x="145" y="2031"/>
                            </a:lnTo>
                            <a:lnTo>
                              <a:pt x="130" y="2032"/>
                            </a:lnTo>
                            <a:lnTo>
                              <a:pt x="116" y="2034"/>
                            </a:lnTo>
                            <a:lnTo>
                              <a:pt x="103" y="2037"/>
                            </a:lnTo>
                            <a:lnTo>
                              <a:pt x="90" y="2042"/>
                            </a:lnTo>
                            <a:lnTo>
                              <a:pt x="77" y="2048"/>
                            </a:lnTo>
                            <a:lnTo>
                              <a:pt x="65" y="2055"/>
                            </a:lnTo>
                            <a:lnTo>
                              <a:pt x="55" y="2063"/>
                            </a:lnTo>
                            <a:lnTo>
                              <a:pt x="44" y="2072"/>
                            </a:lnTo>
                            <a:lnTo>
                              <a:pt x="35" y="2083"/>
                            </a:lnTo>
                            <a:lnTo>
                              <a:pt x="27" y="2093"/>
                            </a:lnTo>
                            <a:lnTo>
                              <a:pt x="20" y="2105"/>
                            </a:lnTo>
                            <a:lnTo>
                              <a:pt x="14" y="2117"/>
                            </a:lnTo>
                            <a:lnTo>
                              <a:pt x="9" y="2130"/>
                            </a:lnTo>
                            <a:lnTo>
                              <a:pt x="5" y="2144"/>
                            </a:lnTo>
                            <a:lnTo>
                              <a:pt x="3" y="2158"/>
                            </a:lnTo>
                            <a:lnTo>
                              <a:pt x="2" y="2172"/>
                            </a:lnTo>
                            <a:lnTo>
                              <a:pt x="0" y="2797"/>
                            </a:lnTo>
                            <a:lnTo>
                              <a:pt x="0" y="2797"/>
                            </a:lnTo>
                            <a:lnTo>
                              <a:pt x="1" y="2811"/>
                            </a:lnTo>
                            <a:lnTo>
                              <a:pt x="3" y="2825"/>
                            </a:lnTo>
                            <a:lnTo>
                              <a:pt x="6" y="2839"/>
                            </a:lnTo>
                            <a:lnTo>
                              <a:pt x="11" y="2852"/>
                            </a:lnTo>
                            <a:lnTo>
                              <a:pt x="17" y="2864"/>
                            </a:lnTo>
                            <a:lnTo>
                              <a:pt x="24" y="2876"/>
                            </a:lnTo>
                            <a:lnTo>
                              <a:pt x="32" y="2887"/>
                            </a:lnTo>
                            <a:lnTo>
                              <a:pt x="41" y="2897"/>
                            </a:lnTo>
                            <a:lnTo>
                              <a:pt x="51" y="2906"/>
                            </a:lnTo>
                            <a:lnTo>
                              <a:pt x="62" y="2914"/>
                            </a:lnTo>
                            <a:lnTo>
                              <a:pt x="74" y="2921"/>
                            </a:lnTo>
                            <a:lnTo>
                              <a:pt x="86" y="2927"/>
                            </a:lnTo>
                            <a:lnTo>
                              <a:pt x="99" y="2932"/>
                            </a:lnTo>
                            <a:lnTo>
                              <a:pt x="113" y="2936"/>
                            </a:lnTo>
                            <a:lnTo>
                              <a:pt x="127" y="2938"/>
                            </a:lnTo>
                            <a:lnTo>
                              <a:pt x="141" y="2939"/>
                            </a:lnTo>
                            <a:lnTo>
                              <a:pt x="555" y="2941"/>
                            </a:lnTo>
                            <a:lnTo>
                              <a:pt x="555" y="2941"/>
                            </a:lnTo>
                            <a:lnTo>
                              <a:pt x="570" y="2941"/>
                            </a:lnTo>
                            <a:lnTo>
                              <a:pt x="584" y="2944"/>
                            </a:lnTo>
                            <a:lnTo>
                              <a:pt x="599" y="2947"/>
                            </a:lnTo>
                            <a:lnTo>
                              <a:pt x="614" y="2951"/>
                            </a:lnTo>
                            <a:lnTo>
                              <a:pt x="628" y="2957"/>
                            </a:lnTo>
                            <a:lnTo>
                              <a:pt x="642" y="2964"/>
                            </a:lnTo>
                            <a:lnTo>
                              <a:pt x="656" y="2972"/>
                            </a:lnTo>
                            <a:lnTo>
                              <a:pt x="669" y="2980"/>
                            </a:lnTo>
                            <a:lnTo>
                              <a:pt x="682" y="2990"/>
                            </a:lnTo>
                            <a:lnTo>
                              <a:pt x="694" y="3000"/>
                            </a:lnTo>
                            <a:lnTo>
                              <a:pt x="705" y="3011"/>
                            </a:lnTo>
                            <a:lnTo>
                              <a:pt x="715" y="3023"/>
                            </a:lnTo>
                            <a:lnTo>
                              <a:pt x="724" y="3035"/>
                            </a:lnTo>
                            <a:lnTo>
                              <a:pt x="732" y="3048"/>
                            </a:lnTo>
                            <a:lnTo>
                              <a:pt x="739" y="3061"/>
                            </a:lnTo>
                            <a:lnTo>
                              <a:pt x="745" y="3075"/>
                            </a:lnTo>
                            <a:lnTo>
                              <a:pt x="939" y="3482"/>
                            </a:lnTo>
                            <a:lnTo>
                              <a:pt x="939" y="3482"/>
                            </a:lnTo>
                            <a:lnTo>
                              <a:pt x="946" y="3495"/>
                            </a:lnTo>
                            <a:lnTo>
                              <a:pt x="952" y="3509"/>
                            </a:lnTo>
                            <a:lnTo>
                              <a:pt x="956" y="3523"/>
                            </a:lnTo>
                            <a:lnTo>
                              <a:pt x="960" y="3538"/>
                            </a:lnTo>
                            <a:lnTo>
                              <a:pt x="963" y="3553"/>
                            </a:lnTo>
                            <a:lnTo>
                              <a:pt x="964" y="3569"/>
                            </a:lnTo>
                            <a:lnTo>
                              <a:pt x="965" y="3585"/>
                            </a:lnTo>
                            <a:lnTo>
                              <a:pt x="965" y="3600"/>
                            </a:lnTo>
                            <a:lnTo>
                              <a:pt x="963" y="3616"/>
                            </a:lnTo>
                            <a:lnTo>
                              <a:pt x="960" y="3632"/>
                            </a:lnTo>
                            <a:lnTo>
                              <a:pt x="957" y="3647"/>
                            </a:lnTo>
                            <a:lnTo>
                              <a:pt x="952" y="3661"/>
                            </a:lnTo>
                            <a:lnTo>
                              <a:pt x="947" y="3676"/>
                            </a:lnTo>
                            <a:lnTo>
                              <a:pt x="940" y="3689"/>
                            </a:lnTo>
                            <a:lnTo>
                              <a:pt x="932" y="3702"/>
                            </a:lnTo>
                            <a:lnTo>
                              <a:pt x="924" y="3714"/>
                            </a:lnTo>
                            <a:lnTo>
                              <a:pt x="664" y="4036"/>
                            </a:lnTo>
                            <a:lnTo>
                              <a:pt x="664" y="4036"/>
                            </a:lnTo>
                            <a:lnTo>
                              <a:pt x="656" y="4048"/>
                            </a:lnTo>
                            <a:lnTo>
                              <a:pt x="649" y="4060"/>
                            </a:lnTo>
                            <a:lnTo>
                              <a:pt x="643" y="4073"/>
                            </a:lnTo>
                            <a:lnTo>
                              <a:pt x="639" y="4086"/>
                            </a:lnTo>
                            <a:lnTo>
                              <a:pt x="636" y="4100"/>
                            </a:lnTo>
                            <a:lnTo>
                              <a:pt x="634" y="4113"/>
                            </a:lnTo>
                            <a:lnTo>
                              <a:pt x="633" y="4127"/>
                            </a:lnTo>
                            <a:lnTo>
                              <a:pt x="634" y="4141"/>
                            </a:lnTo>
                            <a:lnTo>
                              <a:pt x="636" y="4154"/>
                            </a:lnTo>
                            <a:lnTo>
                              <a:pt x="640" y="4167"/>
                            </a:lnTo>
                            <a:lnTo>
                              <a:pt x="644" y="4180"/>
                            </a:lnTo>
                            <a:lnTo>
                              <a:pt x="650" y="4192"/>
                            </a:lnTo>
                            <a:lnTo>
                              <a:pt x="657" y="4204"/>
                            </a:lnTo>
                            <a:lnTo>
                              <a:pt x="666" y="4216"/>
                            </a:lnTo>
                            <a:lnTo>
                              <a:pt x="675" y="4226"/>
                            </a:lnTo>
                            <a:lnTo>
                              <a:pt x="686" y="4236"/>
                            </a:lnTo>
                            <a:lnTo>
                              <a:pt x="1172" y="4626"/>
                            </a:lnTo>
                            <a:lnTo>
                              <a:pt x="1172" y="4626"/>
                            </a:lnTo>
                            <a:lnTo>
                              <a:pt x="1183" y="4634"/>
                            </a:lnTo>
                            <a:lnTo>
                              <a:pt x="1196" y="4642"/>
                            </a:lnTo>
                            <a:lnTo>
                              <a:pt x="1208" y="4647"/>
                            </a:lnTo>
                            <a:lnTo>
                              <a:pt x="1221" y="4652"/>
                            </a:lnTo>
                            <a:lnTo>
                              <a:pt x="1235" y="4655"/>
                            </a:lnTo>
                            <a:lnTo>
                              <a:pt x="1248" y="4657"/>
                            </a:lnTo>
                            <a:lnTo>
                              <a:pt x="1262" y="4657"/>
                            </a:lnTo>
                            <a:lnTo>
                              <a:pt x="1276" y="4656"/>
                            </a:lnTo>
                            <a:lnTo>
                              <a:pt x="1289" y="4654"/>
                            </a:lnTo>
                            <a:lnTo>
                              <a:pt x="1302" y="4651"/>
                            </a:lnTo>
                            <a:lnTo>
                              <a:pt x="1315" y="4646"/>
                            </a:lnTo>
                            <a:lnTo>
                              <a:pt x="1328" y="4640"/>
                            </a:lnTo>
                            <a:lnTo>
                              <a:pt x="1339" y="4633"/>
                            </a:lnTo>
                            <a:lnTo>
                              <a:pt x="1351" y="4625"/>
                            </a:lnTo>
                            <a:lnTo>
                              <a:pt x="1361" y="4615"/>
                            </a:lnTo>
                            <a:lnTo>
                              <a:pt x="1371" y="4604"/>
                            </a:lnTo>
                            <a:lnTo>
                              <a:pt x="1630" y="4283"/>
                            </a:lnTo>
                            <a:lnTo>
                              <a:pt x="1630" y="4283"/>
                            </a:lnTo>
                            <a:lnTo>
                              <a:pt x="1639" y="4272"/>
                            </a:lnTo>
                            <a:lnTo>
                              <a:pt x="1650" y="4262"/>
                            </a:lnTo>
                            <a:lnTo>
                              <a:pt x="1662" y="4252"/>
                            </a:lnTo>
                            <a:lnTo>
                              <a:pt x="1675" y="4244"/>
                            </a:lnTo>
                            <a:lnTo>
                              <a:pt x="1688" y="4236"/>
                            </a:lnTo>
                            <a:lnTo>
                              <a:pt x="1702" y="4229"/>
                            </a:lnTo>
                            <a:lnTo>
                              <a:pt x="1717" y="4223"/>
                            </a:lnTo>
                            <a:lnTo>
                              <a:pt x="1732" y="4219"/>
                            </a:lnTo>
                            <a:lnTo>
                              <a:pt x="1747" y="4215"/>
                            </a:lnTo>
                            <a:lnTo>
                              <a:pt x="1762" y="4212"/>
                            </a:lnTo>
                            <a:lnTo>
                              <a:pt x="1778" y="4210"/>
                            </a:lnTo>
                            <a:lnTo>
                              <a:pt x="1793" y="4210"/>
                            </a:lnTo>
                            <a:lnTo>
                              <a:pt x="1809" y="4210"/>
                            </a:lnTo>
                            <a:lnTo>
                              <a:pt x="1824" y="4212"/>
                            </a:lnTo>
                            <a:lnTo>
                              <a:pt x="1838" y="4215"/>
                            </a:lnTo>
                            <a:lnTo>
                              <a:pt x="1852" y="4219"/>
                            </a:lnTo>
                            <a:lnTo>
                              <a:pt x="2295" y="4319"/>
                            </a:lnTo>
                            <a:lnTo>
                              <a:pt x="2295" y="4319"/>
                            </a:lnTo>
                            <a:lnTo>
                              <a:pt x="2309" y="4322"/>
                            </a:lnTo>
                            <a:lnTo>
                              <a:pt x="2324" y="4326"/>
                            </a:lnTo>
                            <a:lnTo>
                              <a:pt x="2338" y="4331"/>
                            </a:lnTo>
                            <a:lnTo>
                              <a:pt x="2352" y="4337"/>
                            </a:lnTo>
                            <a:lnTo>
                              <a:pt x="2366" y="4345"/>
                            </a:lnTo>
                            <a:lnTo>
                              <a:pt x="2379" y="4353"/>
                            </a:lnTo>
                            <a:lnTo>
                              <a:pt x="2391" y="4363"/>
                            </a:lnTo>
                            <a:lnTo>
                              <a:pt x="2403" y="4373"/>
                            </a:lnTo>
                            <a:lnTo>
                              <a:pt x="2415" y="4384"/>
                            </a:lnTo>
                            <a:lnTo>
                              <a:pt x="2425" y="4396"/>
                            </a:lnTo>
                            <a:lnTo>
                              <a:pt x="2435" y="4408"/>
                            </a:lnTo>
                            <a:lnTo>
                              <a:pt x="2443" y="4421"/>
                            </a:lnTo>
                            <a:lnTo>
                              <a:pt x="2451" y="4434"/>
                            </a:lnTo>
                            <a:lnTo>
                              <a:pt x="2457" y="4448"/>
                            </a:lnTo>
                            <a:lnTo>
                              <a:pt x="2464" y="4462"/>
                            </a:lnTo>
                            <a:lnTo>
                              <a:pt x="2468" y="4476"/>
                            </a:lnTo>
                            <a:lnTo>
                              <a:pt x="2558" y="4880"/>
                            </a:lnTo>
                            <a:lnTo>
                              <a:pt x="2558" y="4880"/>
                            </a:lnTo>
                            <a:lnTo>
                              <a:pt x="2562" y="4894"/>
                            </a:lnTo>
                            <a:lnTo>
                              <a:pt x="2567" y="4907"/>
                            </a:lnTo>
                            <a:lnTo>
                              <a:pt x="2574" y="4919"/>
                            </a:lnTo>
                            <a:lnTo>
                              <a:pt x="2581" y="4931"/>
                            </a:lnTo>
                            <a:lnTo>
                              <a:pt x="2590" y="4942"/>
                            </a:lnTo>
                            <a:lnTo>
                              <a:pt x="2600" y="4952"/>
                            </a:lnTo>
                            <a:lnTo>
                              <a:pt x="2610" y="4960"/>
                            </a:lnTo>
                            <a:lnTo>
                              <a:pt x="2621" y="4968"/>
                            </a:lnTo>
                            <a:lnTo>
                              <a:pt x="2633" y="4975"/>
                            </a:lnTo>
                            <a:lnTo>
                              <a:pt x="2645" y="4981"/>
                            </a:lnTo>
                            <a:lnTo>
                              <a:pt x="2658" y="4985"/>
                            </a:lnTo>
                            <a:lnTo>
                              <a:pt x="2672" y="4988"/>
                            </a:lnTo>
                            <a:lnTo>
                              <a:pt x="2685" y="4990"/>
                            </a:lnTo>
                            <a:lnTo>
                              <a:pt x="2699" y="4990"/>
                            </a:lnTo>
                            <a:lnTo>
                              <a:pt x="2714" y="4989"/>
                            </a:lnTo>
                            <a:lnTo>
                              <a:pt x="2728" y="4987"/>
                            </a:lnTo>
                            <a:lnTo>
                              <a:pt x="3336" y="4850"/>
                            </a:lnTo>
                            <a:lnTo>
                              <a:pt x="3336" y="4850"/>
                            </a:lnTo>
                            <a:lnTo>
                              <a:pt x="3350" y="4846"/>
                            </a:lnTo>
                            <a:lnTo>
                              <a:pt x="3363" y="4841"/>
                            </a:lnTo>
                            <a:lnTo>
                              <a:pt x="3376" y="4835"/>
                            </a:lnTo>
                            <a:lnTo>
                              <a:pt x="3387" y="4827"/>
                            </a:lnTo>
                            <a:lnTo>
                              <a:pt x="3398" y="4819"/>
                            </a:lnTo>
                            <a:lnTo>
                              <a:pt x="3408" y="4809"/>
                            </a:lnTo>
                            <a:lnTo>
                              <a:pt x="3417" y="4799"/>
                            </a:lnTo>
                            <a:lnTo>
                              <a:pt x="3425" y="4787"/>
                            </a:lnTo>
                            <a:lnTo>
                              <a:pt x="3431" y="4776"/>
                            </a:lnTo>
                            <a:lnTo>
                              <a:pt x="3437" y="4763"/>
                            </a:lnTo>
                            <a:lnTo>
                              <a:pt x="3441" y="4750"/>
                            </a:lnTo>
                            <a:lnTo>
                              <a:pt x="3444" y="4737"/>
                            </a:lnTo>
                            <a:lnTo>
                              <a:pt x="3446" y="4723"/>
                            </a:lnTo>
                            <a:lnTo>
                              <a:pt x="3447" y="4709"/>
                            </a:lnTo>
                            <a:lnTo>
                              <a:pt x="3446" y="4695"/>
                            </a:lnTo>
                            <a:lnTo>
                              <a:pt x="3443" y="4681"/>
                            </a:lnTo>
                            <a:lnTo>
                              <a:pt x="3352" y="4278"/>
                            </a:lnTo>
                            <a:lnTo>
                              <a:pt x="3352" y="4278"/>
                            </a:lnTo>
                            <a:lnTo>
                              <a:pt x="3350" y="4263"/>
                            </a:lnTo>
                            <a:lnTo>
                              <a:pt x="3349" y="4248"/>
                            </a:lnTo>
                            <a:lnTo>
                              <a:pt x="3349" y="4233"/>
                            </a:lnTo>
                            <a:lnTo>
                              <a:pt x="3350" y="4218"/>
                            </a:lnTo>
                            <a:lnTo>
                              <a:pt x="3352" y="4203"/>
                            </a:lnTo>
                            <a:lnTo>
                              <a:pt x="3356" y="4187"/>
                            </a:lnTo>
                            <a:lnTo>
                              <a:pt x="3360" y="4172"/>
                            </a:lnTo>
                            <a:lnTo>
                              <a:pt x="3366" y="4158"/>
                            </a:lnTo>
                            <a:lnTo>
                              <a:pt x="3372" y="4143"/>
                            </a:lnTo>
                            <a:lnTo>
                              <a:pt x="3379" y="4129"/>
                            </a:lnTo>
                            <a:lnTo>
                              <a:pt x="3388" y="4116"/>
                            </a:lnTo>
                            <a:lnTo>
                              <a:pt x="3397" y="4103"/>
                            </a:lnTo>
                            <a:lnTo>
                              <a:pt x="3407" y="4092"/>
                            </a:lnTo>
                            <a:lnTo>
                              <a:pt x="3417" y="4081"/>
                            </a:lnTo>
                            <a:lnTo>
                              <a:pt x="3429" y="4071"/>
                            </a:lnTo>
                            <a:lnTo>
                              <a:pt x="3441" y="4063"/>
                            </a:lnTo>
                            <a:lnTo>
                              <a:pt x="3795" y="3783"/>
                            </a:lnTo>
                            <a:lnTo>
                              <a:pt x="3795" y="3783"/>
                            </a:lnTo>
                            <a:lnTo>
                              <a:pt x="3806" y="3773"/>
                            </a:lnTo>
                            <a:lnTo>
                              <a:pt x="3818" y="3764"/>
                            </a:lnTo>
                            <a:lnTo>
                              <a:pt x="3831" y="3756"/>
                            </a:lnTo>
                            <a:lnTo>
                              <a:pt x="3845" y="3749"/>
                            </a:lnTo>
                            <a:lnTo>
                              <a:pt x="3859" y="3743"/>
                            </a:lnTo>
                            <a:lnTo>
                              <a:pt x="3874" y="3738"/>
                            </a:lnTo>
                            <a:lnTo>
                              <a:pt x="3889" y="3734"/>
                            </a:lnTo>
                            <a:lnTo>
                              <a:pt x="3905" y="3731"/>
                            </a:lnTo>
                            <a:lnTo>
                              <a:pt x="3920" y="3729"/>
                            </a:lnTo>
                            <a:lnTo>
                              <a:pt x="3936" y="3728"/>
                            </a:lnTo>
                            <a:lnTo>
                              <a:pt x="3952" y="3728"/>
                            </a:lnTo>
                            <a:lnTo>
                              <a:pt x="3967" y="3730"/>
                            </a:lnTo>
                            <a:lnTo>
                              <a:pt x="3982" y="3732"/>
                            </a:lnTo>
                            <a:lnTo>
                              <a:pt x="3997" y="3735"/>
                            </a:lnTo>
                            <a:lnTo>
                              <a:pt x="4011" y="3740"/>
                            </a:lnTo>
                            <a:lnTo>
                              <a:pt x="4024" y="3746"/>
                            </a:lnTo>
                            <a:lnTo>
                              <a:pt x="4396" y="3926"/>
                            </a:lnTo>
                            <a:lnTo>
                              <a:pt x="4396" y="3926"/>
                            </a:lnTo>
                            <a:lnTo>
                              <a:pt x="4409" y="3932"/>
                            </a:lnTo>
                            <a:lnTo>
                              <a:pt x="4423" y="3936"/>
                            </a:lnTo>
                            <a:lnTo>
                              <a:pt x="4436" y="3939"/>
                            </a:lnTo>
                            <a:lnTo>
                              <a:pt x="4450" y="3940"/>
                            </a:lnTo>
                            <a:lnTo>
                              <a:pt x="4464" y="3940"/>
                            </a:lnTo>
                            <a:lnTo>
                              <a:pt x="4477" y="3939"/>
                            </a:lnTo>
                            <a:lnTo>
                              <a:pt x="4491" y="3936"/>
                            </a:lnTo>
                            <a:lnTo>
                              <a:pt x="4504" y="3932"/>
                            </a:lnTo>
                            <a:lnTo>
                              <a:pt x="4516" y="3927"/>
                            </a:lnTo>
                            <a:lnTo>
                              <a:pt x="4529" y="3921"/>
                            </a:lnTo>
                            <a:lnTo>
                              <a:pt x="4540" y="3914"/>
                            </a:lnTo>
                            <a:lnTo>
                              <a:pt x="4551" y="3905"/>
                            </a:lnTo>
                            <a:lnTo>
                              <a:pt x="4561" y="3896"/>
                            </a:lnTo>
                            <a:lnTo>
                              <a:pt x="4570" y="3885"/>
                            </a:lnTo>
                            <a:lnTo>
                              <a:pt x="4578" y="3873"/>
                            </a:lnTo>
                            <a:lnTo>
                              <a:pt x="4585" y="3860"/>
                            </a:lnTo>
                            <a:lnTo>
                              <a:pt x="4857" y="3300"/>
                            </a:lnTo>
                            <a:lnTo>
                              <a:pt x="4857" y="3300"/>
                            </a:lnTo>
                            <a:lnTo>
                              <a:pt x="4863" y="3286"/>
                            </a:lnTo>
                            <a:lnTo>
                              <a:pt x="4867" y="3273"/>
                            </a:lnTo>
                            <a:lnTo>
                              <a:pt x="4870" y="3259"/>
                            </a:lnTo>
                            <a:lnTo>
                              <a:pt x="4871" y="3245"/>
                            </a:lnTo>
                            <a:lnTo>
                              <a:pt x="4872" y="3231"/>
                            </a:lnTo>
                            <a:lnTo>
                              <a:pt x="4870" y="3218"/>
                            </a:lnTo>
                            <a:lnTo>
                              <a:pt x="4868" y="3204"/>
                            </a:lnTo>
                            <a:lnTo>
                              <a:pt x="4864" y="3191"/>
                            </a:lnTo>
                            <a:lnTo>
                              <a:pt x="4859" y="3179"/>
                            </a:lnTo>
                            <a:lnTo>
                              <a:pt x="4853" y="3167"/>
                            </a:lnTo>
                            <a:lnTo>
                              <a:pt x="4845" y="3155"/>
                            </a:lnTo>
                            <a:lnTo>
                              <a:pt x="4837" y="3144"/>
                            </a:lnTo>
                            <a:lnTo>
                              <a:pt x="4827" y="3134"/>
                            </a:lnTo>
                            <a:lnTo>
                              <a:pt x="4816" y="3125"/>
                            </a:lnTo>
                            <a:lnTo>
                              <a:pt x="4805" y="3117"/>
                            </a:lnTo>
                            <a:lnTo>
                              <a:pt x="4792" y="3110"/>
                            </a:lnTo>
                            <a:lnTo>
                              <a:pt x="4421" y="2930"/>
                            </a:lnTo>
                            <a:lnTo>
                              <a:pt x="4421" y="2930"/>
                            </a:lnTo>
                            <a:lnTo>
                              <a:pt x="4408" y="2923"/>
                            </a:lnTo>
                            <a:lnTo>
                              <a:pt x="4396" y="2915"/>
                            </a:lnTo>
                            <a:lnTo>
                              <a:pt x="4384" y="2905"/>
                            </a:lnTo>
                            <a:lnTo>
                              <a:pt x="4373" y="2895"/>
                            </a:lnTo>
                            <a:lnTo>
                              <a:pt x="4363" y="2884"/>
                            </a:lnTo>
                            <a:lnTo>
                              <a:pt x="4354" y="2872"/>
                            </a:lnTo>
                            <a:lnTo>
                              <a:pt x="4345" y="2859"/>
                            </a:lnTo>
                            <a:lnTo>
                              <a:pt x="4338" y="2845"/>
                            </a:lnTo>
                            <a:lnTo>
                              <a:pt x="4331" y="2831"/>
                            </a:lnTo>
                            <a:lnTo>
                              <a:pt x="4325" y="2817"/>
                            </a:lnTo>
                            <a:lnTo>
                              <a:pt x="4321" y="2802"/>
                            </a:lnTo>
                            <a:lnTo>
                              <a:pt x="4317" y="2787"/>
                            </a:lnTo>
                            <a:lnTo>
                              <a:pt x="4315" y="2772"/>
                            </a:lnTo>
                            <a:lnTo>
                              <a:pt x="4314" y="2758"/>
                            </a:lnTo>
                            <a:lnTo>
                              <a:pt x="4314" y="2743"/>
                            </a:lnTo>
                            <a:lnTo>
                              <a:pt x="4316" y="2728"/>
                            </a:lnTo>
                            <a:lnTo>
                              <a:pt x="4316" y="2728"/>
                            </a:lnTo>
                            <a:lnTo>
                              <a:pt x="4318" y="2710"/>
                            </a:lnTo>
                            <a:lnTo>
                              <a:pt x="4323" y="2662"/>
                            </a:lnTo>
                            <a:lnTo>
                              <a:pt x="4326" y="2629"/>
                            </a:lnTo>
                            <a:lnTo>
                              <a:pt x="4329" y="2590"/>
                            </a:lnTo>
                            <a:lnTo>
                              <a:pt x="4331" y="2548"/>
                            </a:lnTo>
                            <a:lnTo>
                              <a:pt x="4332" y="2502"/>
                            </a:lnTo>
                            <a:lnTo>
                              <a:pt x="4332" y="2502"/>
                            </a:lnTo>
                            <a:close/>
                            <a:moveTo>
                              <a:pt x="3788" y="2500"/>
                            </a:moveTo>
                            <a:lnTo>
                              <a:pt x="3788" y="2500"/>
                            </a:lnTo>
                            <a:lnTo>
                              <a:pt x="3787" y="2533"/>
                            </a:lnTo>
                            <a:lnTo>
                              <a:pt x="3786" y="2567"/>
                            </a:lnTo>
                            <a:lnTo>
                              <a:pt x="3784" y="2600"/>
                            </a:lnTo>
                            <a:lnTo>
                              <a:pt x="3780" y="2633"/>
                            </a:lnTo>
                            <a:lnTo>
                              <a:pt x="3777" y="2666"/>
                            </a:lnTo>
                            <a:lnTo>
                              <a:pt x="3772" y="2698"/>
                            </a:lnTo>
                            <a:lnTo>
                              <a:pt x="3767" y="2730"/>
                            </a:lnTo>
                            <a:lnTo>
                              <a:pt x="3760" y="2762"/>
                            </a:lnTo>
                            <a:lnTo>
                              <a:pt x="3753" y="2794"/>
                            </a:lnTo>
                            <a:lnTo>
                              <a:pt x="3746" y="2825"/>
                            </a:lnTo>
                            <a:lnTo>
                              <a:pt x="3737" y="2856"/>
                            </a:lnTo>
                            <a:lnTo>
                              <a:pt x="3728" y="2887"/>
                            </a:lnTo>
                            <a:lnTo>
                              <a:pt x="3718" y="2917"/>
                            </a:lnTo>
                            <a:lnTo>
                              <a:pt x="3707" y="2947"/>
                            </a:lnTo>
                            <a:lnTo>
                              <a:pt x="3696" y="2977"/>
                            </a:lnTo>
                            <a:lnTo>
                              <a:pt x="3684" y="3006"/>
                            </a:lnTo>
                            <a:lnTo>
                              <a:pt x="3671" y="3035"/>
                            </a:lnTo>
                            <a:lnTo>
                              <a:pt x="3657" y="3064"/>
                            </a:lnTo>
                            <a:lnTo>
                              <a:pt x="3643" y="3092"/>
                            </a:lnTo>
                            <a:lnTo>
                              <a:pt x="3628" y="3120"/>
                            </a:lnTo>
                            <a:lnTo>
                              <a:pt x="3613" y="3147"/>
                            </a:lnTo>
                            <a:lnTo>
                              <a:pt x="3597" y="3174"/>
                            </a:lnTo>
                            <a:lnTo>
                              <a:pt x="3580" y="3201"/>
                            </a:lnTo>
                            <a:lnTo>
                              <a:pt x="3563" y="3227"/>
                            </a:lnTo>
                            <a:lnTo>
                              <a:pt x="3545" y="3252"/>
                            </a:lnTo>
                            <a:lnTo>
                              <a:pt x="3526" y="3278"/>
                            </a:lnTo>
                            <a:lnTo>
                              <a:pt x="3507" y="3302"/>
                            </a:lnTo>
                            <a:lnTo>
                              <a:pt x="3487" y="3327"/>
                            </a:lnTo>
                            <a:lnTo>
                              <a:pt x="3467" y="3350"/>
                            </a:lnTo>
                            <a:lnTo>
                              <a:pt x="3446" y="3374"/>
                            </a:lnTo>
                            <a:lnTo>
                              <a:pt x="3425" y="3396"/>
                            </a:lnTo>
                            <a:lnTo>
                              <a:pt x="3403" y="3419"/>
                            </a:lnTo>
                            <a:lnTo>
                              <a:pt x="3381" y="3440"/>
                            </a:lnTo>
                            <a:lnTo>
                              <a:pt x="3358" y="3462"/>
                            </a:lnTo>
                            <a:lnTo>
                              <a:pt x="3334" y="3482"/>
                            </a:lnTo>
                            <a:lnTo>
                              <a:pt x="3310" y="3502"/>
                            </a:lnTo>
                            <a:lnTo>
                              <a:pt x="3286" y="3522"/>
                            </a:lnTo>
                            <a:lnTo>
                              <a:pt x="3261" y="3541"/>
                            </a:lnTo>
                            <a:lnTo>
                              <a:pt x="3236" y="3559"/>
                            </a:lnTo>
                            <a:lnTo>
                              <a:pt x="3210" y="3577"/>
                            </a:lnTo>
                            <a:lnTo>
                              <a:pt x="3184" y="3594"/>
                            </a:lnTo>
                            <a:lnTo>
                              <a:pt x="3157" y="3611"/>
                            </a:lnTo>
                            <a:lnTo>
                              <a:pt x="3130" y="3626"/>
                            </a:lnTo>
                            <a:lnTo>
                              <a:pt x="3102" y="3642"/>
                            </a:lnTo>
                            <a:lnTo>
                              <a:pt x="3074" y="3656"/>
                            </a:lnTo>
                            <a:lnTo>
                              <a:pt x="3046" y="3670"/>
                            </a:lnTo>
                            <a:lnTo>
                              <a:pt x="3017" y="3683"/>
                            </a:lnTo>
                            <a:lnTo>
                              <a:pt x="2988" y="3696"/>
                            </a:lnTo>
                            <a:lnTo>
                              <a:pt x="2959" y="3708"/>
                            </a:lnTo>
                            <a:lnTo>
                              <a:pt x="2929" y="3719"/>
                            </a:lnTo>
                            <a:lnTo>
                              <a:pt x="2899" y="3730"/>
                            </a:lnTo>
                            <a:lnTo>
                              <a:pt x="2868" y="3739"/>
                            </a:lnTo>
                            <a:lnTo>
                              <a:pt x="2838" y="3748"/>
                            </a:lnTo>
                            <a:lnTo>
                              <a:pt x="2807" y="3757"/>
                            </a:lnTo>
                            <a:lnTo>
                              <a:pt x="2775" y="3764"/>
                            </a:lnTo>
                            <a:lnTo>
                              <a:pt x="2744" y="3771"/>
                            </a:lnTo>
                            <a:lnTo>
                              <a:pt x="2712" y="3777"/>
                            </a:lnTo>
                            <a:lnTo>
                              <a:pt x="2679" y="3782"/>
                            </a:lnTo>
                            <a:lnTo>
                              <a:pt x="2647" y="3787"/>
                            </a:lnTo>
                            <a:lnTo>
                              <a:pt x="2614" y="3790"/>
                            </a:lnTo>
                            <a:lnTo>
                              <a:pt x="2581" y="3793"/>
                            </a:lnTo>
                            <a:lnTo>
                              <a:pt x="2548" y="3795"/>
                            </a:lnTo>
                            <a:lnTo>
                              <a:pt x="2515" y="3796"/>
                            </a:lnTo>
                            <a:lnTo>
                              <a:pt x="2481" y="3796"/>
                            </a:lnTo>
                            <a:lnTo>
                              <a:pt x="2481" y="3796"/>
                            </a:lnTo>
                            <a:lnTo>
                              <a:pt x="2446" y="3796"/>
                            </a:lnTo>
                            <a:lnTo>
                              <a:pt x="2413" y="3794"/>
                            </a:lnTo>
                            <a:lnTo>
                              <a:pt x="2380" y="3792"/>
                            </a:lnTo>
                            <a:lnTo>
                              <a:pt x="2347" y="3789"/>
                            </a:lnTo>
                            <a:lnTo>
                              <a:pt x="2314" y="3785"/>
                            </a:lnTo>
                            <a:lnTo>
                              <a:pt x="2282" y="3781"/>
                            </a:lnTo>
                            <a:lnTo>
                              <a:pt x="2250" y="3775"/>
                            </a:lnTo>
                            <a:lnTo>
                              <a:pt x="2218" y="3769"/>
                            </a:lnTo>
                            <a:lnTo>
                              <a:pt x="2186" y="3762"/>
                            </a:lnTo>
                            <a:lnTo>
                              <a:pt x="2155" y="3754"/>
                            </a:lnTo>
                            <a:lnTo>
                              <a:pt x="2124" y="3746"/>
                            </a:lnTo>
                            <a:lnTo>
                              <a:pt x="2093" y="3736"/>
                            </a:lnTo>
                            <a:lnTo>
                              <a:pt x="2063" y="3726"/>
                            </a:lnTo>
                            <a:lnTo>
                              <a:pt x="2033" y="3716"/>
                            </a:lnTo>
                            <a:lnTo>
                              <a:pt x="2003" y="3704"/>
                            </a:lnTo>
                            <a:lnTo>
                              <a:pt x="1974" y="3692"/>
                            </a:lnTo>
                            <a:lnTo>
                              <a:pt x="1945" y="3679"/>
                            </a:lnTo>
                            <a:lnTo>
                              <a:pt x="1916" y="3666"/>
                            </a:lnTo>
                            <a:lnTo>
                              <a:pt x="1888" y="3652"/>
                            </a:lnTo>
                            <a:lnTo>
                              <a:pt x="1860" y="3637"/>
                            </a:lnTo>
                            <a:lnTo>
                              <a:pt x="1833" y="3621"/>
                            </a:lnTo>
                            <a:lnTo>
                              <a:pt x="1806" y="3605"/>
                            </a:lnTo>
                            <a:lnTo>
                              <a:pt x="1779" y="3589"/>
                            </a:lnTo>
                            <a:lnTo>
                              <a:pt x="1753" y="3571"/>
                            </a:lnTo>
                            <a:lnTo>
                              <a:pt x="1728" y="3553"/>
                            </a:lnTo>
                            <a:lnTo>
                              <a:pt x="1702" y="3535"/>
                            </a:lnTo>
                            <a:lnTo>
                              <a:pt x="1678" y="3516"/>
                            </a:lnTo>
                            <a:lnTo>
                              <a:pt x="1653" y="3496"/>
                            </a:lnTo>
                            <a:lnTo>
                              <a:pt x="1630" y="3476"/>
                            </a:lnTo>
                            <a:lnTo>
                              <a:pt x="1606" y="3455"/>
                            </a:lnTo>
                            <a:lnTo>
                              <a:pt x="1584" y="3433"/>
                            </a:lnTo>
                            <a:lnTo>
                              <a:pt x="1561" y="3412"/>
                            </a:lnTo>
                            <a:lnTo>
                              <a:pt x="1540" y="3389"/>
                            </a:lnTo>
                            <a:lnTo>
                              <a:pt x="1518" y="3366"/>
                            </a:lnTo>
                            <a:lnTo>
                              <a:pt x="1498" y="3343"/>
                            </a:lnTo>
                            <a:lnTo>
                              <a:pt x="1478" y="3319"/>
                            </a:lnTo>
                            <a:lnTo>
                              <a:pt x="1458" y="3294"/>
                            </a:lnTo>
                            <a:lnTo>
                              <a:pt x="1439" y="3269"/>
                            </a:lnTo>
                            <a:lnTo>
                              <a:pt x="1421" y="3244"/>
                            </a:lnTo>
                            <a:lnTo>
                              <a:pt x="1403" y="3218"/>
                            </a:lnTo>
                            <a:lnTo>
                              <a:pt x="1386" y="3192"/>
                            </a:lnTo>
                            <a:lnTo>
                              <a:pt x="1370" y="3165"/>
                            </a:lnTo>
                            <a:lnTo>
                              <a:pt x="1354" y="3138"/>
                            </a:lnTo>
                            <a:lnTo>
                              <a:pt x="1338" y="3111"/>
                            </a:lnTo>
                            <a:lnTo>
                              <a:pt x="1324" y="3083"/>
                            </a:lnTo>
                            <a:lnTo>
                              <a:pt x="1310" y="3054"/>
                            </a:lnTo>
                            <a:lnTo>
                              <a:pt x="1297" y="3026"/>
                            </a:lnTo>
                            <a:lnTo>
                              <a:pt x="1284" y="2997"/>
                            </a:lnTo>
                            <a:lnTo>
                              <a:pt x="1272" y="2967"/>
                            </a:lnTo>
                            <a:lnTo>
                              <a:pt x="1261" y="2937"/>
                            </a:lnTo>
                            <a:lnTo>
                              <a:pt x="1250" y="2907"/>
                            </a:lnTo>
                            <a:lnTo>
                              <a:pt x="1241" y="2877"/>
                            </a:lnTo>
                            <a:lnTo>
                              <a:pt x="1232" y="2846"/>
                            </a:lnTo>
                            <a:lnTo>
                              <a:pt x="1223" y="2815"/>
                            </a:lnTo>
                            <a:lnTo>
                              <a:pt x="1216" y="2784"/>
                            </a:lnTo>
                            <a:lnTo>
                              <a:pt x="1209" y="2752"/>
                            </a:lnTo>
                            <a:lnTo>
                              <a:pt x="1203" y="2720"/>
                            </a:lnTo>
                            <a:lnTo>
                              <a:pt x="1198" y="2688"/>
                            </a:lnTo>
                            <a:lnTo>
                              <a:pt x="1194" y="2655"/>
                            </a:lnTo>
                            <a:lnTo>
                              <a:pt x="1190" y="2623"/>
                            </a:lnTo>
                            <a:lnTo>
                              <a:pt x="1187" y="2590"/>
                            </a:lnTo>
                            <a:lnTo>
                              <a:pt x="1185" y="2557"/>
                            </a:lnTo>
                            <a:lnTo>
                              <a:pt x="1184" y="2523"/>
                            </a:lnTo>
                            <a:lnTo>
                              <a:pt x="1184" y="2490"/>
                            </a:lnTo>
                            <a:lnTo>
                              <a:pt x="1184" y="2490"/>
                            </a:lnTo>
                            <a:lnTo>
                              <a:pt x="1184" y="2455"/>
                            </a:lnTo>
                            <a:lnTo>
                              <a:pt x="1186" y="2422"/>
                            </a:lnTo>
                            <a:lnTo>
                              <a:pt x="1188" y="2388"/>
                            </a:lnTo>
                            <a:lnTo>
                              <a:pt x="1191" y="2356"/>
                            </a:lnTo>
                            <a:lnTo>
                              <a:pt x="1195" y="2323"/>
                            </a:lnTo>
                            <a:lnTo>
                              <a:pt x="1199" y="2290"/>
                            </a:lnTo>
                            <a:lnTo>
                              <a:pt x="1205" y="2258"/>
                            </a:lnTo>
                            <a:lnTo>
                              <a:pt x="1211" y="2226"/>
                            </a:lnTo>
                            <a:lnTo>
                              <a:pt x="1218" y="2195"/>
                            </a:lnTo>
                            <a:lnTo>
                              <a:pt x="1226" y="2163"/>
                            </a:lnTo>
                            <a:lnTo>
                              <a:pt x="1234" y="2132"/>
                            </a:lnTo>
                            <a:lnTo>
                              <a:pt x="1244" y="2102"/>
                            </a:lnTo>
                            <a:lnTo>
                              <a:pt x="1254" y="2071"/>
                            </a:lnTo>
                            <a:lnTo>
                              <a:pt x="1264" y="2041"/>
                            </a:lnTo>
                            <a:lnTo>
                              <a:pt x="1276" y="2012"/>
                            </a:lnTo>
                            <a:lnTo>
                              <a:pt x="1288" y="1982"/>
                            </a:lnTo>
                            <a:lnTo>
                              <a:pt x="1301" y="1953"/>
                            </a:lnTo>
                            <a:lnTo>
                              <a:pt x="1314" y="1925"/>
                            </a:lnTo>
                            <a:lnTo>
                              <a:pt x="1328" y="1897"/>
                            </a:lnTo>
                            <a:lnTo>
                              <a:pt x="1343" y="1869"/>
                            </a:lnTo>
                            <a:lnTo>
                              <a:pt x="1359" y="1841"/>
                            </a:lnTo>
                            <a:lnTo>
                              <a:pt x="1375" y="1814"/>
                            </a:lnTo>
                            <a:lnTo>
                              <a:pt x="1391" y="1788"/>
                            </a:lnTo>
                            <a:lnTo>
                              <a:pt x="1409" y="1762"/>
                            </a:lnTo>
                            <a:lnTo>
                              <a:pt x="1427" y="1736"/>
                            </a:lnTo>
                            <a:lnTo>
                              <a:pt x="1445" y="1711"/>
                            </a:lnTo>
                            <a:lnTo>
                              <a:pt x="1464" y="1686"/>
                            </a:lnTo>
                            <a:lnTo>
                              <a:pt x="1484" y="1662"/>
                            </a:lnTo>
                            <a:lnTo>
                              <a:pt x="1504" y="1638"/>
                            </a:lnTo>
                            <a:lnTo>
                              <a:pt x="1525" y="1615"/>
                            </a:lnTo>
                            <a:lnTo>
                              <a:pt x="1547" y="1592"/>
                            </a:lnTo>
                            <a:lnTo>
                              <a:pt x="1569" y="1570"/>
                            </a:lnTo>
                            <a:lnTo>
                              <a:pt x="1591" y="1548"/>
                            </a:lnTo>
                            <a:lnTo>
                              <a:pt x="1614" y="1527"/>
                            </a:lnTo>
                            <a:lnTo>
                              <a:pt x="1637" y="1506"/>
                            </a:lnTo>
                            <a:lnTo>
                              <a:pt x="1661" y="1486"/>
                            </a:lnTo>
                            <a:lnTo>
                              <a:pt x="1686" y="1467"/>
                            </a:lnTo>
                            <a:lnTo>
                              <a:pt x="1711" y="1448"/>
                            </a:lnTo>
                            <a:lnTo>
                              <a:pt x="1736" y="1429"/>
                            </a:lnTo>
                            <a:lnTo>
                              <a:pt x="1762" y="1412"/>
                            </a:lnTo>
                            <a:lnTo>
                              <a:pt x="1788" y="1395"/>
                            </a:lnTo>
                            <a:lnTo>
                              <a:pt x="1815" y="1378"/>
                            </a:lnTo>
                            <a:lnTo>
                              <a:pt x="1842" y="1362"/>
                            </a:lnTo>
                            <a:lnTo>
                              <a:pt x="1869" y="1347"/>
                            </a:lnTo>
                            <a:lnTo>
                              <a:pt x="1897" y="1332"/>
                            </a:lnTo>
                            <a:lnTo>
                              <a:pt x="1926" y="1318"/>
                            </a:lnTo>
                            <a:lnTo>
                              <a:pt x="1954" y="1305"/>
                            </a:lnTo>
                            <a:lnTo>
                              <a:pt x="1983" y="1293"/>
                            </a:lnTo>
                            <a:lnTo>
                              <a:pt x="2013" y="1281"/>
                            </a:lnTo>
                            <a:lnTo>
                              <a:pt x="2043" y="1270"/>
                            </a:lnTo>
                            <a:lnTo>
                              <a:pt x="2073" y="1259"/>
                            </a:lnTo>
                            <a:lnTo>
                              <a:pt x="2103" y="1249"/>
                            </a:lnTo>
                            <a:lnTo>
                              <a:pt x="2134" y="1240"/>
                            </a:lnTo>
                            <a:lnTo>
                              <a:pt x="2165" y="1232"/>
                            </a:lnTo>
                            <a:lnTo>
                              <a:pt x="2196" y="1225"/>
                            </a:lnTo>
                            <a:lnTo>
                              <a:pt x="2228" y="1218"/>
                            </a:lnTo>
                            <a:lnTo>
                              <a:pt x="2260" y="1212"/>
                            </a:lnTo>
                            <a:lnTo>
                              <a:pt x="2292" y="1207"/>
                            </a:lnTo>
                            <a:lnTo>
                              <a:pt x="2325" y="1202"/>
                            </a:lnTo>
                            <a:lnTo>
                              <a:pt x="2357" y="1199"/>
                            </a:lnTo>
                            <a:lnTo>
                              <a:pt x="2390" y="1196"/>
                            </a:lnTo>
                            <a:lnTo>
                              <a:pt x="2424" y="1194"/>
                            </a:lnTo>
                            <a:lnTo>
                              <a:pt x="2457" y="1193"/>
                            </a:lnTo>
                            <a:lnTo>
                              <a:pt x="2492" y="1192"/>
                            </a:lnTo>
                            <a:lnTo>
                              <a:pt x="2492" y="1192"/>
                            </a:lnTo>
                            <a:lnTo>
                              <a:pt x="2525" y="1193"/>
                            </a:lnTo>
                            <a:lnTo>
                              <a:pt x="2558" y="1194"/>
                            </a:lnTo>
                            <a:lnTo>
                              <a:pt x="2592" y="1197"/>
                            </a:lnTo>
                            <a:lnTo>
                              <a:pt x="2625" y="1200"/>
                            </a:lnTo>
                            <a:lnTo>
                              <a:pt x="2657" y="1204"/>
                            </a:lnTo>
                            <a:lnTo>
                              <a:pt x="2690" y="1208"/>
                            </a:lnTo>
                            <a:lnTo>
                              <a:pt x="2722" y="1214"/>
                            </a:lnTo>
                            <a:lnTo>
                              <a:pt x="2754" y="1220"/>
                            </a:lnTo>
                            <a:lnTo>
                              <a:pt x="2785" y="1227"/>
                            </a:lnTo>
                            <a:lnTo>
                              <a:pt x="2817" y="1235"/>
                            </a:lnTo>
                            <a:lnTo>
                              <a:pt x="2848" y="1243"/>
                            </a:lnTo>
                            <a:lnTo>
                              <a:pt x="2878" y="1252"/>
                            </a:lnTo>
                            <a:lnTo>
                              <a:pt x="2909" y="1262"/>
                            </a:lnTo>
                            <a:lnTo>
                              <a:pt x="2939" y="1273"/>
                            </a:lnTo>
                            <a:lnTo>
                              <a:pt x="2968" y="1285"/>
                            </a:lnTo>
                            <a:lnTo>
                              <a:pt x="2998" y="1297"/>
                            </a:lnTo>
                            <a:lnTo>
                              <a:pt x="3027" y="1309"/>
                            </a:lnTo>
                            <a:lnTo>
                              <a:pt x="3055" y="1323"/>
                            </a:lnTo>
                            <a:lnTo>
                              <a:pt x="3083" y="1337"/>
                            </a:lnTo>
                            <a:lnTo>
                              <a:pt x="3111" y="1352"/>
                            </a:lnTo>
                            <a:lnTo>
                              <a:pt x="3139" y="1367"/>
                            </a:lnTo>
                            <a:lnTo>
                              <a:pt x="3166" y="1383"/>
                            </a:lnTo>
                            <a:lnTo>
                              <a:pt x="3192" y="1400"/>
                            </a:lnTo>
                            <a:lnTo>
                              <a:pt x="3218" y="1418"/>
                            </a:lnTo>
                            <a:lnTo>
                              <a:pt x="3244" y="1435"/>
                            </a:lnTo>
                            <a:lnTo>
                              <a:pt x="3269" y="1454"/>
                            </a:lnTo>
                            <a:lnTo>
                              <a:pt x="3294" y="1473"/>
                            </a:lnTo>
                            <a:lnTo>
                              <a:pt x="3318" y="1493"/>
                            </a:lnTo>
                            <a:lnTo>
                              <a:pt x="3342" y="1513"/>
                            </a:lnTo>
                            <a:lnTo>
                              <a:pt x="3365" y="1534"/>
                            </a:lnTo>
                            <a:lnTo>
                              <a:pt x="3388" y="1555"/>
                            </a:lnTo>
                            <a:lnTo>
                              <a:pt x="3410" y="1577"/>
                            </a:lnTo>
                            <a:lnTo>
                              <a:pt x="3432" y="1600"/>
                            </a:lnTo>
                            <a:lnTo>
                              <a:pt x="3453" y="1623"/>
                            </a:lnTo>
                            <a:lnTo>
                              <a:pt x="3474" y="1646"/>
                            </a:lnTo>
                            <a:lnTo>
                              <a:pt x="3494" y="1670"/>
                            </a:lnTo>
                            <a:lnTo>
                              <a:pt x="3513" y="1694"/>
                            </a:lnTo>
                            <a:lnTo>
                              <a:pt x="3532" y="1719"/>
                            </a:lnTo>
                            <a:lnTo>
                              <a:pt x="3551" y="1745"/>
                            </a:lnTo>
                            <a:lnTo>
                              <a:pt x="3568" y="1770"/>
                            </a:lnTo>
                            <a:lnTo>
                              <a:pt x="3585" y="1797"/>
                            </a:lnTo>
                            <a:lnTo>
                              <a:pt x="3602" y="1823"/>
                            </a:lnTo>
                            <a:lnTo>
                              <a:pt x="3618" y="1850"/>
                            </a:lnTo>
                            <a:lnTo>
                              <a:pt x="3633" y="1878"/>
                            </a:lnTo>
                            <a:lnTo>
                              <a:pt x="3648" y="1906"/>
                            </a:lnTo>
                            <a:lnTo>
                              <a:pt x="3662" y="1934"/>
                            </a:lnTo>
                            <a:lnTo>
                              <a:pt x="3675" y="1963"/>
                            </a:lnTo>
                            <a:lnTo>
                              <a:pt x="3687" y="1992"/>
                            </a:lnTo>
                            <a:lnTo>
                              <a:pt x="3699" y="2021"/>
                            </a:lnTo>
                            <a:lnTo>
                              <a:pt x="3711" y="2051"/>
                            </a:lnTo>
                            <a:lnTo>
                              <a:pt x="3721" y="2081"/>
                            </a:lnTo>
                            <a:lnTo>
                              <a:pt x="3731" y="2112"/>
                            </a:lnTo>
                            <a:lnTo>
                              <a:pt x="3740" y="2142"/>
                            </a:lnTo>
                            <a:lnTo>
                              <a:pt x="3748" y="2173"/>
                            </a:lnTo>
                            <a:lnTo>
                              <a:pt x="3756" y="2205"/>
                            </a:lnTo>
                            <a:lnTo>
                              <a:pt x="3762" y="2236"/>
                            </a:lnTo>
                            <a:lnTo>
                              <a:pt x="3768" y="2268"/>
                            </a:lnTo>
                            <a:lnTo>
                              <a:pt x="3773" y="2301"/>
                            </a:lnTo>
                            <a:lnTo>
                              <a:pt x="3778" y="2333"/>
                            </a:lnTo>
                            <a:lnTo>
                              <a:pt x="3781" y="2366"/>
                            </a:lnTo>
                            <a:lnTo>
                              <a:pt x="3784" y="2399"/>
                            </a:lnTo>
                            <a:lnTo>
                              <a:pt x="3786" y="2432"/>
                            </a:lnTo>
                            <a:lnTo>
                              <a:pt x="3787" y="2466"/>
                            </a:lnTo>
                            <a:lnTo>
                              <a:pt x="3788" y="2500"/>
                            </a:lnTo>
                            <a:lnTo>
                              <a:pt x="3788" y="2500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</p:grpSp>
              </p:grpSp>
            </p:grpSp>
          </p:grpSp>
          <p:pic>
            <p:nvPicPr>
              <p:cNvPr id="8209" name="Picture 10" descr="Bildergebnis fÃ¼r linux logo">
                <a:extLst>
                  <a:ext uri="{FF2B5EF4-FFF2-40B4-BE49-F238E27FC236}">
                    <a16:creationId xmlns:a16="http://schemas.microsoft.com/office/drawing/2014/main" id="{0E508772-DAE9-4AAE-B3F2-C247FDF9F07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6261748" y="3702633"/>
                <a:ext cx="288245" cy="3183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FEDD57FC-A714-4876-8A97-68818EF0495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67950" y="5272160"/>
              <a:ext cx="204252" cy="771812"/>
            </a:xfrm>
            <a:custGeom>
              <a:avLst/>
              <a:gdLst>
                <a:gd name="connsiteX0" fmla="*/ 314325 w 319087"/>
                <a:gd name="connsiteY0" fmla="*/ 0 h 1952625"/>
                <a:gd name="connsiteX1" fmla="*/ 0 w 319087"/>
                <a:gd name="connsiteY1" fmla="*/ 0 h 1952625"/>
                <a:gd name="connsiteX2" fmla="*/ 0 w 319087"/>
                <a:gd name="connsiteY2" fmla="*/ 1952625 h 1952625"/>
                <a:gd name="connsiteX3" fmla="*/ 319087 w 319087"/>
                <a:gd name="connsiteY3" fmla="*/ 1952625 h 1952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9087" h="1952625">
                  <a:moveTo>
                    <a:pt x="314325" y="0"/>
                  </a:moveTo>
                  <a:lnTo>
                    <a:pt x="0" y="0"/>
                  </a:lnTo>
                  <a:lnTo>
                    <a:pt x="0" y="1952625"/>
                  </a:lnTo>
                  <a:lnTo>
                    <a:pt x="319087" y="1952625"/>
                  </a:lnTo>
                </a:path>
              </a:pathLst>
            </a:cu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809BCC08-3430-4B58-8AEC-AB3489D3BBA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67950" y="2572271"/>
              <a:ext cx="204252" cy="1531364"/>
            </a:xfrm>
            <a:custGeom>
              <a:avLst/>
              <a:gdLst>
                <a:gd name="connsiteX0" fmla="*/ 314325 w 319087"/>
                <a:gd name="connsiteY0" fmla="*/ 0 h 1952625"/>
                <a:gd name="connsiteX1" fmla="*/ 0 w 319087"/>
                <a:gd name="connsiteY1" fmla="*/ 0 h 1952625"/>
                <a:gd name="connsiteX2" fmla="*/ 0 w 319087"/>
                <a:gd name="connsiteY2" fmla="*/ 1952625 h 1952625"/>
                <a:gd name="connsiteX3" fmla="*/ 319087 w 319087"/>
                <a:gd name="connsiteY3" fmla="*/ 1952625 h 1952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9087" h="1952625">
                  <a:moveTo>
                    <a:pt x="314325" y="0"/>
                  </a:moveTo>
                  <a:lnTo>
                    <a:pt x="0" y="0"/>
                  </a:lnTo>
                  <a:lnTo>
                    <a:pt x="0" y="1952625"/>
                  </a:lnTo>
                  <a:lnTo>
                    <a:pt x="319087" y="1952625"/>
                  </a:lnTo>
                </a:path>
              </a:pathLst>
            </a:custGeom>
            <a:noFill/>
            <a:ln w="25400" cap="rnd" cmpd="sng" algn="ctr">
              <a:solidFill>
                <a:schemeClr val="accent4">
                  <a:lumMod val="10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3EDECA1-F781-487A-9A1F-54CF1E07059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How to deploy regularly on the target system</a:t>
            </a:r>
            <a:br>
              <a:rPr lang="en-US" dirty="0"/>
            </a:br>
            <a:r>
              <a:rPr lang="en-US" sz="2800" dirty="0"/>
              <a:t>Difference to cloud-based SaaS </a:t>
            </a:r>
            <a:endParaRPr lang="en-US" sz="2400" dirty="0"/>
          </a:p>
        </p:txBody>
      </p:sp>
      <p:sp>
        <p:nvSpPr>
          <p:cNvPr id="169" name="TextBox 5">
            <a:extLst>
              <a:ext uri="{FF2B5EF4-FFF2-40B4-BE49-F238E27FC236}">
                <a16:creationId xmlns:a16="http://schemas.microsoft.com/office/drawing/2014/main" id="{5764E439-6FC9-42CA-A349-AB751FE91407}"/>
              </a:ext>
            </a:extLst>
          </p:cNvPr>
          <p:cNvSpPr txBox="1">
            <a:spLocks/>
          </p:cNvSpPr>
          <p:nvPr/>
        </p:nvSpPr>
        <p:spPr bwMode="gray">
          <a:xfrm>
            <a:off x="555137" y="1619625"/>
            <a:ext cx="5453531" cy="5541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583" fontAlgn="auto"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Calibri"/>
              </a:rPr>
              <a:t>Cloud Application </a:t>
            </a:r>
            <a:r>
              <a:rPr lang="en-US" dirty="0">
                <a:solidFill>
                  <a:srgbClr val="000000"/>
                </a:solidFill>
                <a:latin typeface="Calibri"/>
                <a:sym typeface="Wingdings" panose="05000000000000000000" pitchFamily="2" charset="2"/>
              </a:rPr>
              <a:t> One production system</a:t>
            </a:r>
            <a:br>
              <a:rPr lang="en-US" b="0" dirty="0">
                <a:solidFill>
                  <a:srgbClr val="000000"/>
                </a:solidFill>
                <a:latin typeface="Calibri"/>
              </a:rPr>
            </a:br>
            <a:r>
              <a:rPr lang="en-US" b="0" dirty="0">
                <a:solidFill>
                  <a:srgbClr val="000000"/>
                </a:solidFill>
                <a:latin typeface="Calibri"/>
              </a:rPr>
              <a:t>Homogenous System/SW Deployment</a:t>
            </a:r>
          </a:p>
        </p:txBody>
      </p: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11A88EE5-F621-4F11-9D28-ABA52581BF5B}"/>
              </a:ext>
            </a:extLst>
          </p:cNvPr>
          <p:cNvGrpSpPr/>
          <p:nvPr/>
        </p:nvGrpSpPr>
        <p:grpSpPr bwMode="gray">
          <a:xfrm>
            <a:off x="546209" y="2536859"/>
            <a:ext cx="609283" cy="744058"/>
            <a:chOff x="533206" y="2344689"/>
            <a:chExt cx="609142" cy="743886"/>
          </a:xfrm>
        </p:grpSpPr>
        <p:sp>
          <p:nvSpPr>
            <p:cNvPr id="174" name="TextBox 39">
              <a:extLst>
                <a:ext uri="{FF2B5EF4-FFF2-40B4-BE49-F238E27FC236}">
                  <a16:creationId xmlns:a16="http://schemas.microsoft.com/office/drawing/2014/main" id="{46A378E7-D8C8-412F-87E0-B885191D856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33206" y="2934687"/>
              <a:ext cx="60914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Application</a:t>
              </a:r>
            </a:p>
          </p:txBody>
        </p:sp>
        <p:grpSp>
          <p:nvGrpSpPr>
            <p:cNvPr id="187" name="SAGD, Siemens, healthineers, evolve">
              <a:extLst>
                <a:ext uri="{FF2B5EF4-FFF2-40B4-BE49-F238E27FC236}">
                  <a16:creationId xmlns:a16="http://schemas.microsoft.com/office/drawing/2014/main" id="{0AB03ADD-83A2-4399-B04B-92E42B4F7A4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61363" y="2344689"/>
              <a:ext cx="552828" cy="553998"/>
              <a:chOff x="1188" y="1252"/>
              <a:chExt cx="2268" cy="2268"/>
            </a:xfrm>
          </p:grpSpPr>
          <p:sp>
            <p:nvSpPr>
              <p:cNvPr id="188" name="AutoShape 4">
                <a:extLst>
                  <a:ext uri="{FF2B5EF4-FFF2-40B4-BE49-F238E27FC236}">
                    <a16:creationId xmlns:a16="http://schemas.microsoft.com/office/drawing/2014/main" id="{268979CD-43DE-4356-87A7-D5F5C5BFAF3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gray">
              <a:xfrm>
                <a:off x="1188" y="1252"/>
                <a:ext cx="2268" cy="22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b="1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5B518F5-BE28-49D4-9AE3-3F63D6FABA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  <a:close/>
                  </a:path>
                </a:pathLst>
              </a:custGeom>
              <a:solidFill>
                <a:srgbClr val="EC66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b="1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5E645BE2-1852-470C-AD30-8AAFD31254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8" y="1252"/>
                <a:ext cx="2268" cy="2268"/>
              </a:xfrm>
              <a:custGeom>
                <a:avLst/>
                <a:gdLst/>
                <a:ahLst/>
                <a:cxnLst>
                  <a:cxn ang="0">
                    <a:pos x="11317" y="6179"/>
                  </a:cxn>
                  <a:cxn ang="0">
                    <a:pos x="11224" y="6813"/>
                  </a:cxn>
                  <a:cxn ang="0">
                    <a:pos x="11064" y="7423"/>
                  </a:cxn>
                  <a:cxn ang="0">
                    <a:pos x="10839" y="8004"/>
                  </a:cxn>
                  <a:cxn ang="0">
                    <a:pos x="10554" y="8552"/>
                  </a:cxn>
                  <a:cxn ang="0">
                    <a:pos x="10213" y="9063"/>
                  </a:cxn>
                  <a:cxn ang="0">
                    <a:pos x="9821" y="9533"/>
                  </a:cxn>
                  <a:cxn ang="0">
                    <a:pos x="9380" y="9958"/>
                  </a:cxn>
                  <a:cxn ang="0">
                    <a:pos x="8896" y="10333"/>
                  </a:cxn>
                  <a:cxn ang="0">
                    <a:pos x="8373" y="10656"/>
                  </a:cxn>
                  <a:cxn ang="0">
                    <a:pos x="7813" y="10921"/>
                  </a:cxn>
                  <a:cxn ang="0">
                    <a:pos x="7222" y="11125"/>
                  </a:cxn>
                  <a:cxn ang="0">
                    <a:pos x="6604" y="11264"/>
                  </a:cxn>
                  <a:cxn ang="0">
                    <a:pos x="5962" y="11333"/>
                  </a:cxn>
                  <a:cxn ang="0">
                    <a:pos x="5378" y="11333"/>
                  </a:cxn>
                  <a:cxn ang="0">
                    <a:pos x="4736" y="11264"/>
                  </a:cxn>
                  <a:cxn ang="0">
                    <a:pos x="4117" y="11125"/>
                  </a:cxn>
                  <a:cxn ang="0">
                    <a:pos x="3526" y="10921"/>
                  </a:cxn>
                  <a:cxn ang="0">
                    <a:pos x="2967" y="10656"/>
                  </a:cxn>
                  <a:cxn ang="0">
                    <a:pos x="2443" y="10333"/>
                  </a:cxn>
                  <a:cxn ang="0">
                    <a:pos x="1959" y="9958"/>
                  </a:cxn>
                  <a:cxn ang="0">
                    <a:pos x="1519" y="9533"/>
                  </a:cxn>
                  <a:cxn ang="0">
                    <a:pos x="1126" y="9063"/>
                  </a:cxn>
                  <a:cxn ang="0">
                    <a:pos x="785" y="8552"/>
                  </a:cxn>
                  <a:cxn ang="0">
                    <a:pos x="501" y="8004"/>
                  </a:cxn>
                  <a:cxn ang="0">
                    <a:pos x="276" y="7423"/>
                  </a:cxn>
                  <a:cxn ang="0">
                    <a:pos x="115" y="6813"/>
                  </a:cxn>
                  <a:cxn ang="0">
                    <a:pos x="22" y="6179"/>
                  </a:cxn>
                  <a:cxn ang="0">
                    <a:pos x="0" y="5596"/>
                  </a:cxn>
                  <a:cxn ang="0">
                    <a:pos x="45" y="4948"/>
                  </a:cxn>
                  <a:cxn ang="0">
                    <a:pos x="161" y="4321"/>
                  </a:cxn>
                  <a:cxn ang="0">
                    <a:pos x="344" y="3720"/>
                  </a:cxn>
                  <a:cxn ang="0">
                    <a:pos x="589" y="3150"/>
                  </a:cxn>
                  <a:cxn ang="0">
                    <a:pos x="893" y="2614"/>
                  </a:cxn>
                  <a:cxn ang="0">
                    <a:pos x="1251" y="2116"/>
                  </a:cxn>
                  <a:cxn ang="0">
                    <a:pos x="1660" y="1661"/>
                  </a:cxn>
                  <a:cxn ang="0">
                    <a:pos x="2116" y="1252"/>
                  </a:cxn>
                  <a:cxn ang="0">
                    <a:pos x="2613" y="893"/>
                  </a:cxn>
                  <a:cxn ang="0">
                    <a:pos x="3150" y="589"/>
                  </a:cxn>
                  <a:cxn ang="0">
                    <a:pos x="3720" y="344"/>
                  </a:cxn>
                  <a:cxn ang="0">
                    <a:pos x="4320" y="162"/>
                  </a:cxn>
                  <a:cxn ang="0">
                    <a:pos x="4947" y="46"/>
                  </a:cxn>
                  <a:cxn ang="0">
                    <a:pos x="5596" y="1"/>
                  </a:cxn>
                  <a:cxn ang="0">
                    <a:pos x="6178" y="23"/>
                  </a:cxn>
                  <a:cxn ang="0">
                    <a:pos x="6813" y="115"/>
                  </a:cxn>
                  <a:cxn ang="0">
                    <a:pos x="7423" y="276"/>
                  </a:cxn>
                  <a:cxn ang="0">
                    <a:pos x="8003" y="501"/>
                  </a:cxn>
                  <a:cxn ang="0">
                    <a:pos x="8551" y="786"/>
                  </a:cxn>
                  <a:cxn ang="0">
                    <a:pos x="9062" y="1126"/>
                  </a:cxn>
                  <a:cxn ang="0">
                    <a:pos x="9532" y="1519"/>
                  </a:cxn>
                  <a:cxn ang="0">
                    <a:pos x="9957" y="1959"/>
                  </a:cxn>
                  <a:cxn ang="0">
                    <a:pos x="10333" y="2443"/>
                  </a:cxn>
                  <a:cxn ang="0">
                    <a:pos x="10655" y="2967"/>
                  </a:cxn>
                  <a:cxn ang="0">
                    <a:pos x="10921" y="3527"/>
                  </a:cxn>
                  <a:cxn ang="0">
                    <a:pos x="11124" y="4118"/>
                  </a:cxn>
                  <a:cxn ang="0">
                    <a:pos x="11263" y="4736"/>
                  </a:cxn>
                  <a:cxn ang="0">
                    <a:pos x="11332" y="5378"/>
                  </a:cxn>
                </a:cxnLst>
                <a:rect l="0" t="0" r="r" b="b"/>
                <a:pathLst>
                  <a:path w="11340" h="11340">
                    <a:moveTo>
                      <a:pt x="11340" y="5671"/>
                    </a:moveTo>
                    <a:lnTo>
                      <a:pt x="11340" y="5671"/>
                    </a:lnTo>
                    <a:lnTo>
                      <a:pt x="11339" y="5744"/>
                    </a:lnTo>
                    <a:lnTo>
                      <a:pt x="11338" y="5817"/>
                    </a:lnTo>
                    <a:lnTo>
                      <a:pt x="11335" y="5890"/>
                    </a:lnTo>
                    <a:lnTo>
                      <a:pt x="11332" y="5962"/>
                    </a:lnTo>
                    <a:lnTo>
                      <a:pt x="11328" y="6035"/>
                    </a:lnTo>
                    <a:lnTo>
                      <a:pt x="11323" y="6107"/>
                    </a:lnTo>
                    <a:lnTo>
                      <a:pt x="11317" y="6179"/>
                    </a:lnTo>
                    <a:lnTo>
                      <a:pt x="11310" y="6250"/>
                    </a:lnTo>
                    <a:lnTo>
                      <a:pt x="11303" y="6322"/>
                    </a:lnTo>
                    <a:lnTo>
                      <a:pt x="11294" y="6393"/>
                    </a:lnTo>
                    <a:lnTo>
                      <a:pt x="11285" y="6464"/>
                    </a:lnTo>
                    <a:lnTo>
                      <a:pt x="11274" y="6534"/>
                    </a:lnTo>
                    <a:lnTo>
                      <a:pt x="11263" y="6604"/>
                    </a:lnTo>
                    <a:lnTo>
                      <a:pt x="11251" y="6674"/>
                    </a:lnTo>
                    <a:lnTo>
                      <a:pt x="11238" y="6744"/>
                    </a:lnTo>
                    <a:lnTo>
                      <a:pt x="11224" y="6813"/>
                    </a:lnTo>
                    <a:lnTo>
                      <a:pt x="11210" y="6882"/>
                    </a:lnTo>
                    <a:lnTo>
                      <a:pt x="11194" y="6951"/>
                    </a:lnTo>
                    <a:lnTo>
                      <a:pt x="11178" y="7019"/>
                    </a:lnTo>
                    <a:lnTo>
                      <a:pt x="11161" y="7088"/>
                    </a:lnTo>
                    <a:lnTo>
                      <a:pt x="11143" y="7155"/>
                    </a:lnTo>
                    <a:lnTo>
                      <a:pt x="11124" y="7223"/>
                    </a:lnTo>
                    <a:lnTo>
                      <a:pt x="11105" y="7290"/>
                    </a:lnTo>
                    <a:lnTo>
                      <a:pt x="11085" y="7357"/>
                    </a:lnTo>
                    <a:lnTo>
                      <a:pt x="11064" y="7423"/>
                    </a:lnTo>
                    <a:lnTo>
                      <a:pt x="11042" y="7489"/>
                    </a:lnTo>
                    <a:lnTo>
                      <a:pt x="11019" y="7555"/>
                    </a:lnTo>
                    <a:lnTo>
                      <a:pt x="10996" y="7620"/>
                    </a:lnTo>
                    <a:lnTo>
                      <a:pt x="10971" y="7685"/>
                    </a:lnTo>
                    <a:lnTo>
                      <a:pt x="10946" y="7749"/>
                    </a:lnTo>
                    <a:lnTo>
                      <a:pt x="10921" y="7814"/>
                    </a:lnTo>
                    <a:lnTo>
                      <a:pt x="10894" y="7877"/>
                    </a:lnTo>
                    <a:lnTo>
                      <a:pt x="10867" y="7941"/>
                    </a:lnTo>
                    <a:lnTo>
                      <a:pt x="10839" y="8004"/>
                    </a:lnTo>
                    <a:lnTo>
                      <a:pt x="10810" y="8066"/>
                    </a:lnTo>
                    <a:lnTo>
                      <a:pt x="10780" y="8129"/>
                    </a:lnTo>
                    <a:lnTo>
                      <a:pt x="10750" y="8190"/>
                    </a:lnTo>
                    <a:lnTo>
                      <a:pt x="10719" y="8252"/>
                    </a:lnTo>
                    <a:lnTo>
                      <a:pt x="10688" y="8313"/>
                    </a:lnTo>
                    <a:lnTo>
                      <a:pt x="10655" y="8373"/>
                    </a:lnTo>
                    <a:lnTo>
                      <a:pt x="10622" y="8433"/>
                    </a:lnTo>
                    <a:lnTo>
                      <a:pt x="10588" y="8493"/>
                    </a:lnTo>
                    <a:lnTo>
                      <a:pt x="10554" y="8552"/>
                    </a:lnTo>
                    <a:lnTo>
                      <a:pt x="10519" y="8610"/>
                    </a:lnTo>
                    <a:lnTo>
                      <a:pt x="10483" y="8669"/>
                    </a:lnTo>
                    <a:lnTo>
                      <a:pt x="10446" y="8726"/>
                    </a:lnTo>
                    <a:lnTo>
                      <a:pt x="10409" y="8784"/>
                    </a:lnTo>
                    <a:lnTo>
                      <a:pt x="10371" y="8840"/>
                    </a:lnTo>
                    <a:lnTo>
                      <a:pt x="10333" y="8897"/>
                    </a:lnTo>
                    <a:lnTo>
                      <a:pt x="10294" y="8953"/>
                    </a:lnTo>
                    <a:lnTo>
                      <a:pt x="10254" y="9008"/>
                    </a:lnTo>
                    <a:lnTo>
                      <a:pt x="10213" y="9063"/>
                    </a:lnTo>
                    <a:lnTo>
                      <a:pt x="10172" y="9117"/>
                    </a:lnTo>
                    <a:lnTo>
                      <a:pt x="10130" y="9171"/>
                    </a:lnTo>
                    <a:lnTo>
                      <a:pt x="10088" y="9224"/>
                    </a:lnTo>
                    <a:lnTo>
                      <a:pt x="10045" y="9277"/>
                    </a:lnTo>
                    <a:lnTo>
                      <a:pt x="10001" y="9329"/>
                    </a:lnTo>
                    <a:lnTo>
                      <a:pt x="9957" y="9381"/>
                    </a:lnTo>
                    <a:lnTo>
                      <a:pt x="9912" y="9432"/>
                    </a:lnTo>
                    <a:lnTo>
                      <a:pt x="9867" y="9483"/>
                    </a:lnTo>
                    <a:lnTo>
                      <a:pt x="9821" y="9533"/>
                    </a:lnTo>
                    <a:lnTo>
                      <a:pt x="9774" y="9582"/>
                    </a:lnTo>
                    <a:lnTo>
                      <a:pt x="9727" y="9631"/>
                    </a:lnTo>
                    <a:lnTo>
                      <a:pt x="9679" y="9680"/>
                    </a:lnTo>
                    <a:lnTo>
                      <a:pt x="9631" y="9727"/>
                    </a:lnTo>
                    <a:lnTo>
                      <a:pt x="9582" y="9775"/>
                    </a:lnTo>
                    <a:lnTo>
                      <a:pt x="9532" y="9821"/>
                    </a:lnTo>
                    <a:lnTo>
                      <a:pt x="9482" y="9867"/>
                    </a:lnTo>
                    <a:lnTo>
                      <a:pt x="9432" y="9913"/>
                    </a:lnTo>
                    <a:lnTo>
                      <a:pt x="9380" y="9958"/>
                    </a:lnTo>
                    <a:lnTo>
                      <a:pt x="9329" y="10002"/>
                    </a:lnTo>
                    <a:lnTo>
                      <a:pt x="9277" y="10046"/>
                    </a:lnTo>
                    <a:lnTo>
                      <a:pt x="9224" y="10089"/>
                    </a:lnTo>
                    <a:lnTo>
                      <a:pt x="9170" y="10131"/>
                    </a:lnTo>
                    <a:lnTo>
                      <a:pt x="9117" y="10173"/>
                    </a:lnTo>
                    <a:lnTo>
                      <a:pt x="9062" y="10214"/>
                    </a:lnTo>
                    <a:lnTo>
                      <a:pt x="9008" y="10254"/>
                    </a:lnTo>
                    <a:lnTo>
                      <a:pt x="8952" y="10294"/>
                    </a:lnTo>
                    <a:lnTo>
                      <a:pt x="8896" y="10333"/>
                    </a:lnTo>
                    <a:lnTo>
                      <a:pt x="8840" y="10372"/>
                    </a:lnTo>
                    <a:lnTo>
                      <a:pt x="8783" y="10410"/>
                    </a:lnTo>
                    <a:lnTo>
                      <a:pt x="8726" y="10447"/>
                    </a:lnTo>
                    <a:lnTo>
                      <a:pt x="8668" y="10484"/>
                    </a:lnTo>
                    <a:lnTo>
                      <a:pt x="8610" y="10519"/>
                    </a:lnTo>
                    <a:lnTo>
                      <a:pt x="8551" y="10555"/>
                    </a:lnTo>
                    <a:lnTo>
                      <a:pt x="8492" y="10589"/>
                    </a:lnTo>
                    <a:lnTo>
                      <a:pt x="8433" y="10623"/>
                    </a:lnTo>
                    <a:lnTo>
                      <a:pt x="8373" y="10656"/>
                    </a:lnTo>
                    <a:lnTo>
                      <a:pt x="8312" y="10688"/>
                    </a:lnTo>
                    <a:lnTo>
                      <a:pt x="8251" y="10720"/>
                    </a:lnTo>
                    <a:lnTo>
                      <a:pt x="8190" y="10751"/>
                    </a:lnTo>
                    <a:lnTo>
                      <a:pt x="8128" y="10781"/>
                    </a:lnTo>
                    <a:lnTo>
                      <a:pt x="8066" y="10811"/>
                    </a:lnTo>
                    <a:lnTo>
                      <a:pt x="8003" y="10839"/>
                    </a:lnTo>
                    <a:lnTo>
                      <a:pt x="7940" y="10867"/>
                    </a:lnTo>
                    <a:lnTo>
                      <a:pt x="7877" y="10895"/>
                    </a:lnTo>
                    <a:lnTo>
                      <a:pt x="7813" y="10921"/>
                    </a:lnTo>
                    <a:lnTo>
                      <a:pt x="7749" y="10947"/>
                    </a:lnTo>
                    <a:lnTo>
                      <a:pt x="7685" y="10972"/>
                    </a:lnTo>
                    <a:lnTo>
                      <a:pt x="7620" y="10996"/>
                    </a:lnTo>
                    <a:lnTo>
                      <a:pt x="7554" y="11020"/>
                    </a:lnTo>
                    <a:lnTo>
                      <a:pt x="7489" y="11042"/>
                    </a:lnTo>
                    <a:lnTo>
                      <a:pt x="7423" y="11064"/>
                    </a:lnTo>
                    <a:lnTo>
                      <a:pt x="7356" y="11085"/>
                    </a:lnTo>
                    <a:lnTo>
                      <a:pt x="7289" y="11106"/>
                    </a:lnTo>
                    <a:lnTo>
                      <a:pt x="7222" y="11125"/>
                    </a:lnTo>
                    <a:lnTo>
                      <a:pt x="7155" y="11144"/>
                    </a:lnTo>
                    <a:lnTo>
                      <a:pt x="7087" y="11162"/>
                    </a:lnTo>
                    <a:lnTo>
                      <a:pt x="7019" y="11179"/>
                    </a:lnTo>
                    <a:lnTo>
                      <a:pt x="6951" y="11195"/>
                    </a:lnTo>
                    <a:lnTo>
                      <a:pt x="6882" y="11210"/>
                    </a:lnTo>
                    <a:lnTo>
                      <a:pt x="6813" y="11225"/>
                    </a:lnTo>
                    <a:lnTo>
                      <a:pt x="6744" y="11239"/>
                    </a:lnTo>
                    <a:lnTo>
                      <a:pt x="6674" y="11252"/>
                    </a:lnTo>
                    <a:lnTo>
                      <a:pt x="6604" y="11264"/>
                    </a:lnTo>
                    <a:lnTo>
                      <a:pt x="6534" y="11275"/>
                    </a:lnTo>
                    <a:lnTo>
                      <a:pt x="6463" y="11285"/>
                    </a:lnTo>
                    <a:lnTo>
                      <a:pt x="6392" y="11295"/>
                    </a:lnTo>
                    <a:lnTo>
                      <a:pt x="6321" y="11303"/>
                    </a:lnTo>
                    <a:lnTo>
                      <a:pt x="6250" y="11311"/>
                    </a:lnTo>
                    <a:lnTo>
                      <a:pt x="6178" y="11318"/>
                    </a:lnTo>
                    <a:lnTo>
                      <a:pt x="6107" y="11324"/>
                    </a:lnTo>
                    <a:lnTo>
                      <a:pt x="6034" y="11329"/>
                    </a:lnTo>
                    <a:lnTo>
                      <a:pt x="5962" y="11333"/>
                    </a:lnTo>
                    <a:lnTo>
                      <a:pt x="5890" y="11336"/>
                    </a:lnTo>
                    <a:lnTo>
                      <a:pt x="5817" y="11338"/>
                    </a:lnTo>
                    <a:lnTo>
                      <a:pt x="5744" y="11340"/>
                    </a:lnTo>
                    <a:lnTo>
                      <a:pt x="5669" y="11340"/>
                    </a:lnTo>
                    <a:lnTo>
                      <a:pt x="5669" y="11340"/>
                    </a:lnTo>
                    <a:lnTo>
                      <a:pt x="5596" y="11340"/>
                    </a:lnTo>
                    <a:lnTo>
                      <a:pt x="5523" y="11338"/>
                    </a:lnTo>
                    <a:lnTo>
                      <a:pt x="5450" y="11336"/>
                    </a:lnTo>
                    <a:lnTo>
                      <a:pt x="5378" y="11333"/>
                    </a:lnTo>
                    <a:lnTo>
                      <a:pt x="5305" y="11329"/>
                    </a:lnTo>
                    <a:lnTo>
                      <a:pt x="5233" y="11324"/>
                    </a:lnTo>
                    <a:lnTo>
                      <a:pt x="5161" y="11318"/>
                    </a:lnTo>
                    <a:lnTo>
                      <a:pt x="5090" y="11311"/>
                    </a:lnTo>
                    <a:lnTo>
                      <a:pt x="5018" y="11303"/>
                    </a:lnTo>
                    <a:lnTo>
                      <a:pt x="4947" y="11295"/>
                    </a:lnTo>
                    <a:lnTo>
                      <a:pt x="4876" y="11285"/>
                    </a:lnTo>
                    <a:lnTo>
                      <a:pt x="4806" y="11275"/>
                    </a:lnTo>
                    <a:lnTo>
                      <a:pt x="4736" y="11264"/>
                    </a:lnTo>
                    <a:lnTo>
                      <a:pt x="4666" y="11252"/>
                    </a:lnTo>
                    <a:lnTo>
                      <a:pt x="4596" y="11239"/>
                    </a:lnTo>
                    <a:lnTo>
                      <a:pt x="4527" y="11225"/>
                    </a:lnTo>
                    <a:lnTo>
                      <a:pt x="4458" y="11210"/>
                    </a:lnTo>
                    <a:lnTo>
                      <a:pt x="4389" y="11195"/>
                    </a:lnTo>
                    <a:lnTo>
                      <a:pt x="4320" y="11179"/>
                    </a:lnTo>
                    <a:lnTo>
                      <a:pt x="4252" y="11162"/>
                    </a:lnTo>
                    <a:lnTo>
                      <a:pt x="4185" y="11144"/>
                    </a:lnTo>
                    <a:lnTo>
                      <a:pt x="4117" y="11125"/>
                    </a:lnTo>
                    <a:lnTo>
                      <a:pt x="4050" y="11106"/>
                    </a:lnTo>
                    <a:lnTo>
                      <a:pt x="3983" y="11085"/>
                    </a:lnTo>
                    <a:lnTo>
                      <a:pt x="3917" y="11064"/>
                    </a:lnTo>
                    <a:lnTo>
                      <a:pt x="3851" y="11042"/>
                    </a:lnTo>
                    <a:lnTo>
                      <a:pt x="3785" y="11020"/>
                    </a:lnTo>
                    <a:lnTo>
                      <a:pt x="3720" y="10996"/>
                    </a:lnTo>
                    <a:lnTo>
                      <a:pt x="3655" y="10972"/>
                    </a:lnTo>
                    <a:lnTo>
                      <a:pt x="3590" y="10947"/>
                    </a:lnTo>
                    <a:lnTo>
                      <a:pt x="3526" y="10921"/>
                    </a:lnTo>
                    <a:lnTo>
                      <a:pt x="3462" y="10895"/>
                    </a:lnTo>
                    <a:lnTo>
                      <a:pt x="3399" y="10867"/>
                    </a:lnTo>
                    <a:lnTo>
                      <a:pt x="3336" y="10839"/>
                    </a:lnTo>
                    <a:lnTo>
                      <a:pt x="3273" y="10811"/>
                    </a:lnTo>
                    <a:lnTo>
                      <a:pt x="3211" y="10781"/>
                    </a:lnTo>
                    <a:lnTo>
                      <a:pt x="3150" y="10751"/>
                    </a:lnTo>
                    <a:lnTo>
                      <a:pt x="3088" y="10720"/>
                    </a:lnTo>
                    <a:lnTo>
                      <a:pt x="3027" y="10688"/>
                    </a:lnTo>
                    <a:lnTo>
                      <a:pt x="2967" y="10656"/>
                    </a:lnTo>
                    <a:lnTo>
                      <a:pt x="2907" y="10623"/>
                    </a:lnTo>
                    <a:lnTo>
                      <a:pt x="2847" y="10589"/>
                    </a:lnTo>
                    <a:lnTo>
                      <a:pt x="2788" y="10555"/>
                    </a:lnTo>
                    <a:lnTo>
                      <a:pt x="2729" y="10519"/>
                    </a:lnTo>
                    <a:lnTo>
                      <a:pt x="2671" y="10484"/>
                    </a:lnTo>
                    <a:lnTo>
                      <a:pt x="2613" y="10447"/>
                    </a:lnTo>
                    <a:lnTo>
                      <a:pt x="2556" y="10410"/>
                    </a:lnTo>
                    <a:lnTo>
                      <a:pt x="2499" y="10372"/>
                    </a:lnTo>
                    <a:lnTo>
                      <a:pt x="2443" y="10333"/>
                    </a:lnTo>
                    <a:lnTo>
                      <a:pt x="2387" y="10294"/>
                    </a:lnTo>
                    <a:lnTo>
                      <a:pt x="2332" y="10254"/>
                    </a:lnTo>
                    <a:lnTo>
                      <a:pt x="2277" y="10214"/>
                    </a:lnTo>
                    <a:lnTo>
                      <a:pt x="2223" y="10173"/>
                    </a:lnTo>
                    <a:lnTo>
                      <a:pt x="2169" y="10131"/>
                    </a:lnTo>
                    <a:lnTo>
                      <a:pt x="2116" y="10089"/>
                    </a:lnTo>
                    <a:lnTo>
                      <a:pt x="2063" y="10046"/>
                    </a:lnTo>
                    <a:lnTo>
                      <a:pt x="2011" y="10002"/>
                    </a:lnTo>
                    <a:lnTo>
                      <a:pt x="1959" y="9958"/>
                    </a:lnTo>
                    <a:lnTo>
                      <a:pt x="1908" y="9913"/>
                    </a:lnTo>
                    <a:lnTo>
                      <a:pt x="1857" y="9867"/>
                    </a:lnTo>
                    <a:lnTo>
                      <a:pt x="1807" y="9821"/>
                    </a:lnTo>
                    <a:lnTo>
                      <a:pt x="1758" y="9775"/>
                    </a:lnTo>
                    <a:lnTo>
                      <a:pt x="1709" y="9727"/>
                    </a:lnTo>
                    <a:lnTo>
                      <a:pt x="1660" y="9680"/>
                    </a:lnTo>
                    <a:lnTo>
                      <a:pt x="1613" y="9631"/>
                    </a:lnTo>
                    <a:lnTo>
                      <a:pt x="1565" y="9582"/>
                    </a:lnTo>
                    <a:lnTo>
                      <a:pt x="1519" y="9533"/>
                    </a:lnTo>
                    <a:lnTo>
                      <a:pt x="1473" y="9483"/>
                    </a:lnTo>
                    <a:lnTo>
                      <a:pt x="1427" y="9432"/>
                    </a:lnTo>
                    <a:lnTo>
                      <a:pt x="1382" y="9381"/>
                    </a:lnTo>
                    <a:lnTo>
                      <a:pt x="1338" y="9329"/>
                    </a:lnTo>
                    <a:lnTo>
                      <a:pt x="1294" y="9277"/>
                    </a:lnTo>
                    <a:lnTo>
                      <a:pt x="1251" y="9224"/>
                    </a:lnTo>
                    <a:lnTo>
                      <a:pt x="1209" y="9171"/>
                    </a:lnTo>
                    <a:lnTo>
                      <a:pt x="1167" y="9117"/>
                    </a:lnTo>
                    <a:lnTo>
                      <a:pt x="1126" y="9063"/>
                    </a:lnTo>
                    <a:lnTo>
                      <a:pt x="1086" y="9008"/>
                    </a:lnTo>
                    <a:lnTo>
                      <a:pt x="1046" y="8953"/>
                    </a:lnTo>
                    <a:lnTo>
                      <a:pt x="1007" y="8897"/>
                    </a:lnTo>
                    <a:lnTo>
                      <a:pt x="968" y="8840"/>
                    </a:lnTo>
                    <a:lnTo>
                      <a:pt x="930" y="8784"/>
                    </a:lnTo>
                    <a:lnTo>
                      <a:pt x="893" y="8726"/>
                    </a:lnTo>
                    <a:lnTo>
                      <a:pt x="856" y="8669"/>
                    </a:lnTo>
                    <a:lnTo>
                      <a:pt x="821" y="8610"/>
                    </a:lnTo>
                    <a:lnTo>
                      <a:pt x="785" y="8552"/>
                    </a:lnTo>
                    <a:lnTo>
                      <a:pt x="751" y="8493"/>
                    </a:lnTo>
                    <a:lnTo>
                      <a:pt x="717" y="8433"/>
                    </a:lnTo>
                    <a:lnTo>
                      <a:pt x="684" y="8373"/>
                    </a:lnTo>
                    <a:lnTo>
                      <a:pt x="652" y="8313"/>
                    </a:lnTo>
                    <a:lnTo>
                      <a:pt x="620" y="8252"/>
                    </a:lnTo>
                    <a:lnTo>
                      <a:pt x="589" y="8190"/>
                    </a:lnTo>
                    <a:lnTo>
                      <a:pt x="559" y="8129"/>
                    </a:lnTo>
                    <a:lnTo>
                      <a:pt x="529" y="8066"/>
                    </a:lnTo>
                    <a:lnTo>
                      <a:pt x="501" y="8004"/>
                    </a:lnTo>
                    <a:lnTo>
                      <a:pt x="473" y="7941"/>
                    </a:lnTo>
                    <a:lnTo>
                      <a:pt x="445" y="7877"/>
                    </a:lnTo>
                    <a:lnTo>
                      <a:pt x="419" y="7814"/>
                    </a:lnTo>
                    <a:lnTo>
                      <a:pt x="393" y="7749"/>
                    </a:lnTo>
                    <a:lnTo>
                      <a:pt x="368" y="7685"/>
                    </a:lnTo>
                    <a:lnTo>
                      <a:pt x="344" y="7620"/>
                    </a:lnTo>
                    <a:lnTo>
                      <a:pt x="320" y="7555"/>
                    </a:lnTo>
                    <a:lnTo>
                      <a:pt x="298" y="7489"/>
                    </a:lnTo>
                    <a:lnTo>
                      <a:pt x="276" y="7423"/>
                    </a:lnTo>
                    <a:lnTo>
                      <a:pt x="255" y="7357"/>
                    </a:lnTo>
                    <a:lnTo>
                      <a:pt x="234" y="7290"/>
                    </a:lnTo>
                    <a:lnTo>
                      <a:pt x="215" y="7223"/>
                    </a:lnTo>
                    <a:lnTo>
                      <a:pt x="196" y="7155"/>
                    </a:lnTo>
                    <a:lnTo>
                      <a:pt x="178" y="7088"/>
                    </a:lnTo>
                    <a:lnTo>
                      <a:pt x="161" y="7019"/>
                    </a:lnTo>
                    <a:lnTo>
                      <a:pt x="145" y="6951"/>
                    </a:lnTo>
                    <a:lnTo>
                      <a:pt x="130" y="6882"/>
                    </a:lnTo>
                    <a:lnTo>
                      <a:pt x="115" y="6813"/>
                    </a:lnTo>
                    <a:lnTo>
                      <a:pt x="101" y="6744"/>
                    </a:lnTo>
                    <a:lnTo>
                      <a:pt x="88" y="6674"/>
                    </a:lnTo>
                    <a:lnTo>
                      <a:pt x="76" y="6604"/>
                    </a:lnTo>
                    <a:lnTo>
                      <a:pt x="65" y="6534"/>
                    </a:lnTo>
                    <a:lnTo>
                      <a:pt x="55" y="6464"/>
                    </a:lnTo>
                    <a:lnTo>
                      <a:pt x="45" y="6393"/>
                    </a:lnTo>
                    <a:lnTo>
                      <a:pt x="37" y="6322"/>
                    </a:lnTo>
                    <a:lnTo>
                      <a:pt x="29" y="6250"/>
                    </a:lnTo>
                    <a:lnTo>
                      <a:pt x="22" y="6179"/>
                    </a:lnTo>
                    <a:lnTo>
                      <a:pt x="16" y="6107"/>
                    </a:lnTo>
                    <a:lnTo>
                      <a:pt x="11" y="6035"/>
                    </a:lnTo>
                    <a:lnTo>
                      <a:pt x="7" y="5962"/>
                    </a:lnTo>
                    <a:lnTo>
                      <a:pt x="4" y="5890"/>
                    </a:lnTo>
                    <a:lnTo>
                      <a:pt x="2" y="5817"/>
                    </a:lnTo>
                    <a:lnTo>
                      <a:pt x="0" y="5744"/>
                    </a:lnTo>
                    <a:lnTo>
                      <a:pt x="0" y="5671"/>
                    </a:lnTo>
                    <a:lnTo>
                      <a:pt x="0" y="5671"/>
                    </a:lnTo>
                    <a:lnTo>
                      <a:pt x="0" y="5596"/>
                    </a:lnTo>
                    <a:lnTo>
                      <a:pt x="2" y="5523"/>
                    </a:lnTo>
                    <a:lnTo>
                      <a:pt x="4" y="5451"/>
                    </a:lnTo>
                    <a:lnTo>
                      <a:pt x="7" y="5378"/>
                    </a:lnTo>
                    <a:lnTo>
                      <a:pt x="11" y="5306"/>
                    </a:lnTo>
                    <a:lnTo>
                      <a:pt x="16" y="5233"/>
                    </a:lnTo>
                    <a:lnTo>
                      <a:pt x="22" y="5162"/>
                    </a:lnTo>
                    <a:lnTo>
                      <a:pt x="29" y="5090"/>
                    </a:lnTo>
                    <a:lnTo>
                      <a:pt x="37" y="5019"/>
                    </a:lnTo>
                    <a:lnTo>
                      <a:pt x="45" y="4948"/>
                    </a:lnTo>
                    <a:lnTo>
                      <a:pt x="55" y="4877"/>
                    </a:lnTo>
                    <a:lnTo>
                      <a:pt x="65" y="4806"/>
                    </a:lnTo>
                    <a:lnTo>
                      <a:pt x="76" y="4736"/>
                    </a:lnTo>
                    <a:lnTo>
                      <a:pt x="88" y="4666"/>
                    </a:lnTo>
                    <a:lnTo>
                      <a:pt x="101" y="4596"/>
                    </a:lnTo>
                    <a:lnTo>
                      <a:pt x="115" y="4527"/>
                    </a:lnTo>
                    <a:lnTo>
                      <a:pt x="130" y="4458"/>
                    </a:lnTo>
                    <a:lnTo>
                      <a:pt x="145" y="4389"/>
                    </a:lnTo>
                    <a:lnTo>
                      <a:pt x="161" y="4321"/>
                    </a:lnTo>
                    <a:lnTo>
                      <a:pt x="178" y="4253"/>
                    </a:lnTo>
                    <a:lnTo>
                      <a:pt x="196" y="4185"/>
                    </a:lnTo>
                    <a:lnTo>
                      <a:pt x="215" y="4118"/>
                    </a:lnTo>
                    <a:lnTo>
                      <a:pt x="234" y="4050"/>
                    </a:lnTo>
                    <a:lnTo>
                      <a:pt x="255" y="3984"/>
                    </a:lnTo>
                    <a:lnTo>
                      <a:pt x="276" y="3917"/>
                    </a:lnTo>
                    <a:lnTo>
                      <a:pt x="298" y="3851"/>
                    </a:lnTo>
                    <a:lnTo>
                      <a:pt x="320" y="3786"/>
                    </a:lnTo>
                    <a:lnTo>
                      <a:pt x="344" y="3720"/>
                    </a:lnTo>
                    <a:lnTo>
                      <a:pt x="368" y="3655"/>
                    </a:lnTo>
                    <a:lnTo>
                      <a:pt x="393" y="3591"/>
                    </a:lnTo>
                    <a:lnTo>
                      <a:pt x="419" y="3527"/>
                    </a:lnTo>
                    <a:lnTo>
                      <a:pt x="445" y="3463"/>
                    </a:lnTo>
                    <a:lnTo>
                      <a:pt x="473" y="3399"/>
                    </a:lnTo>
                    <a:lnTo>
                      <a:pt x="501" y="3336"/>
                    </a:lnTo>
                    <a:lnTo>
                      <a:pt x="529" y="3274"/>
                    </a:lnTo>
                    <a:lnTo>
                      <a:pt x="559" y="3212"/>
                    </a:lnTo>
                    <a:lnTo>
                      <a:pt x="589" y="3150"/>
                    </a:lnTo>
                    <a:lnTo>
                      <a:pt x="620" y="3089"/>
                    </a:lnTo>
                    <a:lnTo>
                      <a:pt x="652" y="3028"/>
                    </a:lnTo>
                    <a:lnTo>
                      <a:pt x="684" y="2967"/>
                    </a:lnTo>
                    <a:lnTo>
                      <a:pt x="717" y="2907"/>
                    </a:lnTo>
                    <a:lnTo>
                      <a:pt x="751" y="2848"/>
                    </a:lnTo>
                    <a:lnTo>
                      <a:pt x="785" y="2788"/>
                    </a:lnTo>
                    <a:lnTo>
                      <a:pt x="821" y="2730"/>
                    </a:lnTo>
                    <a:lnTo>
                      <a:pt x="856" y="2672"/>
                    </a:lnTo>
                    <a:lnTo>
                      <a:pt x="893" y="2614"/>
                    </a:lnTo>
                    <a:lnTo>
                      <a:pt x="930" y="2557"/>
                    </a:lnTo>
                    <a:lnTo>
                      <a:pt x="968" y="2500"/>
                    </a:lnTo>
                    <a:lnTo>
                      <a:pt x="1007" y="2443"/>
                    </a:lnTo>
                    <a:lnTo>
                      <a:pt x="1046" y="2388"/>
                    </a:lnTo>
                    <a:lnTo>
                      <a:pt x="1086" y="2332"/>
                    </a:lnTo>
                    <a:lnTo>
                      <a:pt x="1126" y="2277"/>
                    </a:lnTo>
                    <a:lnTo>
                      <a:pt x="1167" y="2223"/>
                    </a:lnTo>
                    <a:lnTo>
                      <a:pt x="1209" y="2169"/>
                    </a:lnTo>
                    <a:lnTo>
                      <a:pt x="1251" y="2116"/>
                    </a:lnTo>
                    <a:lnTo>
                      <a:pt x="1294" y="2063"/>
                    </a:lnTo>
                    <a:lnTo>
                      <a:pt x="1338" y="2011"/>
                    </a:lnTo>
                    <a:lnTo>
                      <a:pt x="1382" y="1959"/>
                    </a:lnTo>
                    <a:lnTo>
                      <a:pt x="1427" y="1908"/>
                    </a:lnTo>
                    <a:lnTo>
                      <a:pt x="1473" y="1858"/>
                    </a:lnTo>
                    <a:lnTo>
                      <a:pt x="1519" y="1807"/>
                    </a:lnTo>
                    <a:lnTo>
                      <a:pt x="1565" y="1758"/>
                    </a:lnTo>
                    <a:lnTo>
                      <a:pt x="1613" y="1709"/>
                    </a:lnTo>
                    <a:lnTo>
                      <a:pt x="1660" y="1661"/>
                    </a:lnTo>
                    <a:lnTo>
                      <a:pt x="1709" y="1613"/>
                    </a:lnTo>
                    <a:lnTo>
                      <a:pt x="1758" y="1566"/>
                    </a:lnTo>
                    <a:lnTo>
                      <a:pt x="1807" y="1519"/>
                    </a:lnTo>
                    <a:lnTo>
                      <a:pt x="1857" y="1473"/>
                    </a:lnTo>
                    <a:lnTo>
                      <a:pt x="1908" y="1427"/>
                    </a:lnTo>
                    <a:lnTo>
                      <a:pt x="1959" y="1383"/>
                    </a:lnTo>
                    <a:lnTo>
                      <a:pt x="2011" y="1338"/>
                    </a:lnTo>
                    <a:lnTo>
                      <a:pt x="2063" y="1295"/>
                    </a:lnTo>
                    <a:lnTo>
                      <a:pt x="2116" y="1252"/>
                    </a:lnTo>
                    <a:lnTo>
                      <a:pt x="2169" y="1209"/>
                    </a:lnTo>
                    <a:lnTo>
                      <a:pt x="2223" y="1168"/>
                    </a:lnTo>
                    <a:lnTo>
                      <a:pt x="2277" y="1126"/>
                    </a:lnTo>
                    <a:lnTo>
                      <a:pt x="2332" y="1086"/>
                    </a:lnTo>
                    <a:lnTo>
                      <a:pt x="2387" y="1046"/>
                    </a:lnTo>
                    <a:lnTo>
                      <a:pt x="2443" y="1007"/>
                    </a:lnTo>
                    <a:lnTo>
                      <a:pt x="2499" y="968"/>
                    </a:lnTo>
                    <a:lnTo>
                      <a:pt x="2556" y="930"/>
                    </a:lnTo>
                    <a:lnTo>
                      <a:pt x="2613" y="893"/>
                    </a:lnTo>
                    <a:lnTo>
                      <a:pt x="2671" y="857"/>
                    </a:lnTo>
                    <a:lnTo>
                      <a:pt x="2729" y="821"/>
                    </a:lnTo>
                    <a:lnTo>
                      <a:pt x="2788" y="786"/>
                    </a:lnTo>
                    <a:lnTo>
                      <a:pt x="2847" y="751"/>
                    </a:lnTo>
                    <a:lnTo>
                      <a:pt x="2907" y="717"/>
                    </a:lnTo>
                    <a:lnTo>
                      <a:pt x="2967" y="684"/>
                    </a:lnTo>
                    <a:lnTo>
                      <a:pt x="3027" y="652"/>
                    </a:lnTo>
                    <a:lnTo>
                      <a:pt x="3088" y="620"/>
                    </a:lnTo>
                    <a:lnTo>
                      <a:pt x="3150" y="589"/>
                    </a:lnTo>
                    <a:lnTo>
                      <a:pt x="3211" y="559"/>
                    </a:lnTo>
                    <a:lnTo>
                      <a:pt x="3273" y="530"/>
                    </a:lnTo>
                    <a:lnTo>
                      <a:pt x="3336" y="501"/>
                    </a:lnTo>
                    <a:lnTo>
                      <a:pt x="3399" y="473"/>
                    </a:lnTo>
                    <a:lnTo>
                      <a:pt x="3462" y="446"/>
                    </a:lnTo>
                    <a:lnTo>
                      <a:pt x="3526" y="419"/>
                    </a:lnTo>
                    <a:lnTo>
                      <a:pt x="3590" y="393"/>
                    </a:lnTo>
                    <a:lnTo>
                      <a:pt x="3655" y="368"/>
                    </a:lnTo>
                    <a:lnTo>
                      <a:pt x="3720" y="344"/>
                    </a:lnTo>
                    <a:lnTo>
                      <a:pt x="3785" y="321"/>
                    </a:lnTo>
                    <a:lnTo>
                      <a:pt x="3851" y="298"/>
                    </a:lnTo>
                    <a:lnTo>
                      <a:pt x="3917" y="276"/>
                    </a:lnTo>
                    <a:lnTo>
                      <a:pt x="3983" y="255"/>
                    </a:lnTo>
                    <a:lnTo>
                      <a:pt x="4050" y="235"/>
                    </a:lnTo>
                    <a:lnTo>
                      <a:pt x="4117" y="215"/>
                    </a:lnTo>
                    <a:lnTo>
                      <a:pt x="4185" y="197"/>
                    </a:lnTo>
                    <a:lnTo>
                      <a:pt x="4252" y="179"/>
                    </a:lnTo>
                    <a:lnTo>
                      <a:pt x="4320" y="162"/>
                    </a:lnTo>
                    <a:lnTo>
                      <a:pt x="4389" y="145"/>
                    </a:lnTo>
                    <a:lnTo>
                      <a:pt x="4458" y="130"/>
                    </a:lnTo>
                    <a:lnTo>
                      <a:pt x="4527" y="115"/>
                    </a:lnTo>
                    <a:lnTo>
                      <a:pt x="4596" y="102"/>
                    </a:lnTo>
                    <a:lnTo>
                      <a:pt x="4666" y="89"/>
                    </a:lnTo>
                    <a:lnTo>
                      <a:pt x="4736" y="77"/>
                    </a:lnTo>
                    <a:lnTo>
                      <a:pt x="4806" y="65"/>
                    </a:lnTo>
                    <a:lnTo>
                      <a:pt x="4876" y="55"/>
                    </a:lnTo>
                    <a:lnTo>
                      <a:pt x="4947" y="46"/>
                    </a:lnTo>
                    <a:lnTo>
                      <a:pt x="5018" y="37"/>
                    </a:lnTo>
                    <a:lnTo>
                      <a:pt x="5090" y="29"/>
                    </a:lnTo>
                    <a:lnTo>
                      <a:pt x="5161" y="23"/>
                    </a:lnTo>
                    <a:lnTo>
                      <a:pt x="5233" y="17"/>
                    </a:lnTo>
                    <a:lnTo>
                      <a:pt x="5305" y="12"/>
                    </a:lnTo>
                    <a:lnTo>
                      <a:pt x="5378" y="8"/>
                    </a:lnTo>
                    <a:lnTo>
                      <a:pt x="5450" y="4"/>
                    </a:lnTo>
                    <a:lnTo>
                      <a:pt x="5523" y="2"/>
                    </a:lnTo>
                    <a:lnTo>
                      <a:pt x="5596" y="1"/>
                    </a:lnTo>
                    <a:lnTo>
                      <a:pt x="5669" y="0"/>
                    </a:lnTo>
                    <a:lnTo>
                      <a:pt x="5669" y="0"/>
                    </a:lnTo>
                    <a:lnTo>
                      <a:pt x="5744" y="1"/>
                    </a:lnTo>
                    <a:lnTo>
                      <a:pt x="5817" y="2"/>
                    </a:lnTo>
                    <a:lnTo>
                      <a:pt x="5890" y="4"/>
                    </a:lnTo>
                    <a:lnTo>
                      <a:pt x="5962" y="8"/>
                    </a:lnTo>
                    <a:lnTo>
                      <a:pt x="6034" y="12"/>
                    </a:lnTo>
                    <a:lnTo>
                      <a:pt x="6107" y="17"/>
                    </a:lnTo>
                    <a:lnTo>
                      <a:pt x="6178" y="23"/>
                    </a:lnTo>
                    <a:lnTo>
                      <a:pt x="6250" y="29"/>
                    </a:lnTo>
                    <a:lnTo>
                      <a:pt x="6321" y="37"/>
                    </a:lnTo>
                    <a:lnTo>
                      <a:pt x="6392" y="46"/>
                    </a:lnTo>
                    <a:lnTo>
                      <a:pt x="6463" y="55"/>
                    </a:lnTo>
                    <a:lnTo>
                      <a:pt x="6534" y="65"/>
                    </a:lnTo>
                    <a:lnTo>
                      <a:pt x="6604" y="77"/>
                    </a:lnTo>
                    <a:lnTo>
                      <a:pt x="6674" y="89"/>
                    </a:lnTo>
                    <a:lnTo>
                      <a:pt x="6744" y="102"/>
                    </a:lnTo>
                    <a:lnTo>
                      <a:pt x="6813" y="115"/>
                    </a:lnTo>
                    <a:lnTo>
                      <a:pt x="6882" y="130"/>
                    </a:lnTo>
                    <a:lnTo>
                      <a:pt x="6951" y="145"/>
                    </a:lnTo>
                    <a:lnTo>
                      <a:pt x="7019" y="162"/>
                    </a:lnTo>
                    <a:lnTo>
                      <a:pt x="7087" y="179"/>
                    </a:lnTo>
                    <a:lnTo>
                      <a:pt x="7155" y="197"/>
                    </a:lnTo>
                    <a:lnTo>
                      <a:pt x="7222" y="215"/>
                    </a:lnTo>
                    <a:lnTo>
                      <a:pt x="7289" y="235"/>
                    </a:lnTo>
                    <a:lnTo>
                      <a:pt x="7356" y="255"/>
                    </a:lnTo>
                    <a:lnTo>
                      <a:pt x="7423" y="276"/>
                    </a:lnTo>
                    <a:lnTo>
                      <a:pt x="7489" y="298"/>
                    </a:lnTo>
                    <a:lnTo>
                      <a:pt x="7554" y="321"/>
                    </a:lnTo>
                    <a:lnTo>
                      <a:pt x="7620" y="344"/>
                    </a:lnTo>
                    <a:lnTo>
                      <a:pt x="7685" y="368"/>
                    </a:lnTo>
                    <a:lnTo>
                      <a:pt x="7749" y="393"/>
                    </a:lnTo>
                    <a:lnTo>
                      <a:pt x="7813" y="419"/>
                    </a:lnTo>
                    <a:lnTo>
                      <a:pt x="7877" y="446"/>
                    </a:lnTo>
                    <a:lnTo>
                      <a:pt x="7940" y="473"/>
                    </a:lnTo>
                    <a:lnTo>
                      <a:pt x="8003" y="501"/>
                    </a:lnTo>
                    <a:lnTo>
                      <a:pt x="8066" y="530"/>
                    </a:lnTo>
                    <a:lnTo>
                      <a:pt x="8128" y="559"/>
                    </a:lnTo>
                    <a:lnTo>
                      <a:pt x="8190" y="589"/>
                    </a:lnTo>
                    <a:lnTo>
                      <a:pt x="8251" y="620"/>
                    </a:lnTo>
                    <a:lnTo>
                      <a:pt x="8312" y="652"/>
                    </a:lnTo>
                    <a:lnTo>
                      <a:pt x="8373" y="684"/>
                    </a:lnTo>
                    <a:lnTo>
                      <a:pt x="8433" y="717"/>
                    </a:lnTo>
                    <a:lnTo>
                      <a:pt x="8492" y="751"/>
                    </a:lnTo>
                    <a:lnTo>
                      <a:pt x="8551" y="786"/>
                    </a:lnTo>
                    <a:lnTo>
                      <a:pt x="8610" y="821"/>
                    </a:lnTo>
                    <a:lnTo>
                      <a:pt x="8668" y="857"/>
                    </a:lnTo>
                    <a:lnTo>
                      <a:pt x="8726" y="893"/>
                    </a:lnTo>
                    <a:lnTo>
                      <a:pt x="8783" y="930"/>
                    </a:lnTo>
                    <a:lnTo>
                      <a:pt x="8840" y="968"/>
                    </a:lnTo>
                    <a:lnTo>
                      <a:pt x="8896" y="1007"/>
                    </a:lnTo>
                    <a:lnTo>
                      <a:pt x="8952" y="1046"/>
                    </a:lnTo>
                    <a:lnTo>
                      <a:pt x="9008" y="1086"/>
                    </a:lnTo>
                    <a:lnTo>
                      <a:pt x="9062" y="1126"/>
                    </a:lnTo>
                    <a:lnTo>
                      <a:pt x="9117" y="1168"/>
                    </a:lnTo>
                    <a:lnTo>
                      <a:pt x="9170" y="1209"/>
                    </a:lnTo>
                    <a:lnTo>
                      <a:pt x="9224" y="1252"/>
                    </a:lnTo>
                    <a:lnTo>
                      <a:pt x="9277" y="1295"/>
                    </a:lnTo>
                    <a:lnTo>
                      <a:pt x="9329" y="1338"/>
                    </a:lnTo>
                    <a:lnTo>
                      <a:pt x="9380" y="1383"/>
                    </a:lnTo>
                    <a:lnTo>
                      <a:pt x="9432" y="1427"/>
                    </a:lnTo>
                    <a:lnTo>
                      <a:pt x="9482" y="1473"/>
                    </a:lnTo>
                    <a:lnTo>
                      <a:pt x="9532" y="1519"/>
                    </a:lnTo>
                    <a:lnTo>
                      <a:pt x="9582" y="1566"/>
                    </a:lnTo>
                    <a:lnTo>
                      <a:pt x="9631" y="1613"/>
                    </a:lnTo>
                    <a:lnTo>
                      <a:pt x="9679" y="1661"/>
                    </a:lnTo>
                    <a:lnTo>
                      <a:pt x="9727" y="1709"/>
                    </a:lnTo>
                    <a:lnTo>
                      <a:pt x="9774" y="1758"/>
                    </a:lnTo>
                    <a:lnTo>
                      <a:pt x="9821" y="1807"/>
                    </a:lnTo>
                    <a:lnTo>
                      <a:pt x="9867" y="1858"/>
                    </a:lnTo>
                    <a:lnTo>
                      <a:pt x="9912" y="1908"/>
                    </a:lnTo>
                    <a:lnTo>
                      <a:pt x="9957" y="1959"/>
                    </a:lnTo>
                    <a:lnTo>
                      <a:pt x="10001" y="2011"/>
                    </a:lnTo>
                    <a:lnTo>
                      <a:pt x="10045" y="2063"/>
                    </a:lnTo>
                    <a:lnTo>
                      <a:pt x="10088" y="2116"/>
                    </a:lnTo>
                    <a:lnTo>
                      <a:pt x="10130" y="2169"/>
                    </a:lnTo>
                    <a:lnTo>
                      <a:pt x="10172" y="2223"/>
                    </a:lnTo>
                    <a:lnTo>
                      <a:pt x="10213" y="2277"/>
                    </a:lnTo>
                    <a:lnTo>
                      <a:pt x="10254" y="2332"/>
                    </a:lnTo>
                    <a:lnTo>
                      <a:pt x="10294" y="2388"/>
                    </a:lnTo>
                    <a:lnTo>
                      <a:pt x="10333" y="2443"/>
                    </a:lnTo>
                    <a:lnTo>
                      <a:pt x="10371" y="2500"/>
                    </a:lnTo>
                    <a:lnTo>
                      <a:pt x="10409" y="2557"/>
                    </a:lnTo>
                    <a:lnTo>
                      <a:pt x="10446" y="2614"/>
                    </a:lnTo>
                    <a:lnTo>
                      <a:pt x="10483" y="2672"/>
                    </a:lnTo>
                    <a:lnTo>
                      <a:pt x="10519" y="2730"/>
                    </a:lnTo>
                    <a:lnTo>
                      <a:pt x="10554" y="2788"/>
                    </a:lnTo>
                    <a:lnTo>
                      <a:pt x="10588" y="2848"/>
                    </a:lnTo>
                    <a:lnTo>
                      <a:pt x="10622" y="2907"/>
                    </a:lnTo>
                    <a:lnTo>
                      <a:pt x="10655" y="2967"/>
                    </a:lnTo>
                    <a:lnTo>
                      <a:pt x="10688" y="3028"/>
                    </a:lnTo>
                    <a:lnTo>
                      <a:pt x="10719" y="3089"/>
                    </a:lnTo>
                    <a:lnTo>
                      <a:pt x="10750" y="3150"/>
                    </a:lnTo>
                    <a:lnTo>
                      <a:pt x="10780" y="3212"/>
                    </a:lnTo>
                    <a:lnTo>
                      <a:pt x="10810" y="3274"/>
                    </a:lnTo>
                    <a:lnTo>
                      <a:pt x="10839" y="3336"/>
                    </a:lnTo>
                    <a:lnTo>
                      <a:pt x="10867" y="3399"/>
                    </a:lnTo>
                    <a:lnTo>
                      <a:pt x="10894" y="3463"/>
                    </a:lnTo>
                    <a:lnTo>
                      <a:pt x="10921" y="3527"/>
                    </a:lnTo>
                    <a:lnTo>
                      <a:pt x="10946" y="3591"/>
                    </a:lnTo>
                    <a:lnTo>
                      <a:pt x="10971" y="3655"/>
                    </a:lnTo>
                    <a:lnTo>
                      <a:pt x="10996" y="3720"/>
                    </a:lnTo>
                    <a:lnTo>
                      <a:pt x="11019" y="3786"/>
                    </a:lnTo>
                    <a:lnTo>
                      <a:pt x="11042" y="3851"/>
                    </a:lnTo>
                    <a:lnTo>
                      <a:pt x="11064" y="3917"/>
                    </a:lnTo>
                    <a:lnTo>
                      <a:pt x="11085" y="3984"/>
                    </a:lnTo>
                    <a:lnTo>
                      <a:pt x="11105" y="4050"/>
                    </a:lnTo>
                    <a:lnTo>
                      <a:pt x="11124" y="4118"/>
                    </a:lnTo>
                    <a:lnTo>
                      <a:pt x="11143" y="4185"/>
                    </a:lnTo>
                    <a:lnTo>
                      <a:pt x="11161" y="4253"/>
                    </a:lnTo>
                    <a:lnTo>
                      <a:pt x="11178" y="4321"/>
                    </a:lnTo>
                    <a:lnTo>
                      <a:pt x="11194" y="4389"/>
                    </a:lnTo>
                    <a:lnTo>
                      <a:pt x="11210" y="4458"/>
                    </a:lnTo>
                    <a:lnTo>
                      <a:pt x="11224" y="4527"/>
                    </a:lnTo>
                    <a:lnTo>
                      <a:pt x="11238" y="4596"/>
                    </a:lnTo>
                    <a:lnTo>
                      <a:pt x="11251" y="4666"/>
                    </a:lnTo>
                    <a:lnTo>
                      <a:pt x="11263" y="4736"/>
                    </a:lnTo>
                    <a:lnTo>
                      <a:pt x="11274" y="4806"/>
                    </a:lnTo>
                    <a:lnTo>
                      <a:pt x="11285" y="4877"/>
                    </a:lnTo>
                    <a:lnTo>
                      <a:pt x="11294" y="4948"/>
                    </a:lnTo>
                    <a:lnTo>
                      <a:pt x="11303" y="5019"/>
                    </a:lnTo>
                    <a:lnTo>
                      <a:pt x="11310" y="5090"/>
                    </a:lnTo>
                    <a:lnTo>
                      <a:pt x="11317" y="5162"/>
                    </a:lnTo>
                    <a:lnTo>
                      <a:pt x="11323" y="5233"/>
                    </a:lnTo>
                    <a:lnTo>
                      <a:pt x="11328" y="5306"/>
                    </a:lnTo>
                    <a:lnTo>
                      <a:pt x="11332" y="5378"/>
                    </a:lnTo>
                    <a:lnTo>
                      <a:pt x="11335" y="5451"/>
                    </a:lnTo>
                    <a:lnTo>
                      <a:pt x="11338" y="5523"/>
                    </a:lnTo>
                    <a:lnTo>
                      <a:pt x="11339" y="5596"/>
                    </a:lnTo>
                    <a:lnTo>
                      <a:pt x="11340" y="5671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b="1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191" name="Freeform 8">
                <a:extLst>
                  <a:ext uri="{FF2B5EF4-FFF2-40B4-BE49-F238E27FC236}">
                    <a16:creationId xmlns:a16="http://schemas.microsoft.com/office/drawing/2014/main" id="{2F0BE838-226D-4488-ACEA-63AB615A354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510" y="1566"/>
                <a:ext cx="1615" cy="1653"/>
              </a:xfrm>
              <a:custGeom>
                <a:avLst/>
                <a:gdLst/>
                <a:ahLst/>
                <a:cxnLst>
                  <a:cxn ang="0">
                    <a:pos x="4319" y="2213"/>
                  </a:cxn>
                  <a:cxn ang="0">
                    <a:pos x="4796" y="1894"/>
                  </a:cxn>
                  <a:cxn ang="0">
                    <a:pos x="4876" y="1759"/>
                  </a:cxn>
                  <a:cxn ang="0">
                    <a:pos x="4526" y="1075"/>
                  </a:cxn>
                  <a:cxn ang="0">
                    <a:pos x="4005" y="1264"/>
                  </a:cxn>
                  <a:cxn ang="0">
                    <a:pos x="3815" y="1225"/>
                  </a:cxn>
                  <a:cxn ang="0">
                    <a:pos x="3367" y="807"/>
                  </a:cxn>
                  <a:cxn ang="0">
                    <a:pos x="3456" y="245"/>
                  </a:cxn>
                  <a:cxn ang="0">
                    <a:pos x="2745" y="3"/>
                  </a:cxn>
                  <a:cxn ang="0">
                    <a:pos x="2590" y="70"/>
                  </a:cxn>
                  <a:cxn ang="0">
                    <a:pos x="2416" y="615"/>
                  </a:cxn>
                  <a:cxn ang="0">
                    <a:pos x="1822" y="774"/>
                  </a:cxn>
                  <a:cxn ang="0">
                    <a:pos x="1644" y="700"/>
                  </a:cxn>
                  <a:cxn ang="0">
                    <a:pos x="1252" y="324"/>
                  </a:cxn>
                  <a:cxn ang="0">
                    <a:pos x="653" y="807"/>
                  </a:cxn>
                  <a:cxn ang="0">
                    <a:pos x="942" y="1274"/>
                  </a:cxn>
                  <a:cxn ang="0">
                    <a:pos x="960" y="1467"/>
                  </a:cxn>
                  <a:cxn ang="0">
                    <a:pos x="660" y="2003"/>
                  </a:cxn>
                  <a:cxn ang="0">
                    <a:pos x="90" y="2042"/>
                  </a:cxn>
                  <a:cxn ang="0">
                    <a:pos x="0" y="2797"/>
                  </a:cxn>
                  <a:cxn ang="0">
                    <a:pos x="86" y="2927"/>
                  </a:cxn>
                  <a:cxn ang="0">
                    <a:pos x="656" y="2972"/>
                  </a:cxn>
                  <a:cxn ang="0">
                    <a:pos x="952" y="3509"/>
                  </a:cxn>
                  <a:cxn ang="0">
                    <a:pos x="932" y="3702"/>
                  </a:cxn>
                  <a:cxn ang="0">
                    <a:pos x="640" y="4167"/>
                  </a:cxn>
                  <a:cxn ang="0">
                    <a:pos x="1235" y="4655"/>
                  </a:cxn>
                  <a:cxn ang="0">
                    <a:pos x="1630" y="4283"/>
                  </a:cxn>
                  <a:cxn ang="0">
                    <a:pos x="1809" y="4210"/>
                  </a:cxn>
                  <a:cxn ang="0">
                    <a:pos x="2403" y="4373"/>
                  </a:cxn>
                  <a:cxn ang="0">
                    <a:pos x="2574" y="4919"/>
                  </a:cxn>
                  <a:cxn ang="0">
                    <a:pos x="2728" y="4987"/>
                  </a:cxn>
                  <a:cxn ang="0">
                    <a:pos x="3441" y="4750"/>
                  </a:cxn>
                  <a:cxn ang="0">
                    <a:pos x="3356" y="4187"/>
                  </a:cxn>
                  <a:cxn ang="0">
                    <a:pos x="3806" y="3773"/>
                  </a:cxn>
                  <a:cxn ang="0">
                    <a:pos x="3997" y="3735"/>
                  </a:cxn>
                  <a:cxn ang="0">
                    <a:pos x="4516" y="3927"/>
                  </a:cxn>
                  <a:cxn ang="0">
                    <a:pos x="4871" y="3245"/>
                  </a:cxn>
                  <a:cxn ang="0">
                    <a:pos x="4421" y="2930"/>
                  </a:cxn>
                  <a:cxn ang="0">
                    <a:pos x="4317" y="2787"/>
                  </a:cxn>
                  <a:cxn ang="0">
                    <a:pos x="3788" y="2500"/>
                  </a:cxn>
                  <a:cxn ang="0">
                    <a:pos x="3728" y="2887"/>
                  </a:cxn>
                  <a:cxn ang="0">
                    <a:pos x="3545" y="3252"/>
                  </a:cxn>
                  <a:cxn ang="0">
                    <a:pos x="3261" y="3541"/>
                  </a:cxn>
                  <a:cxn ang="0">
                    <a:pos x="2899" y="3730"/>
                  </a:cxn>
                  <a:cxn ang="0">
                    <a:pos x="2481" y="3796"/>
                  </a:cxn>
                  <a:cxn ang="0">
                    <a:pos x="2093" y="3736"/>
                  </a:cxn>
                  <a:cxn ang="0">
                    <a:pos x="1728" y="3553"/>
                  </a:cxn>
                  <a:cxn ang="0">
                    <a:pos x="1439" y="3269"/>
                  </a:cxn>
                  <a:cxn ang="0">
                    <a:pos x="1250" y="2907"/>
                  </a:cxn>
                  <a:cxn ang="0">
                    <a:pos x="1184" y="2490"/>
                  </a:cxn>
                  <a:cxn ang="0">
                    <a:pos x="1244" y="2102"/>
                  </a:cxn>
                  <a:cxn ang="0">
                    <a:pos x="1427" y="1736"/>
                  </a:cxn>
                  <a:cxn ang="0">
                    <a:pos x="1711" y="1448"/>
                  </a:cxn>
                  <a:cxn ang="0">
                    <a:pos x="2073" y="1259"/>
                  </a:cxn>
                  <a:cxn ang="0">
                    <a:pos x="2492" y="1192"/>
                  </a:cxn>
                  <a:cxn ang="0">
                    <a:pos x="2878" y="1252"/>
                  </a:cxn>
                  <a:cxn ang="0">
                    <a:pos x="3244" y="1435"/>
                  </a:cxn>
                  <a:cxn ang="0">
                    <a:pos x="3532" y="1719"/>
                  </a:cxn>
                  <a:cxn ang="0">
                    <a:pos x="3721" y="2081"/>
                  </a:cxn>
                  <a:cxn ang="0">
                    <a:pos x="3788" y="2500"/>
                  </a:cxn>
                </a:cxnLst>
                <a:rect l="0" t="0" r="r" b="b"/>
                <a:pathLst>
                  <a:path w="4876" h="4990">
                    <a:moveTo>
                      <a:pt x="4332" y="2502"/>
                    </a:moveTo>
                    <a:lnTo>
                      <a:pt x="4332" y="2502"/>
                    </a:lnTo>
                    <a:lnTo>
                      <a:pt x="4331" y="2455"/>
                    </a:lnTo>
                    <a:lnTo>
                      <a:pt x="4329" y="2412"/>
                    </a:lnTo>
                    <a:lnTo>
                      <a:pt x="4327" y="2373"/>
                    </a:lnTo>
                    <a:lnTo>
                      <a:pt x="4324" y="2340"/>
                    </a:lnTo>
                    <a:lnTo>
                      <a:pt x="4319" y="2291"/>
                    </a:lnTo>
                    <a:lnTo>
                      <a:pt x="4317" y="2273"/>
                    </a:lnTo>
                    <a:lnTo>
                      <a:pt x="4317" y="2273"/>
                    </a:lnTo>
                    <a:lnTo>
                      <a:pt x="4315" y="2258"/>
                    </a:lnTo>
                    <a:lnTo>
                      <a:pt x="4315" y="2243"/>
                    </a:lnTo>
                    <a:lnTo>
                      <a:pt x="4317" y="2228"/>
                    </a:lnTo>
                    <a:lnTo>
                      <a:pt x="4319" y="2213"/>
                    </a:lnTo>
                    <a:lnTo>
                      <a:pt x="4323" y="2199"/>
                    </a:lnTo>
                    <a:lnTo>
                      <a:pt x="4327" y="2184"/>
                    </a:lnTo>
                    <a:lnTo>
                      <a:pt x="4333" y="2170"/>
                    </a:lnTo>
                    <a:lnTo>
                      <a:pt x="4340" y="2156"/>
                    </a:lnTo>
                    <a:lnTo>
                      <a:pt x="4348" y="2142"/>
                    </a:lnTo>
                    <a:lnTo>
                      <a:pt x="4356" y="2130"/>
                    </a:lnTo>
                    <a:lnTo>
                      <a:pt x="4366" y="2117"/>
                    </a:lnTo>
                    <a:lnTo>
                      <a:pt x="4376" y="2106"/>
                    </a:lnTo>
                    <a:lnTo>
                      <a:pt x="4387" y="2096"/>
                    </a:lnTo>
                    <a:lnTo>
                      <a:pt x="4399" y="2087"/>
                    </a:lnTo>
                    <a:lnTo>
                      <a:pt x="4411" y="2078"/>
                    </a:lnTo>
                    <a:lnTo>
                      <a:pt x="4424" y="2071"/>
                    </a:lnTo>
                    <a:lnTo>
                      <a:pt x="4796" y="1894"/>
                    </a:lnTo>
                    <a:lnTo>
                      <a:pt x="4796" y="1894"/>
                    </a:lnTo>
                    <a:lnTo>
                      <a:pt x="4809" y="1887"/>
                    </a:lnTo>
                    <a:lnTo>
                      <a:pt x="4820" y="1879"/>
                    </a:lnTo>
                    <a:lnTo>
                      <a:pt x="4831" y="1870"/>
                    </a:lnTo>
                    <a:lnTo>
                      <a:pt x="4841" y="1860"/>
                    </a:lnTo>
                    <a:lnTo>
                      <a:pt x="4849" y="1849"/>
                    </a:lnTo>
                    <a:lnTo>
                      <a:pt x="4857" y="1838"/>
                    </a:lnTo>
                    <a:lnTo>
                      <a:pt x="4863" y="1826"/>
                    </a:lnTo>
                    <a:lnTo>
                      <a:pt x="4868" y="1813"/>
                    </a:lnTo>
                    <a:lnTo>
                      <a:pt x="4872" y="1800"/>
                    </a:lnTo>
                    <a:lnTo>
                      <a:pt x="4875" y="1787"/>
                    </a:lnTo>
                    <a:lnTo>
                      <a:pt x="4876" y="1773"/>
                    </a:lnTo>
                    <a:lnTo>
                      <a:pt x="4876" y="1759"/>
                    </a:lnTo>
                    <a:lnTo>
                      <a:pt x="4875" y="1746"/>
                    </a:lnTo>
                    <a:lnTo>
                      <a:pt x="4872" y="1732"/>
                    </a:lnTo>
                    <a:lnTo>
                      <a:pt x="4868" y="1718"/>
                    </a:lnTo>
                    <a:lnTo>
                      <a:pt x="4863" y="1705"/>
                    </a:lnTo>
                    <a:lnTo>
                      <a:pt x="4595" y="1142"/>
                    </a:lnTo>
                    <a:lnTo>
                      <a:pt x="4595" y="1142"/>
                    </a:lnTo>
                    <a:lnTo>
                      <a:pt x="4588" y="1130"/>
                    </a:lnTo>
                    <a:lnTo>
                      <a:pt x="4580" y="1118"/>
                    </a:lnTo>
                    <a:lnTo>
                      <a:pt x="4571" y="1107"/>
                    </a:lnTo>
                    <a:lnTo>
                      <a:pt x="4561" y="1097"/>
                    </a:lnTo>
                    <a:lnTo>
                      <a:pt x="4550" y="1089"/>
                    </a:lnTo>
                    <a:lnTo>
                      <a:pt x="4539" y="1081"/>
                    </a:lnTo>
                    <a:lnTo>
                      <a:pt x="4526" y="1075"/>
                    </a:lnTo>
                    <a:lnTo>
                      <a:pt x="4514" y="1070"/>
                    </a:lnTo>
                    <a:lnTo>
                      <a:pt x="4501" y="1066"/>
                    </a:lnTo>
                    <a:lnTo>
                      <a:pt x="4487" y="1063"/>
                    </a:lnTo>
                    <a:lnTo>
                      <a:pt x="4474" y="1062"/>
                    </a:lnTo>
                    <a:lnTo>
                      <a:pt x="4460" y="1062"/>
                    </a:lnTo>
                    <a:lnTo>
                      <a:pt x="4446" y="1063"/>
                    </a:lnTo>
                    <a:lnTo>
                      <a:pt x="4433" y="1066"/>
                    </a:lnTo>
                    <a:lnTo>
                      <a:pt x="4419" y="1070"/>
                    </a:lnTo>
                    <a:lnTo>
                      <a:pt x="4406" y="1075"/>
                    </a:lnTo>
                    <a:lnTo>
                      <a:pt x="4033" y="1253"/>
                    </a:lnTo>
                    <a:lnTo>
                      <a:pt x="4033" y="1253"/>
                    </a:lnTo>
                    <a:lnTo>
                      <a:pt x="4019" y="1259"/>
                    </a:lnTo>
                    <a:lnTo>
                      <a:pt x="4005" y="1264"/>
                    </a:lnTo>
                    <a:lnTo>
                      <a:pt x="3990" y="1267"/>
                    </a:lnTo>
                    <a:lnTo>
                      <a:pt x="3975" y="1269"/>
                    </a:lnTo>
                    <a:lnTo>
                      <a:pt x="3960" y="1271"/>
                    </a:lnTo>
                    <a:lnTo>
                      <a:pt x="3944" y="1271"/>
                    </a:lnTo>
                    <a:lnTo>
                      <a:pt x="3928" y="1270"/>
                    </a:lnTo>
                    <a:lnTo>
                      <a:pt x="3913" y="1267"/>
                    </a:lnTo>
                    <a:lnTo>
                      <a:pt x="3897" y="1264"/>
                    </a:lnTo>
                    <a:lnTo>
                      <a:pt x="3882" y="1260"/>
                    </a:lnTo>
                    <a:lnTo>
                      <a:pt x="3867" y="1255"/>
                    </a:lnTo>
                    <a:lnTo>
                      <a:pt x="3853" y="1249"/>
                    </a:lnTo>
                    <a:lnTo>
                      <a:pt x="3839" y="1242"/>
                    </a:lnTo>
                    <a:lnTo>
                      <a:pt x="3827" y="1234"/>
                    </a:lnTo>
                    <a:lnTo>
                      <a:pt x="3815" y="1225"/>
                    </a:lnTo>
                    <a:lnTo>
                      <a:pt x="3804" y="1215"/>
                    </a:lnTo>
                    <a:lnTo>
                      <a:pt x="3451" y="932"/>
                    </a:lnTo>
                    <a:lnTo>
                      <a:pt x="3451" y="932"/>
                    </a:lnTo>
                    <a:lnTo>
                      <a:pt x="3439" y="924"/>
                    </a:lnTo>
                    <a:lnTo>
                      <a:pt x="3428" y="914"/>
                    </a:lnTo>
                    <a:lnTo>
                      <a:pt x="3417" y="903"/>
                    </a:lnTo>
                    <a:lnTo>
                      <a:pt x="3407" y="891"/>
                    </a:lnTo>
                    <a:lnTo>
                      <a:pt x="3398" y="879"/>
                    </a:lnTo>
                    <a:lnTo>
                      <a:pt x="3390" y="865"/>
                    </a:lnTo>
                    <a:lnTo>
                      <a:pt x="3383" y="852"/>
                    </a:lnTo>
                    <a:lnTo>
                      <a:pt x="3376" y="837"/>
                    </a:lnTo>
                    <a:lnTo>
                      <a:pt x="3371" y="822"/>
                    </a:lnTo>
                    <a:lnTo>
                      <a:pt x="3367" y="807"/>
                    </a:lnTo>
                    <a:lnTo>
                      <a:pt x="3363" y="792"/>
                    </a:lnTo>
                    <a:lnTo>
                      <a:pt x="3361" y="777"/>
                    </a:lnTo>
                    <a:lnTo>
                      <a:pt x="3360" y="761"/>
                    </a:lnTo>
                    <a:lnTo>
                      <a:pt x="3360" y="746"/>
                    </a:lnTo>
                    <a:lnTo>
                      <a:pt x="3362" y="731"/>
                    </a:lnTo>
                    <a:lnTo>
                      <a:pt x="3364" y="717"/>
                    </a:lnTo>
                    <a:lnTo>
                      <a:pt x="3458" y="314"/>
                    </a:lnTo>
                    <a:lnTo>
                      <a:pt x="3458" y="314"/>
                    </a:lnTo>
                    <a:lnTo>
                      <a:pt x="3460" y="300"/>
                    </a:lnTo>
                    <a:lnTo>
                      <a:pt x="3461" y="286"/>
                    </a:lnTo>
                    <a:lnTo>
                      <a:pt x="3461" y="272"/>
                    </a:lnTo>
                    <a:lnTo>
                      <a:pt x="3459" y="258"/>
                    </a:lnTo>
                    <a:lnTo>
                      <a:pt x="3456" y="245"/>
                    </a:lnTo>
                    <a:lnTo>
                      <a:pt x="3452" y="232"/>
                    </a:lnTo>
                    <a:lnTo>
                      <a:pt x="3447" y="219"/>
                    </a:lnTo>
                    <a:lnTo>
                      <a:pt x="3440" y="207"/>
                    </a:lnTo>
                    <a:lnTo>
                      <a:pt x="3432" y="196"/>
                    </a:lnTo>
                    <a:lnTo>
                      <a:pt x="3423" y="186"/>
                    </a:lnTo>
                    <a:lnTo>
                      <a:pt x="3414" y="176"/>
                    </a:lnTo>
                    <a:lnTo>
                      <a:pt x="3403" y="168"/>
                    </a:lnTo>
                    <a:lnTo>
                      <a:pt x="3391" y="160"/>
                    </a:lnTo>
                    <a:lnTo>
                      <a:pt x="3379" y="153"/>
                    </a:lnTo>
                    <a:lnTo>
                      <a:pt x="3366" y="148"/>
                    </a:lnTo>
                    <a:lnTo>
                      <a:pt x="3352" y="144"/>
                    </a:lnTo>
                    <a:lnTo>
                      <a:pt x="2745" y="3"/>
                    </a:lnTo>
                    <a:lnTo>
                      <a:pt x="2745" y="3"/>
                    </a:lnTo>
                    <a:lnTo>
                      <a:pt x="2730" y="1"/>
                    </a:lnTo>
                    <a:lnTo>
                      <a:pt x="2716" y="0"/>
                    </a:lnTo>
                    <a:lnTo>
                      <a:pt x="2702" y="0"/>
                    </a:lnTo>
                    <a:lnTo>
                      <a:pt x="2688" y="2"/>
                    </a:lnTo>
                    <a:lnTo>
                      <a:pt x="2675" y="5"/>
                    </a:lnTo>
                    <a:lnTo>
                      <a:pt x="2662" y="9"/>
                    </a:lnTo>
                    <a:lnTo>
                      <a:pt x="2649" y="15"/>
                    </a:lnTo>
                    <a:lnTo>
                      <a:pt x="2638" y="21"/>
                    </a:lnTo>
                    <a:lnTo>
                      <a:pt x="2626" y="29"/>
                    </a:lnTo>
                    <a:lnTo>
                      <a:pt x="2616" y="38"/>
                    </a:lnTo>
                    <a:lnTo>
                      <a:pt x="2606" y="48"/>
                    </a:lnTo>
                    <a:lnTo>
                      <a:pt x="2598" y="58"/>
                    </a:lnTo>
                    <a:lnTo>
                      <a:pt x="2590" y="70"/>
                    </a:lnTo>
                    <a:lnTo>
                      <a:pt x="2584" y="82"/>
                    </a:lnTo>
                    <a:lnTo>
                      <a:pt x="2578" y="96"/>
                    </a:lnTo>
                    <a:lnTo>
                      <a:pt x="2574" y="110"/>
                    </a:lnTo>
                    <a:lnTo>
                      <a:pt x="2481" y="512"/>
                    </a:lnTo>
                    <a:lnTo>
                      <a:pt x="2481" y="512"/>
                    </a:lnTo>
                    <a:lnTo>
                      <a:pt x="2477" y="526"/>
                    </a:lnTo>
                    <a:lnTo>
                      <a:pt x="2472" y="540"/>
                    </a:lnTo>
                    <a:lnTo>
                      <a:pt x="2465" y="554"/>
                    </a:lnTo>
                    <a:lnTo>
                      <a:pt x="2457" y="567"/>
                    </a:lnTo>
                    <a:lnTo>
                      <a:pt x="2448" y="580"/>
                    </a:lnTo>
                    <a:lnTo>
                      <a:pt x="2438" y="592"/>
                    </a:lnTo>
                    <a:lnTo>
                      <a:pt x="2428" y="604"/>
                    </a:lnTo>
                    <a:lnTo>
                      <a:pt x="2416" y="615"/>
                    </a:lnTo>
                    <a:lnTo>
                      <a:pt x="2404" y="625"/>
                    </a:lnTo>
                    <a:lnTo>
                      <a:pt x="2392" y="634"/>
                    </a:lnTo>
                    <a:lnTo>
                      <a:pt x="2378" y="643"/>
                    </a:lnTo>
                    <a:lnTo>
                      <a:pt x="2365" y="650"/>
                    </a:lnTo>
                    <a:lnTo>
                      <a:pt x="2351" y="656"/>
                    </a:lnTo>
                    <a:lnTo>
                      <a:pt x="2336" y="661"/>
                    </a:lnTo>
                    <a:lnTo>
                      <a:pt x="2322" y="665"/>
                    </a:lnTo>
                    <a:lnTo>
                      <a:pt x="2308" y="668"/>
                    </a:lnTo>
                    <a:lnTo>
                      <a:pt x="1866" y="766"/>
                    </a:lnTo>
                    <a:lnTo>
                      <a:pt x="1866" y="766"/>
                    </a:lnTo>
                    <a:lnTo>
                      <a:pt x="1852" y="770"/>
                    </a:lnTo>
                    <a:lnTo>
                      <a:pt x="1837" y="772"/>
                    </a:lnTo>
                    <a:lnTo>
                      <a:pt x="1822" y="774"/>
                    </a:lnTo>
                    <a:lnTo>
                      <a:pt x="1807" y="774"/>
                    </a:lnTo>
                    <a:lnTo>
                      <a:pt x="1792" y="774"/>
                    </a:lnTo>
                    <a:lnTo>
                      <a:pt x="1776" y="772"/>
                    </a:lnTo>
                    <a:lnTo>
                      <a:pt x="1761" y="769"/>
                    </a:lnTo>
                    <a:lnTo>
                      <a:pt x="1745" y="765"/>
                    </a:lnTo>
                    <a:lnTo>
                      <a:pt x="1730" y="760"/>
                    </a:lnTo>
                    <a:lnTo>
                      <a:pt x="1716" y="754"/>
                    </a:lnTo>
                    <a:lnTo>
                      <a:pt x="1702" y="747"/>
                    </a:lnTo>
                    <a:lnTo>
                      <a:pt x="1689" y="739"/>
                    </a:lnTo>
                    <a:lnTo>
                      <a:pt x="1676" y="730"/>
                    </a:lnTo>
                    <a:lnTo>
                      <a:pt x="1664" y="721"/>
                    </a:lnTo>
                    <a:lnTo>
                      <a:pt x="1654" y="711"/>
                    </a:lnTo>
                    <a:lnTo>
                      <a:pt x="1644" y="700"/>
                    </a:lnTo>
                    <a:lnTo>
                      <a:pt x="1387" y="375"/>
                    </a:lnTo>
                    <a:lnTo>
                      <a:pt x="1387" y="375"/>
                    </a:lnTo>
                    <a:lnTo>
                      <a:pt x="1378" y="365"/>
                    </a:lnTo>
                    <a:lnTo>
                      <a:pt x="1368" y="355"/>
                    </a:lnTo>
                    <a:lnTo>
                      <a:pt x="1356" y="346"/>
                    </a:lnTo>
                    <a:lnTo>
                      <a:pt x="1345" y="339"/>
                    </a:lnTo>
                    <a:lnTo>
                      <a:pt x="1332" y="333"/>
                    </a:lnTo>
                    <a:lnTo>
                      <a:pt x="1319" y="328"/>
                    </a:lnTo>
                    <a:lnTo>
                      <a:pt x="1306" y="325"/>
                    </a:lnTo>
                    <a:lnTo>
                      <a:pt x="1293" y="323"/>
                    </a:lnTo>
                    <a:lnTo>
                      <a:pt x="1279" y="322"/>
                    </a:lnTo>
                    <a:lnTo>
                      <a:pt x="1265" y="322"/>
                    </a:lnTo>
                    <a:lnTo>
                      <a:pt x="1252" y="324"/>
                    </a:lnTo>
                    <a:lnTo>
                      <a:pt x="1238" y="327"/>
                    </a:lnTo>
                    <a:lnTo>
                      <a:pt x="1225" y="331"/>
                    </a:lnTo>
                    <a:lnTo>
                      <a:pt x="1213" y="337"/>
                    </a:lnTo>
                    <a:lnTo>
                      <a:pt x="1200" y="344"/>
                    </a:lnTo>
                    <a:lnTo>
                      <a:pt x="1188" y="352"/>
                    </a:lnTo>
                    <a:lnTo>
                      <a:pt x="700" y="739"/>
                    </a:lnTo>
                    <a:lnTo>
                      <a:pt x="700" y="739"/>
                    </a:lnTo>
                    <a:lnTo>
                      <a:pt x="689" y="748"/>
                    </a:lnTo>
                    <a:lnTo>
                      <a:pt x="679" y="759"/>
                    </a:lnTo>
                    <a:lnTo>
                      <a:pt x="671" y="770"/>
                    </a:lnTo>
                    <a:lnTo>
                      <a:pt x="664" y="782"/>
                    </a:lnTo>
                    <a:lnTo>
                      <a:pt x="658" y="794"/>
                    </a:lnTo>
                    <a:lnTo>
                      <a:pt x="653" y="807"/>
                    </a:lnTo>
                    <a:lnTo>
                      <a:pt x="649" y="820"/>
                    </a:lnTo>
                    <a:lnTo>
                      <a:pt x="647" y="834"/>
                    </a:lnTo>
                    <a:lnTo>
                      <a:pt x="646" y="847"/>
                    </a:lnTo>
                    <a:lnTo>
                      <a:pt x="647" y="861"/>
                    </a:lnTo>
                    <a:lnTo>
                      <a:pt x="648" y="874"/>
                    </a:lnTo>
                    <a:lnTo>
                      <a:pt x="651" y="888"/>
                    </a:lnTo>
                    <a:lnTo>
                      <a:pt x="656" y="901"/>
                    </a:lnTo>
                    <a:lnTo>
                      <a:pt x="661" y="914"/>
                    </a:lnTo>
                    <a:lnTo>
                      <a:pt x="668" y="926"/>
                    </a:lnTo>
                    <a:lnTo>
                      <a:pt x="677" y="938"/>
                    </a:lnTo>
                    <a:lnTo>
                      <a:pt x="933" y="1262"/>
                    </a:lnTo>
                    <a:lnTo>
                      <a:pt x="933" y="1262"/>
                    </a:lnTo>
                    <a:lnTo>
                      <a:pt x="942" y="1274"/>
                    </a:lnTo>
                    <a:lnTo>
                      <a:pt x="950" y="1287"/>
                    </a:lnTo>
                    <a:lnTo>
                      <a:pt x="956" y="1301"/>
                    </a:lnTo>
                    <a:lnTo>
                      <a:pt x="962" y="1315"/>
                    </a:lnTo>
                    <a:lnTo>
                      <a:pt x="966" y="1330"/>
                    </a:lnTo>
                    <a:lnTo>
                      <a:pt x="970" y="1345"/>
                    </a:lnTo>
                    <a:lnTo>
                      <a:pt x="972" y="1361"/>
                    </a:lnTo>
                    <a:lnTo>
                      <a:pt x="974" y="1376"/>
                    </a:lnTo>
                    <a:lnTo>
                      <a:pt x="974" y="1392"/>
                    </a:lnTo>
                    <a:lnTo>
                      <a:pt x="973" y="1408"/>
                    </a:lnTo>
                    <a:lnTo>
                      <a:pt x="971" y="1423"/>
                    </a:lnTo>
                    <a:lnTo>
                      <a:pt x="969" y="1438"/>
                    </a:lnTo>
                    <a:lnTo>
                      <a:pt x="965" y="1453"/>
                    </a:lnTo>
                    <a:lnTo>
                      <a:pt x="960" y="1467"/>
                    </a:lnTo>
                    <a:lnTo>
                      <a:pt x="954" y="1481"/>
                    </a:lnTo>
                    <a:lnTo>
                      <a:pt x="947" y="1494"/>
                    </a:lnTo>
                    <a:lnTo>
                      <a:pt x="749" y="1901"/>
                    </a:lnTo>
                    <a:lnTo>
                      <a:pt x="749" y="1901"/>
                    </a:lnTo>
                    <a:lnTo>
                      <a:pt x="744" y="1914"/>
                    </a:lnTo>
                    <a:lnTo>
                      <a:pt x="737" y="1927"/>
                    </a:lnTo>
                    <a:lnTo>
                      <a:pt x="728" y="1940"/>
                    </a:lnTo>
                    <a:lnTo>
                      <a:pt x="719" y="1952"/>
                    </a:lnTo>
                    <a:lnTo>
                      <a:pt x="709" y="1964"/>
                    </a:lnTo>
                    <a:lnTo>
                      <a:pt x="698" y="1975"/>
                    </a:lnTo>
                    <a:lnTo>
                      <a:pt x="686" y="1985"/>
                    </a:lnTo>
                    <a:lnTo>
                      <a:pt x="673" y="1994"/>
                    </a:lnTo>
                    <a:lnTo>
                      <a:pt x="660" y="2003"/>
                    </a:lnTo>
                    <a:lnTo>
                      <a:pt x="646" y="2010"/>
                    </a:lnTo>
                    <a:lnTo>
                      <a:pt x="632" y="2017"/>
                    </a:lnTo>
                    <a:lnTo>
                      <a:pt x="617" y="2023"/>
                    </a:lnTo>
                    <a:lnTo>
                      <a:pt x="603" y="2027"/>
                    </a:lnTo>
                    <a:lnTo>
                      <a:pt x="588" y="2030"/>
                    </a:lnTo>
                    <a:lnTo>
                      <a:pt x="573" y="2032"/>
                    </a:lnTo>
                    <a:lnTo>
                      <a:pt x="558" y="2033"/>
                    </a:lnTo>
                    <a:lnTo>
                      <a:pt x="145" y="2031"/>
                    </a:lnTo>
                    <a:lnTo>
                      <a:pt x="145" y="2031"/>
                    </a:lnTo>
                    <a:lnTo>
                      <a:pt x="130" y="2032"/>
                    </a:lnTo>
                    <a:lnTo>
                      <a:pt x="116" y="2034"/>
                    </a:lnTo>
                    <a:lnTo>
                      <a:pt x="103" y="2037"/>
                    </a:lnTo>
                    <a:lnTo>
                      <a:pt x="90" y="2042"/>
                    </a:lnTo>
                    <a:lnTo>
                      <a:pt x="77" y="2048"/>
                    </a:lnTo>
                    <a:lnTo>
                      <a:pt x="65" y="2055"/>
                    </a:lnTo>
                    <a:lnTo>
                      <a:pt x="55" y="2063"/>
                    </a:lnTo>
                    <a:lnTo>
                      <a:pt x="44" y="2072"/>
                    </a:lnTo>
                    <a:lnTo>
                      <a:pt x="35" y="2083"/>
                    </a:lnTo>
                    <a:lnTo>
                      <a:pt x="27" y="2093"/>
                    </a:lnTo>
                    <a:lnTo>
                      <a:pt x="20" y="2105"/>
                    </a:lnTo>
                    <a:lnTo>
                      <a:pt x="14" y="2117"/>
                    </a:lnTo>
                    <a:lnTo>
                      <a:pt x="9" y="2130"/>
                    </a:lnTo>
                    <a:lnTo>
                      <a:pt x="5" y="2144"/>
                    </a:lnTo>
                    <a:lnTo>
                      <a:pt x="3" y="2158"/>
                    </a:lnTo>
                    <a:lnTo>
                      <a:pt x="2" y="2172"/>
                    </a:lnTo>
                    <a:lnTo>
                      <a:pt x="0" y="2797"/>
                    </a:lnTo>
                    <a:lnTo>
                      <a:pt x="0" y="2797"/>
                    </a:lnTo>
                    <a:lnTo>
                      <a:pt x="1" y="2811"/>
                    </a:lnTo>
                    <a:lnTo>
                      <a:pt x="3" y="2825"/>
                    </a:lnTo>
                    <a:lnTo>
                      <a:pt x="6" y="2839"/>
                    </a:lnTo>
                    <a:lnTo>
                      <a:pt x="11" y="2852"/>
                    </a:lnTo>
                    <a:lnTo>
                      <a:pt x="17" y="2864"/>
                    </a:lnTo>
                    <a:lnTo>
                      <a:pt x="24" y="2876"/>
                    </a:lnTo>
                    <a:lnTo>
                      <a:pt x="32" y="2887"/>
                    </a:lnTo>
                    <a:lnTo>
                      <a:pt x="41" y="2897"/>
                    </a:lnTo>
                    <a:lnTo>
                      <a:pt x="51" y="2906"/>
                    </a:lnTo>
                    <a:lnTo>
                      <a:pt x="62" y="2914"/>
                    </a:lnTo>
                    <a:lnTo>
                      <a:pt x="74" y="2921"/>
                    </a:lnTo>
                    <a:lnTo>
                      <a:pt x="86" y="2927"/>
                    </a:lnTo>
                    <a:lnTo>
                      <a:pt x="99" y="2932"/>
                    </a:lnTo>
                    <a:lnTo>
                      <a:pt x="113" y="2936"/>
                    </a:lnTo>
                    <a:lnTo>
                      <a:pt x="127" y="2938"/>
                    </a:lnTo>
                    <a:lnTo>
                      <a:pt x="141" y="2939"/>
                    </a:lnTo>
                    <a:lnTo>
                      <a:pt x="555" y="2941"/>
                    </a:lnTo>
                    <a:lnTo>
                      <a:pt x="555" y="2941"/>
                    </a:lnTo>
                    <a:lnTo>
                      <a:pt x="570" y="2941"/>
                    </a:lnTo>
                    <a:lnTo>
                      <a:pt x="584" y="2944"/>
                    </a:lnTo>
                    <a:lnTo>
                      <a:pt x="599" y="2947"/>
                    </a:lnTo>
                    <a:lnTo>
                      <a:pt x="614" y="2951"/>
                    </a:lnTo>
                    <a:lnTo>
                      <a:pt x="628" y="2957"/>
                    </a:lnTo>
                    <a:lnTo>
                      <a:pt x="642" y="2964"/>
                    </a:lnTo>
                    <a:lnTo>
                      <a:pt x="656" y="2972"/>
                    </a:lnTo>
                    <a:lnTo>
                      <a:pt x="669" y="2980"/>
                    </a:lnTo>
                    <a:lnTo>
                      <a:pt x="682" y="2990"/>
                    </a:lnTo>
                    <a:lnTo>
                      <a:pt x="694" y="3000"/>
                    </a:lnTo>
                    <a:lnTo>
                      <a:pt x="705" y="3011"/>
                    </a:lnTo>
                    <a:lnTo>
                      <a:pt x="715" y="3023"/>
                    </a:lnTo>
                    <a:lnTo>
                      <a:pt x="724" y="3035"/>
                    </a:lnTo>
                    <a:lnTo>
                      <a:pt x="732" y="3048"/>
                    </a:lnTo>
                    <a:lnTo>
                      <a:pt x="739" y="3061"/>
                    </a:lnTo>
                    <a:lnTo>
                      <a:pt x="745" y="3075"/>
                    </a:lnTo>
                    <a:lnTo>
                      <a:pt x="939" y="3482"/>
                    </a:lnTo>
                    <a:lnTo>
                      <a:pt x="939" y="3482"/>
                    </a:lnTo>
                    <a:lnTo>
                      <a:pt x="946" y="3495"/>
                    </a:lnTo>
                    <a:lnTo>
                      <a:pt x="952" y="3509"/>
                    </a:lnTo>
                    <a:lnTo>
                      <a:pt x="956" y="3523"/>
                    </a:lnTo>
                    <a:lnTo>
                      <a:pt x="960" y="3538"/>
                    </a:lnTo>
                    <a:lnTo>
                      <a:pt x="963" y="3553"/>
                    </a:lnTo>
                    <a:lnTo>
                      <a:pt x="964" y="3569"/>
                    </a:lnTo>
                    <a:lnTo>
                      <a:pt x="965" y="3585"/>
                    </a:lnTo>
                    <a:lnTo>
                      <a:pt x="965" y="3600"/>
                    </a:lnTo>
                    <a:lnTo>
                      <a:pt x="963" y="3616"/>
                    </a:lnTo>
                    <a:lnTo>
                      <a:pt x="960" y="3632"/>
                    </a:lnTo>
                    <a:lnTo>
                      <a:pt x="957" y="3647"/>
                    </a:lnTo>
                    <a:lnTo>
                      <a:pt x="952" y="3661"/>
                    </a:lnTo>
                    <a:lnTo>
                      <a:pt x="947" y="3676"/>
                    </a:lnTo>
                    <a:lnTo>
                      <a:pt x="940" y="3689"/>
                    </a:lnTo>
                    <a:lnTo>
                      <a:pt x="932" y="3702"/>
                    </a:lnTo>
                    <a:lnTo>
                      <a:pt x="924" y="3714"/>
                    </a:lnTo>
                    <a:lnTo>
                      <a:pt x="664" y="4036"/>
                    </a:lnTo>
                    <a:lnTo>
                      <a:pt x="664" y="4036"/>
                    </a:lnTo>
                    <a:lnTo>
                      <a:pt x="656" y="4048"/>
                    </a:lnTo>
                    <a:lnTo>
                      <a:pt x="649" y="4060"/>
                    </a:lnTo>
                    <a:lnTo>
                      <a:pt x="643" y="4073"/>
                    </a:lnTo>
                    <a:lnTo>
                      <a:pt x="639" y="4086"/>
                    </a:lnTo>
                    <a:lnTo>
                      <a:pt x="636" y="4100"/>
                    </a:lnTo>
                    <a:lnTo>
                      <a:pt x="634" y="4113"/>
                    </a:lnTo>
                    <a:lnTo>
                      <a:pt x="633" y="4127"/>
                    </a:lnTo>
                    <a:lnTo>
                      <a:pt x="634" y="4141"/>
                    </a:lnTo>
                    <a:lnTo>
                      <a:pt x="636" y="4154"/>
                    </a:lnTo>
                    <a:lnTo>
                      <a:pt x="640" y="4167"/>
                    </a:lnTo>
                    <a:lnTo>
                      <a:pt x="644" y="4180"/>
                    </a:lnTo>
                    <a:lnTo>
                      <a:pt x="650" y="4192"/>
                    </a:lnTo>
                    <a:lnTo>
                      <a:pt x="657" y="4204"/>
                    </a:lnTo>
                    <a:lnTo>
                      <a:pt x="666" y="4216"/>
                    </a:lnTo>
                    <a:lnTo>
                      <a:pt x="675" y="4226"/>
                    </a:lnTo>
                    <a:lnTo>
                      <a:pt x="686" y="4236"/>
                    </a:lnTo>
                    <a:lnTo>
                      <a:pt x="1172" y="4626"/>
                    </a:lnTo>
                    <a:lnTo>
                      <a:pt x="1172" y="4626"/>
                    </a:lnTo>
                    <a:lnTo>
                      <a:pt x="1183" y="4634"/>
                    </a:lnTo>
                    <a:lnTo>
                      <a:pt x="1196" y="4642"/>
                    </a:lnTo>
                    <a:lnTo>
                      <a:pt x="1208" y="4647"/>
                    </a:lnTo>
                    <a:lnTo>
                      <a:pt x="1221" y="4652"/>
                    </a:lnTo>
                    <a:lnTo>
                      <a:pt x="1235" y="4655"/>
                    </a:lnTo>
                    <a:lnTo>
                      <a:pt x="1248" y="4657"/>
                    </a:lnTo>
                    <a:lnTo>
                      <a:pt x="1262" y="4657"/>
                    </a:lnTo>
                    <a:lnTo>
                      <a:pt x="1276" y="4656"/>
                    </a:lnTo>
                    <a:lnTo>
                      <a:pt x="1289" y="4654"/>
                    </a:lnTo>
                    <a:lnTo>
                      <a:pt x="1302" y="4651"/>
                    </a:lnTo>
                    <a:lnTo>
                      <a:pt x="1315" y="4646"/>
                    </a:lnTo>
                    <a:lnTo>
                      <a:pt x="1328" y="4640"/>
                    </a:lnTo>
                    <a:lnTo>
                      <a:pt x="1339" y="4633"/>
                    </a:lnTo>
                    <a:lnTo>
                      <a:pt x="1351" y="4625"/>
                    </a:lnTo>
                    <a:lnTo>
                      <a:pt x="1361" y="4615"/>
                    </a:lnTo>
                    <a:lnTo>
                      <a:pt x="1371" y="4604"/>
                    </a:lnTo>
                    <a:lnTo>
                      <a:pt x="1630" y="4283"/>
                    </a:lnTo>
                    <a:lnTo>
                      <a:pt x="1630" y="4283"/>
                    </a:lnTo>
                    <a:lnTo>
                      <a:pt x="1639" y="4272"/>
                    </a:lnTo>
                    <a:lnTo>
                      <a:pt x="1650" y="4262"/>
                    </a:lnTo>
                    <a:lnTo>
                      <a:pt x="1662" y="4252"/>
                    </a:lnTo>
                    <a:lnTo>
                      <a:pt x="1675" y="4244"/>
                    </a:lnTo>
                    <a:lnTo>
                      <a:pt x="1688" y="4236"/>
                    </a:lnTo>
                    <a:lnTo>
                      <a:pt x="1702" y="4229"/>
                    </a:lnTo>
                    <a:lnTo>
                      <a:pt x="1717" y="4223"/>
                    </a:lnTo>
                    <a:lnTo>
                      <a:pt x="1732" y="4219"/>
                    </a:lnTo>
                    <a:lnTo>
                      <a:pt x="1747" y="4215"/>
                    </a:lnTo>
                    <a:lnTo>
                      <a:pt x="1762" y="4212"/>
                    </a:lnTo>
                    <a:lnTo>
                      <a:pt x="1778" y="4210"/>
                    </a:lnTo>
                    <a:lnTo>
                      <a:pt x="1793" y="4210"/>
                    </a:lnTo>
                    <a:lnTo>
                      <a:pt x="1809" y="4210"/>
                    </a:lnTo>
                    <a:lnTo>
                      <a:pt x="1824" y="4212"/>
                    </a:lnTo>
                    <a:lnTo>
                      <a:pt x="1838" y="4215"/>
                    </a:lnTo>
                    <a:lnTo>
                      <a:pt x="1852" y="4219"/>
                    </a:lnTo>
                    <a:lnTo>
                      <a:pt x="2295" y="4319"/>
                    </a:lnTo>
                    <a:lnTo>
                      <a:pt x="2295" y="4319"/>
                    </a:lnTo>
                    <a:lnTo>
                      <a:pt x="2309" y="4322"/>
                    </a:lnTo>
                    <a:lnTo>
                      <a:pt x="2324" y="4326"/>
                    </a:lnTo>
                    <a:lnTo>
                      <a:pt x="2338" y="4331"/>
                    </a:lnTo>
                    <a:lnTo>
                      <a:pt x="2352" y="4337"/>
                    </a:lnTo>
                    <a:lnTo>
                      <a:pt x="2366" y="4345"/>
                    </a:lnTo>
                    <a:lnTo>
                      <a:pt x="2379" y="4353"/>
                    </a:lnTo>
                    <a:lnTo>
                      <a:pt x="2391" y="4363"/>
                    </a:lnTo>
                    <a:lnTo>
                      <a:pt x="2403" y="4373"/>
                    </a:lnTo>
                    <a:lnTo>
                      <a:pt x="2415" y="4384"/>
                    </a:lnTo>
                    <a:lnTo>
                      <a:pt x="2425" y="4396"/>
                    </a:lnTo>
                    <a:lnTo>
                      <a:pt x="2435" y="4408"/>
                    </a:lnTo>
                    <a:lnTo>
                      <a:pt x="2443" y="4421"/>
                    </a:lnTo>
                    <a:lnTo>
                      <a:pt x="2451" y="4434"/>
                    </a:lnTo>
                    <a:lnTo>
                      <a:pt x="2457" y="4448"/>
                    </a:lnTo>
                    <a:lnTo>
                      <a:pt x="2464" y="4462"/>
                    </a:lnTo>
                    <a:lnTo>
                      <a:pt x="2468" y="4476"/>
                    </a:lnTo>
                    <a:lnTo>
                      <a:pt x="2558" y="4880"/>
                    </a:lnTo>
                    <a:lnTo>
                      <a:pt x="2558" y="4880"/>
                    </a:lnTo>
                    <a:lnTo>
                      <a:pt x="2562" y="4894"/>
                    </a:lnTo>
                    <a:lnTo>
                      <a:pt x="2567" y="4907"/>
                    </a:lnTo>
                    <a:lnTo>
                      <a:pt x="2574" y="4919"/>
                    </a:lnTo>
                    <a:lnTo>
                      <a:pt x="2581" y="4931"/>
                    </a:lnTo>
                    <a:lnTo>
                      <a:pt x="2590" y="4942"/>
                    </a:lnTo>
                    <a:lnTo>
                      <a:pt x="2600" y="4952"/>
                    </a:lnTo>
                    <a:lnTo>
                      <a:pt x="2610" y="4960"/>
                    </a:lnTo>
                    <a:lnTo>
                      <a:pt x="2621" y="4968"/>
                    </a:lnTo>
                    <a:lnTo>
                      <a:pt x="2633" y="4975"/>
                    </a:lnTo>
                    <a:lnTo>
                      <a:pt x="2645" y="4981"/>
                    </a:lnTo>
                    <a:lnTo>
                      <a:pt x="2658" y="4985"/>
                    </a:lnTo>
                    <a:lnTo>
                      <a:pt x="2672" y="4988"/>
                    </a:lnTo>
                    <a:lnTo>
                      <a:pt x="2685" y="4990"/>
                    </a:lnTo>
                    <a:lnTo>
                      <a:pt x="2699" y="4990"/>
                    </a:lnTo>
                    <a:lnTo>
                      <a:pt x="2714" y="4989"/>
                    </a:lnTo>
                    <a:lnTo>
                      <a:pt x="2728" y="4987"/>
                    </a:lnTo>
                    <a:lnTo>
                      <a:pt x="3336" y="4850"/>
                    </a:lnTo>
                    <a:lnTo>
                      <a:pt x="3336" y="4850"/>
                    </a:lnTo>
                    <a:lnTo>
                      <a:pt x="3350" y="4846"/>
                    </a:lnTo>
                    <a:lnTo>
                      <a:pt x="3363" y="4841"/>
                    </a:lnTo>
                    <a:lnTo>
                      <a:pt x="3376" y="4835"/>
                    </a:lnTo>
                    <a:lnTo>
                      <a:pt x="3387" y="4827"/>
                    </a:lnTo>
                    <a:lnTo>
                      <a:pt x="3398" y="4819"/>
                    </a:lnTo>
                    <a:lnTo>
                      <a:pt x="3408" y="4809"/>
                    </a:lnTo>
                    <a:lnTo>
                      <a:pt x="3417" y="4799"/>
                    </a:lnTo>
                    <a:lnTo>
                      <a:pt x="3425" y="4787"/>
                    </a:lnTo>
                    <a:lnTo>
                      <a:pt x="3431" y="4776"/>
                    </a:lnTo>
                    <a:lnTo>
                      <a:pt x="3437" y="4763"/>
                    </a:lnTo>
                    <a:lnTo>
                      <a:pt x="3441" y="4750"/>
                    </a:lnTo>
                    <a:lnTo>
                      <a:pt x="3444" y="4737"/>
                    </a:lnTo>
                    <a:lnTo>
                      <a:pt x="3446" y="4723"/>
                    </a:lnTo>
                    <a:lnTo>
                      <a:pt x="3447" y="4709"/>
                    </a:lnTo>
                    <a:lnTo>
                      <a:pt x="3446" y="4695"/>
                    </a:lnTo>
                    <a:lnTo>
                      <a:pt x="3443" y="4681"/>
                    </a:lnTo>
                    <a:lnTo>
                      <a:pt x="3352" y="4278"/>
                    </a:lnTo>
                    <a:lnTo>
                      <a:pt x="3352" y="4278"/>
                    </a:lnTo>
                    <a:lnTo>
                      <a:pt x="3350" y="4263"/>
                    </a:lnTo>
                    <a:lnTo>
                      <a:pt x="3349" y="4248"/>
                    </a:lnTo>
                    <a:lnTo>
                      <a:pt x="3349" y="4233"/>
                    </a:lnTo>
                    <a:lnTo>
                      <a:pt x="3350" y="4218"/>
                    </a:lnTo>
                    <a:lnTo>
                      <a:pt x="3352" y="4203"/>
                    </a:lnTo>
                    <a:lnTo>
                      <a:pt x="3356" y="4187"/>
                    </a:lnTo>
                    <a:lnTo>
                      <a:pt x="3360" y="4172"/>
                    </a:lnTo>
                    <a:lnTo>
                      <a:pt x="3366" y="4158"/>
                    </a:lnTo>
                    <a:lnTo>
                      <a:pt x="3372" y="4143"/>
                    </a:lnTo>
                    <a:lnTo>
                      <a:pt x="3379" y="4129"/>
                    </a:lnTo>
                    <a:lnTo>
                      <a:pt x="3388" y="4116"/>
                    </a:lnTo>
                    <a:lnTo>
                      <a:pt x="3397" y="4103"/>
                    </a:lnTo>
                    <a:lnTo>
                      <a:pt x="3407" y="4092"/>
                    </a:lnTo>
                    <a:lnTo>
                      <a:pt x="3417" y="4081"/>
                    </a:lnTo>
                    <a:lnTo>
                      <a:pt x="3429" y="4071"/>
                    </a:lnTo>
                    <a:lnTo>
                      <a:pt x="3441" y="4063"/>
                    </a:lnTo>
                    <a:lnTo>
                      <a:pt x="3795" y="3783"/>
                    </a:lnTo>
                    <a:lnTo>
                      <a:pt x="3795" y="3783"/>
                    </a:lnTo>
                    <a:lnTo>
                      <a:pt x="3806" y="3773"/>
                    </a:lnTo>
                    <a:lnTo>
                      <a:pt x="3818" y="3764"/>
                    </a:lnTo>
                    <a:lnTo>
                      <a:pt x="3831" y="3756"/>
                    </a:lnTo>
                    <a:lnTo>
                      <a:pt x="3845" y="3749"/>
                    </a:lnTo>
                    <a:lnTo>
                      <a:pt x="3859" y="3743"/>
                    </a:lnTo>
                    <a:lnTo>
                      <a:pt x="3874" y="3738"/>
                    </a:lnTo>
                    <a:lnTo>
                      <a:pt x="3889" y="3734"/>
                    </a:lnTo>
                    <a:lnTo>
                      <a:pt x="3905" y="3731"/>
                    </a:lnTo>
                    <a:lnTo>
                      <a:pt x="3920" y="3729"/>
                    </a:lnTo>
                    <a:lnTo>
                      <a:pt x="3936" y="3728"/>
                    </a:lnTo>
                    <a:lnTo>
                      <a:pt x="3952" y="3728"/>
                    </a:lnTo>
                    <a:lnTo>
                      <a:pt x="3967" y="3730"/>
                    </a:lnTo>
                    <a:lnTo>
                      <a:pt x="3982" y="3732"/>
                    </a:lnTo>
                    <a:lnTo>
                      <a:pt x="3997" y="3735"/>
                    </a:lnTo>
                    <a:lnTo>
                      <a:pt x="4011" y="3740"/>
                    </a:lnTo>
                    <a:lnTo>
                      <a:pt x="4024" y="3746"/>
                    </a:lnTo>
                    <a:lnTo>
                      <a:pt x="4396" y="3926"/>
                    </a:lnTo>
                    <a:lnTo>
                      <a:pt x="4396" y="3926"/>
                    </a:lnTo>
                    <a:lnTo>
                      <a:pt x="4409" y="3932"/>
                    </a:lnTo>
                    <a:lnTo>
                      <a:pt x="4423" y="3936"/>
                    </a:lnTo>
                    <a:lnTo>
                      <a:pt x="4436" y="3939"/>
                    </a:lnTo>
                    <a:lnTo>
                      <a:pt x="4450" y="3940"/>
                    </a:lnTo>
                    <a:lnTo>
                      <a:pt x="4464" y="3940"/>
                    </a:lnTo>
                    <a:lnTo>
                      <a:pt x="4477" y="3939"/>
                    </a:lnTo>
                    <a:lnTo>
                      <a:pt x="4491" y="3936"/>
                    </a:lnTo>
                    <a:lnTo>
                      <a:pt x="4504" y="3932"/>
                    </a:lnTo>
                    <a:lnTo>
                      <a:pt x="4516" y="3927"/>
                    </a:lnTo>
                    <a:lnTo>
                      <a:pt x="4529" y="3921"/>
                    </a:lnTo>
                    <a:lnTo>
                      <a:pt x="4540" y="3914"/>
                    </a:lnTo>
                    <a:lnTo>
                      <a:pt x="4551" y="3905"/>
                    </a:lnTo>
                    <a:lnTo>
                      <a:pt x="4561" y="3896"/>
                    </a:lnTo>
                    <a:lnTo>
                      <a:pt x="4570" y="3885"/>
                    </a:lnTo>
                    <a:lnTo>
                      <a:pt x="4578" y="3873"/>
                    </a:lnTo>
                    <a:lnTo>
                      <a:pt x="4585" y="3860"/>
                    </a:lnTo>
                    <a:lnTo>
                      <a:pt x="4857" y="3300"/>
                    </a:lnTo>
                    <a:lnTo>
                      <a:pt x="4857" y="3300"/>
                    </a:lnTo>
                    <a:lnTo>
                      <a:pt x="4863" y="3286"/>
                    </a:lnTo>
                    <a:lnTo>
                      <a:pt x="4867" y="3273"/>
                    </a:lnTo>
                    <a:lnTo>
                      <a:pt x="4870" y="3259"/>
                    </a:lnTo>
                    <a:lnTo>
                      <a:pt x="4871" y="3245"/>
                    </a:lnTo>
                    <a:lnTo>
                      <a:pt x="4872" y="3231"/>
                    </a:lnTo>
                    <a:lnTo>
                      <a:pt x="4870" y="3218"/>
                    </a:lnTo>
                    <a:lnTo>
                      <a:pt x="4868" y="3204"/>
                    </a:lnTo>
                    <a:lnTo>
                      <a:pt x="4864" y="3191"/>
                    </a:lnTo>
                    <a:lnTo>
                      <a:pt x="4859" y="3179"/>
                    </a:lnTo>
                    <a:lnTo>
                      <a:pt x="4853" y="3167"/>
                    </a:lnTo>
                    <a:lnTo>
                      <a:pt x="4845" y="3155"/>
                    </a:lnTo>
                    <a:lnTo>
                      <a:pt x="4837" y="3144"/>
                    </a:lnTo>
                    <a:lnTo>
                      <a:pt x="4827" y="3134"/>
                    </a:lnTo>
                    <a:lnTo>
                      <a:pt x="4816" y="3125"/>
                    </a:lnTo>
                    <a:lnTo>
                      <a:pt x="4805" y="3117"/>
                    </a:lnTo>
                    <a:lnTo>
                      <a:pt x="4792" y="3110"/>
                    </a:lnTo>
                    <a:lnTo>
                      <a:pt x="4421" y="2930"/>
                    </a:lnTo>
                    <a:lnTo>
                      <a:pt x="4421" y="2930"/>
                    </a:lnTo>
                    <a:lnTo>
                      <a:pt x="4408" y="2923"/>
                    </a:lnTo>
                    <a:lnTo>
                      <a:pt x="4396" y="2915"/>
                    </a:lnTo>
                    <a:lnTo>
                      <a:pt x="4384" y="2905"/>
                    </a:lnTo>
                    <a:lnTo>
                      <a:pt x="4373" y="2895"/>
                    </a:lnTo>
                    <a:lnTo>
                      <a:pt x="4363" y="2884"/>
                    </a:lnTo>
                    <a:lnTo>
                      <a:pt x="4354" y="2872"/>
                    </a:lnTo>
                    <a:lnTo>
                      <a:pt x="4345" y="2859"/>
                    </a:lnTo>
                    <a:lnTo>
                      <a:pt x="4338" y="2845"/>
                    </a:lnTo>
                    <a:lnTo>
                      <a:pt x="4331" y="2831"/>
                    </a:lnTo>
                    <a:lnTo>
                      <a:pt x="4325" y="2817"/>
                    </a:lnTo>
                    <a:lnTo>
                      <a:pt x="4321" y="2802"/>
                    </a:lnTo>
                    <a:lnTo>
                      <a:pt x="4317" y="2787"/>
                    </a:lnTo>
                    <a:lnTo>
                      <a:pt x="4315" y="2772"/>
                    </a:lnTo>
                    <a:lnTo>
                      <a:pt x="4314" y="2758"/>
                    </a:lnTo>
                    <a:lnTo>
                      <a:pt x="4314" y="2743"/>
                    </a:lnTo>
                    <a:lnTo>
                      <a:pt x="4316" y="2728"/>
                    </a:lnTo>
                    <a:lnTo>
                      <a:pt x="4316" y="2728"/>
                    </a:lnTo>
                    <a:lnTo>
                      <a:pt x="4318" y="2710"/>
                    </a:lnTo>
                    <a:lnTo>
                      <a:pt x="4323" y="2662"/>
                    </a:lnTo>
                    <a:lnTo>
                      <a:pt x="4326" y="2629"/>
                    </a:lnTo>
                    <a:lnTo>
                      <a:pt x="4329" y="2590"/>
                    </a:lnTo>
                    <a:lnTo>
                      <a:pt x="4331" y="2548"/>
                    </a:lnTo>
                    <a:lnTo>
                      <a:pt x="4332" y="2502"/>
                    </a:lnTo>
                    <a:lnTo>
                      <a:pt x="4332" y="2502"/>
                    </a:lnTo>
                    <a:close/>
                    <a:moveTo>
                      <a:pt x="3788" y="2500"/>
                    </a:moveTo>
                    <a:lnTo>
                      <a:pt x="3788" y="2500"/>
                    </a:lnTo>
                    <a:lnTo>
                      <a:pt x="3787" y="2533"/>
                    </a:lnTo>
                    <a:lnTo>
                      <a:pt x="3786" y="2567"/>
                    </a:lnTo>
                    <a:lnTo>
                      <a:pt x="3784" y="2600"/>
                    </a:lnTo>
                    <a:lnTo>
                      <a:pt x="3780" y="2633"/>
                    </a:lnTo>
                    <a:lnTo>
                      <a:pt x="3777" y="2666"/>
                    </a:lnTo>
                    <a:lnTo>
                      <a:pt x="3772" y="2698"/>
                    </a:lnTo>
                    <a:lnTo>
                      <a:pt x="3767" y="2730"/>
                    </a:lnTo>
                    <a:lnTo>
                      <a:pt x="3760" y="2762"/>
                    </a:lnTo>
                    <a:lnTo>
                      <a:pt x="3753" y="2794"/>
                    </a:lnTo>
                    <a:lnTo>
                      <a:pt x="3746" y="2825"/>
                    </a:lnTo>
                    <a:lnTo>
                      <a:pt x="3737" y="2856"/>
                    </a:lnTo>
                    <a:lnTo>
                      <a:pt x="3728" y="2887"/>
                    </a:lnTo>
                    <a:lnTo>
                      <a:pt x="3718" y="2917"/>
                    </a:lnTo>
                    <a:lnTo>
                      <a:pt x="3707" y="2947"/>
                    </a:lnTo>
                    <a:lnTo>
                      <a:pt x="3696" y="2977"/>
                    </a:lnTo>
                    <a:lnTo>
                      <a:pt x="3684" y="3006"/>
                    </a:lnTo>
                    <a:lnTo>
                      <a:pt x="3671" y="3035"/>
                    </a:lnTo>
                    <a:lnTo>
                      <a:pt x="3657" y="3064"/>
                    </a:lnTo>
                    <a:lnTo>
                      <a:pt x="3643" y="3092"/>
                    </a:lnTo>
                    <a:lnTo>
                      <a:pt x="3628" y="3120"/>
                    </a:lnTo>
                    <a:lnTo>
                      <a:pt x="3613" y="3147"/>
                    </a:lnTo>
                    <a:lnTo>
                      <a:pt x="3597" y="3174"/>
                    </a:lnTo>
                    <a:lnTo>
                      <a:pt x="3580" y="3201"/>
                    </a:lnTo>
                    <a:lnTo>
                      <a:pt x="3563" y="3227"/>
                    </a:lnTo>
                    <a:lnTo>
                      <a:pt x="3545" y="3252"/>
                    </a:lnTo>
                    <a:lnTo>
                      <a:pt x="3526" y="3278"/>
                    </a:lnTo>
                    <a:lnTo>
                      <a:pt x="3507" y="3302"/>
                    </a:lnTo>
                    <a:lnTo>
                      <a:pt x="3487" y="3327"/>
                    </a:lnTo>
                    <a:lnTo>
                      <a:pt x="3467" y="3350"/>
                    </a:lnTo>
                    <a:lnTo>
                      <a:pt x="3446" y="3374"/>
                    </a:lnTo>
                    <a:lnTo>
                      <a:pt x="3425" y="3396"/>
                    </a:lnTo>
                    <a:lnTo>
                      <a:pt x="3403" y="3419"/>
                    </a:lnTo>
                    <a:lnTo>
                      <a:pt x="3381" y="3440"/>
                    </a:lnTo>
                    <a:lnTo>
                      <a:pt x="3358" y="3462"/>
                    </a:lnTo>
                    <a:lnTo>
                      <a:pt x="3334" y="3482"/>
                    </a:lnTo>
                    <a:lnTo>
                      <a:pt x="3310" y="3502"/>
                    </a:lnTo>
                    <a:lnTo>
                      <a:pt x="3286" y="3522"/>
                    </a:lnTo>
                    <a:lnTo>
                      <a:pt x="3261" y="3541"/>
                    </a:lnTo>
                    <a:lnTo>
                      <a:pt x="3236" y="3559"/>
                    </a:lnTo>
                    <a:lnTo>
                      <a:pt x="3210" y="3577"/>
                    </a:lnTo>
                    <a:lnTo>
                      <a:pt x="3184" y="3594"/>
                    </a:lnTo>
                    <a:lnTo>
                      <a:pt x="3157" y="3611"/>
                    </a:lnTo>
                    <a:lnTo>
                      <a:pt x="3130" y="3626"/>
                    </a:lnTo>
                    <a:lnTo>
                      <a:pt x="3102" y="3642"/>
                    </a:lnTo>
                    <a:lnTo>
                      <a:pt x="3074" y="3656"/>
                    </a:lnTo>
                    <a:lnTo>
                      <a:pt x="3046" y="3670"/>
                    </a:lnTo>
                    <a:lnTo>
                      <a:pt x="3017" y="3683"/>
                    </a:lnTo>
                    <a:lnTo>
                      <a:pt x="2988" y="3696"/>
                    </a:lnTo>
                    <a:lnTo>
                      <a:pt x="2959" y="3708"/>
                    </a:lnTo>
                    <a:lnTo>
                      <a:pt x="2929" y="3719"/>
                    </a:lnTo>
                    <a:lnTo>
                      <a:pt x="2899" y="3730"/>
                    </a:lnTo>
                    <a:lnTo>
                      <a:pt x="2868" y="3739"/>
                    </a:lnTo>
                    <a:lnTo>
                      <a:pt x="2838" y="3748"/>
                    </a:lnTo>
                    <a:lnTo>
                      <a:pt x="2807" y="3757"/>
                    </a:lnTo>
                    <a:lnTo>
                      <a:pt x="2775" y="3764"/>
                    </a:lnTo>
                    <a:lnTo>
                      <a:pt x="2744" y="3771"/>
                    </a:lnTo>
                    <a:lnTo>
                      <a:pt x="2712" y="3777"/>
                    </a:lnTo>
                    <a:lnTo>
                      <a:pt x="2679" y="3782"/>
                    </a:lnTo>
                    <a:lnTo>
                      <a:pt x="2647" y="3787"/>
                    </a:lnTo>
                    <a:lnTo>
                      <a:pt x="2614" y="3790"/>
                    </a:lnTo>
                    <a:lnTo>
                      <a:pt x="2581" y="3793"/>
                    </a:lnTo>
                    <a:lnTo>
                      <a:pt x="2548" y="3795"/>
                    </a:lnTo>
                    <a:lnTo>
                      <a:pt x="2515" y="3796"/>
                    </a:lnTo>
                    <a:lnTo>
                      <a:pt x="2481" y="3796"/>
                    </a:lnTo>
                    <a:lnTo>
                      <a:pt x="2481" y="3796"/>
                    </a:lnTo>
                    <a:lnTo>
                      <a:pt x="2446" y="3796"/>
                    </a:lnTo>
                    <a:lnTo>
                      <a:pt x="2413" y="3794"/>
                    </a:lnTo>
                    <a:lnTo>
                      <a:pt x="2380" y="3792"/>
                    </a:lnTo>
                    <a:lnTo>
                      <a:pt x="2347" y="3789"/>
                    </a:lnTo>
                    <a:lnTo>
                      <a:pt x="2314" y="3785"/>
                    </a:lnTo>
                    <a:lnTo>
                      <a:pt x="2282" y="3781"/>
                    </a:lnTo>
                    <a:lnTo>
                      <a:pt x="2250" y="3775"/>
                    </a:lnTo>
                    <a:lnTo>
                      <a:pt x="2218" y="3769"/>
                    </a:lnTo>
                    <a:lnTo>
                      <a:pt x="2186" y="3762"/>
                    </a:lnTo>
                    <a:lnTo>
                      <a:pt x="2155" y="3754"/>
                    </a:lnTo>
                    <a:lnTo>
                      <a:pt x="2124" y="3746"/>
                    </a:lnTo>
                    <a:lnTo>
                      <a:pt x="2093" y="3736"/>
                    </a:lnTo>
                    <a:lnTo>
                      <a:pt x="2063" y="3726"/>
                    </a:lnTo>
                    <a:lnTo>
                      <a:pt x="2033" y="3716"/>
                    </a:lnTo>
                    <a:lnTo>
                      <a:pt x="2003" y="3704"/>
                    </a:lnTo>
                    <a:lnTo>
                      <a:pt x="1974" y="3692"/>
                    </a:lnTo>
                    <a:lnTo>
                      <a:pt x="1945" y="3679"/>
                    </a:lnTo>
                    <a:lnTo>
                      <a:pt x="1916" y="3666"/>
                    </a:lnTo>
                    <a:lnTo>
                      <a:pt x="1888" y="3652"/>
                    </a:lnTo>
                    <a:lnTo>
                      <a:pt x="1860" y="3637"/>
                    </a:lnTo>
                    <a:lnTo>
                      <a:pt x="1833" y="3621"/>
                    </a:lnTo>
                    <a:lnTo>
                      <a:pt x="1806" y="3605"/>
                    </a:lnTo>
                    <a:lnTo>
                      <a:pt x="1779" y="3589"/>
                    </a:lnTo>
                    <a:lnTo>
                      <a:pt x="1753" y="3571"/>
                    </a:lnTo>
                    <a:lnTo>
                      <a:pt x="1728" y="3553"/>
                    </a:lnTo>
                    <a:lnTo>
                      <a:pt x="1702" y="3535"/>
                    </a:lnTo>
                    <a:lnTo>
                      <a:pt x="1678" y="3516"/>
                    </a:lnTo>
                    <a:lnTo>
                      <a:pt x="1653" y="3496"/>
                    </a:lnTo>
                    <a:lnTo>
                      <a:pt x="1630" y="3476"/>
                    </a:lnTo>
                    <a:lnTo>
                      <a:pt x="1606" y="3455"/>
                    </a:lnTo>
                    <a:lnTo>
                      <a:pt x="1584" y="3433"/>
                    </a:lnTo>
                    <a:lnTo>
                      <a:pt x="1561" y="3412"/>
                    </a:lnTo>
                    <a:lnTo>
                      <a:pt x="1540" y="3389"/>
                    </a:lnTo>
                    <a:lnTo>
                      <a:pt x="1518" y="3366"/>
                    </a:lnTo>
                    <a:lnTo>
                      <a:pt x="1498" y="3343"/>
                    </a:lnTo>
                    <a:lnTo>
                      <a:pt x="1478" y="3319"/>
                    </a:lnTo>
                    <a:lnTo>
                      <a:pt x="1458" y="3294"/>
                    </a:lnTo>
                    <a:lnTo>
                      <a:pt x="1439" y="3269"/>
                    </a:lnTo>
                    <a:lnTo>
                      <a:pt x="1421" y="3244"/>
                    </a:lnTo>
                    <a:lnTo>
                      <a:pt x="1403" y="3218"/>
                    </a:lnTo>
                    <a:lnTo>
                      <a:pt x="1386" y="3192"/>
                    </a:lnTo>
                    <a:lnTo>
                      <a:pt x="1370" y="3165"/>
                    </a:lnTo>
                    <a:lnTo>
                      <a:pt x="1354" y="3138"/>
                    </a:lnTo>
                    <a:lnTo>
                      <a:pt x="1338" y="3111"/>
                    </a:lnTo>
                    <a:lnTo>
                      <a:pt x="1324" y="3083"/>
                    </a:lnTo>
                    <a:lnTo>
                      <a:pt x="1310" y="3054"/>
                    </a:lnTo>
                    <a:lnTo>
                      <a:pt x="1297" y="3026"/>
                    </a:lnTo>
                    <a:lnTo>
                      <a:pt x="1284" y="2997"/>
                    </a:lnTo>
                    <a:lnTo>
                      <a:pt x="1272" y="2967"/>
                    </a:lnTo>
                    <a:lnTo>
                      <a:pt x="1261" y="2937"/>
                    </a:lnTo>
                    <a:lnTo>
                      <a:pt x="1250" y="2907"/>
                    </a:lnTo>
                    <a:lnTo>
                      <a:pt x="1241" y="2877"/>
                    </a:lnTo>
                    <a:lnTo>
                      <a:pt x="1232" y="2846"/>
                    </a:lnTo>
                    <a:lnTo>
                      <a:pt x="1223" y="2815"/>
                    </a:lnTo>
                    <a:lnTo>
                      <a:pt x="1216" y="2784"/>
                    </a:lnTo>
                    <a:lnTo>
                      <a:pt x="1209" y="2752"/>
                    </a:lnTo>
                    <a:lnTo>
                      <a:pt x="1203" y="2720"/>
                    </a:lnTo>
                    <a:lnTo>
                      <a:pt x="1198" y="2688"/>
                    </a:lnTo>
                    <a:lnTo>
                      <a:pt x="1194" y="2655"/>
                    </a:lnTo>
                    <a:lnTo>
                      <a:pt x="1190" y="2623"/>
                    </a:lnTo>
                    <a:lnTo>
                      <a:pt x="1187" y="2590"/>
                    </a:lnTo>
                    <a:lnTo>
                      <a:pt x="1185" y="2557"/>
                    </a:lnTo>
                    <a:lnTo>
                      <a:pt x="1184" y="2523"/>
                    </a:lnTo>
                    <a:lnTo>
                      <a:pt x="1184" y="2490"/>
                    </a:lnTo>
                    <a:lnTo>
                      <a:pt x="1184" y="2490"/>
                    </a:lnTo>
                    <a:lnTo>
                      <a:pt x="1184" y="2455"/>
                    </a:lnTo>
                    <a:lnTo>
                      <a:pt x="1186" y="2422"/>
                    </a:lnTo>
                    <a:lnTo>
                      <a:pt x="1188" y="2388"/>
                    </a:lnTo>
                    <a:lnTo>
                      <a:pt x="1191" y="2356"/>
                    </a:lnTo>
                    <a:lnTo>
                      <a:pt x="1195" y="2323"/>
                    </a:lnTo>
                    <a:lnTo>
                      <a:pt x="1199" y="2290"/>
                    </a:lnTo>
                    <a:lnTo>
                      <a:pt x="1205" y="2258"/>
                    </a:lnTo>
                    <a:lnTo>
                      <a:pt x="1211" y="2226"/>
                    </a:lnTo>
                    <a:lnTo>
                      <a:pt x="1218" y="2195"/>
                    </a:lnTo>
                    <a:lnTo>
                      <a:pt x="1226" y="2163"/>
                    </a:lnTo>
                    <a:lnTo>
                      <a:pt x="1234" y="2132"/>
                    </a:lnTo>
                    <a:lnTo>
                      <a:pt x="1244" y="2102"/>
                    </a:lnTo>
                    <a:lnTo>
                      <a:pt x="1254" y="2071"/>
                    </a:lnTo>
                    <a:lnTo>
                      <a:pt x="1264" y="2041"/>
                    </a:lnTo>
                    <a:lnTo>
                      <a:pt x="1276" y="2012"/>
                    </a:lnTo>
                    <a:lnTo>
                      <a:pt x="1288" y="1982"/>
                    </a:lnTo>
                    <a:lnTo>
                      <a:pt x="1301" y="1953"/>
                    </a:lnTo>
                    <a:lnTo>
                      <a:pt x="1314" y="1925"/>
                    </a:lnTo>
                    <a:lnTo>
                      <a:pt x="1328" y="1897"/>
                    </a:lnTo>
                    <a:lnTo>
                      <a:pt x="1343" y="1869"/>
                    </a:lnTo>
                    <a:lnTo>
                      <a:pt x="1359" y="1841"/>
                    </a:lnTo>
                    <a:lnTo>
                      <a:pt x="1375" y="1814"/>
                    </a:lnTo>
                    <a:lnTo>
                      <a:pt x="1391" y="1788"/>
                    </a:lnTo>
                    <a:lnTo>
                      <a:pt x="1409" y="1762"/>
                    </a:lnTo>
                    <a:lnTo>
                      <a:pt x="1427" y="1736"/>
                    </a:lnTo>
                    <a:lnTo>
                      <a:pt x="1445" y="1711"/>
                    </a:lnTo>
                    <a:lnTo>
                      <a:pt x="1464" y="1686"/>
                    </a:lnTo>
                    <a:lnTo>
                      <a:pt x="1484" y="1662"/>
                    </a:lnTo>
                    <a:lnTo>
                      <a:pt x="1504" y="1638"/>
                    </a:lnTo>
                    <a:lnTo>
                      <a:pt x="1525" y="1615"/>
                    </a:lnTo>
                    <a:lnTo>
                      <a:pt x="1547" y="1592"/>
                    </a:lnTo>
                    <a:lnTo>
                      <a:pt x="1569" y="1570"/>
                    </a:lnTo>
                    <a:lnTo>
                      <a:pt x="1591" y="1548"/>
                    </a:lnTo>
                    <a:lnTo>
                      <a:pt x="1614" y="1527"/>
                    </a:lnTo>
                    <a:lnTo>
                      <a:pt x="1637" y="1506"/>
                    </a:lnTo>
                    <a:lnTo>
                      <a:pt x="1661" y="1486"/>
                    </a:lnTo>
                    <a:lnTo>
                      <a:pt x="1686" y="1467"/>
                    </a:lnTo>
                    <a:lnTo>
                      <a:pt x="1711" y="1448"/>
                    </a:lnTo>
                    <a:lnTo>
                      <a:pt x="1736" y="1429"/>
                    </a:lnTo>
                    <a:lnTo>
                      <a:pt x="1762" y="1412"/>
                    </a:lnTo>
                    <a:lnTo>
                      <a:pt x="1788" y="1395"/>
                    </a:lnTo>
                    <a:lnTo>
                      <a:pt x="1815" y="1378"/>
                    </a:lnTo>
                    <a:lnTo>
                      <a:pt x="1842" y="1362"/>
                    </a:lnTo>
                    <a:lnTo>
                      <a:pt x="1869" y="1347"/>
                    </a:lnTo>
                    <a:lnTo>
                      <a:pt x="1897" y="1332"/>
                    </a:lnTo>
                    <a:lnTo>
                      <a:pt x="1926" y="1318"/>
                    </a:lnTo>
                    <a:lnTo>
                      <a:pt x="1954" y="1305"/>
                    </a:lnTo>
                    <a:lnTo>
                      <a:pt x="1983" y="1293"/>
                    </a:lnTo>
                    <a:lnTo>
                      <a:pt x="2013" y="1281"/>
                    </a:lnTo>
                    <a:lnTo>
                      <a:pt x="2043" y="1270"/>
                    </a:lnTo>
                    <a:lnTo>
                      <a:pt x="2073" y="1259"/>
                    </a:lnTo>
                    <a:lnTo>
                      <a:pt x="2103" y="1249"/>
                    </a:lnTo>
                    <a:lnTo>
                      <a:pt x="2134" y="1240"/>
                    </a:lnTo>
                    <a:lnTo>
                      <a:pt x="2165" y="1232"/>
                    </a:lnTo>
                    <a:lnTo>
                      <a:pt x="2196" y="1225"/>
                    </a:lnTo>
                    <a:lnTo>
                      <a:pt x="2228" y="1218"/>
                    </a:lnTo>
                    <a:lnTo>
                      <a:pt x="2260" y="1212"/>
                    </a:lnTo>
                    <a:lnTo>
                      <a:pt x="2292" y="1207"/>
                    </a:lnTo>
                    <a:lnTo>
                      <a:pt x="2325" y="1202"/>
                    </a:lnTo>
                    <a:lnTo>
                      <a:pt x="2357" y="1199"/>
                    </a:lnTo>
                    <a:lnTo>
                      <a:pt x="2390" y="1196"/>
                    </a:lnTo>
                    <a:lnTo>
                      <a:pt x="2424" y="1194"/>
                    </a:lnTo>
                    <a:lnTo>
                      <a:pt x="2457" y="1193"/>
                    </a:lnTo>
                    <a:lnTo>
                      <a:pt x="2492" y="1192"/>
                    </a:lnTo>
                    <a:lnTo>
                      <a:pt x="2492" y="1192"/>
                    </a:lnTo>
                    <a:lnTo>
                      <a:pt x="2525" y="1193"/>
                    </a:lnTo>
                    <a:lnTo>
                      <a:pt x="2558" y="1194"/>
                    </a:lnTo>
                    <a:lnTo>
                      <a:pt x="2592" y="1197"/>
                    </a:lnTo>
                    <a:lnTo>
                      <a:pt x="2625" y="1200"/>
                    </a:lnTo>
                    <a:lnTo>
                      <a:pt x="2657" y="1204"/>
                    </a:lnTo>
                    <a:lnTo>
                      <a:pt x="2690" y="1208"/>
                    </a:lnTo>
                    <a:lnTo>
                      <a:pt x="2722" y="1214"/>
                    </a:lnTo>
                    <a:lnTo>
                      <a:pt x="2754" y="1220"/>
                    </a:lnTo>
                    <a:lnTo>
                      <a:pt x="2785" y="1227"/>
                    </a:lnTo>
                    <a:lnTo>
                      <a:pt x="2817" y="1235"/>
                    </a:lnTo>
                    <a:lnTo>
                      <a:pt x="2848" y="1243"/>
                    </a:lnTo>
                    <a:lnTo>
                      <a:pt x="2878" y="1252"/>
                    </a:lnTo>
                    <a:lnTo>
                      <a:pt x="2909" y="1262"/>
                    </a:lnTo>
                    <a:lnTo>
                      <a:pt x="2939" y="1273"/>
                    </a:lnTo>
                    <a:lnTo>
                      <a:pt x="2968" y="1285"/>
                    </a:lnTo>
                    <a:lnTo>
                      <a:pt x="2998" y="1297"/>
                    </a:lnTo>
                    <a:lnTo>
                      <a:pt x="3027" y="1309"/>
                    </a:lnTo>
                    <a:lnTo>
                      <a:pt x="3055" y="1323"/>
                    </a:lnTo>
                    <a:lnTo>
                      <a:pt x="3083" y="1337"/>
                    </a:lnTo>
                    <a:lnTo>
                      <a:pt x="3111" y="1352"/>
                    </a:lnTo>
                    <a:lnTo>
                      <a:pt x="3139" y="1367"/>
                    </a:lnTo>
                    <a:lnTo>
                      <a:pt x="3166" y="1383"/>
                    </a:lnTo>
                    <a:lnTo>
                      <a:pt x="3192" y="1400"/>
                    </a:lnTo>
                    <a:lnTo>
                      <a:pt x="3218" y="1418"/>
                    </a:lnTo>
                    <a:lnTo>
                      <a:pt x="3244" y="1435"/>
                    </a:lnTo>
                    <a:lnTo>
                      <a:pt x="3269" y="1454"/>
                    </a:lnTo>
                    <a:lnTo>
                      <a:pt x="3294" y="1473"/>
                    </a:lnTo>
                    <a:lnTo>
                      <a:pt x="3318" y="1493"/>
                    </a:lnTo>
                    <a:lnTo>
                      <a:pt x="3342" y="1513"/>
                    </a:lnTo>
                    <a:lnTo>
                      <a:pt x="3365" y="1534"/>
                    </a:lnTo>
                    <a:lnTo>
                      <a:pt x="3388" y="1555"/>
                    </a:lnTo>
                    <a:lnTo>
                      <a:pt x="3410" y="1577"/>
                    </a:lnTo>
                    <a:lnTo>
                      <a:pt x="3432" y="1600"/>
                    </a:lnTo>
                    <a:lnTo>
                      <a:pt x="3453" y="1623"/>
                    </a:lnTo>
                    <a:lnTo>
                      <a:pt x="3474" y="1646"/>
                    </a:lnTo>
                    <a:lnTo>
                      <a:pt x="3494" y="1670"/>
                    </a:lnTo>
                    <a:lnTo>
                      <a:pt x="3513" y="1694"/>
                    </a:lnTo>
                    <a:lnTo>
                      <a:pt x="3532" y="1719"/>
                    </a:lnTo>
                    <a:lnTo>
                      <a:pt x="3551" y="1745"/>
                    </a:lnTo>
                    <a:lnTo>
                      <a:pt x="3568" y="1770"/>
                    </a:lnTo>
                    <a:lnTo>
                      <a:pt x="3585" y="1797"/>
                    </a:lnTo>
                    <a:lnTo>
                      <a:pt x="3602" y="1823"/>
                    </a:lnTo>
                    <a:lnTo>
                      <a:pt x="3618" y="1850"/>
                    </a:lnTo>
                    <a:lnTo>
                      <a:pt x="3633" y="1878"/>
                    </a:lnTo>
                    <a:lnTo>
                      <a:pt x="3648" y="1906"/>
                    </a:lnTo>
                    <a:lnTo>
                      <a:pt x="3662" y="1934"/>
                    </a:lnTo>
                    <a:lnTo>
                      <a:pt x="3675" y="1963"/>
                    </a:lnTo>
                    <a:lnTo>
                      <a:pt x="3687" y="1992"/>
                    </a:lnTo>
                    <a:lnTo>
                      <a:pt x="3699" y="2021"/>
                    </a:lnTo>
                    <a:lnTo>
                      <a:pt x="3711" y="2051"/>
                    </a:lnTo>
                    <a:lnTo>
                      <a:pt x="3721" y="2081"/>
                    </a:lnTo>
                    <a:lnTo>
                      <a:pt x="3731" y="2112"/>
                    </a:lnTo>
                    <a:lnTo>
                      <a:pt x="3740" y="2142"/>
                    </a:lnTo>
                    <a:lnTo>
                      <a:pt x="3748" y="2173"/>
                    </a:lnTo>
                    <a:lnTo>
                      <a:pt x="3756" y="2205"/>
                    </a:lnTo>
                    <a:lnTo>
                      <a:pt x="3762" y="2236"/>
                    </a:lnTo>
                    <a:lnTo>
                      <a:pt x="3768" y="2268"/>
                    </a:lnTo>
                    <a:lnTo>
                      <a:pt x="3773" y="2301"/>
                    </a:lnTo>
                    <a:lnTo>
                      <a:pt x="3778" y="2333"/>
                    </a:lnTo>
                    <a:lnTo>
                      <a:pt x="3781" y="2366"/>
                    </a:lnTo>
                    <a:lnTo>
                      <a:pt x="3784" y="2399"/>
                    </a:lnTo>
                    <a:lnTo>
                      <a:pt x="3786" y="2432"/>
                    </a:lnTo>
                    <a:lnTo>
                      <a:pt x="3787" y="2466"/>
                    </a:lnTo>
                    <a:lnTo>
                      <a:pt x="3788" y="2500"/>
                    </a:lnTo>
                    <a:lnTo>
                      <a:pt x="3788" y="250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61" tIns="45731" rIns="91461" bIns="45731" numCol="1" anchor="t" anchorCtr="0" compatLnSpc="1">
                <a:prstTxWarp prst="textNoShape">
                  <a:avLst/>
                </a:prstTxWarp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b="1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</p:grpSp>
      <p:pic>
        <p:nvPicPr>
          <p:cNvPr id="195" name="Picture 211">
            <a:extLst>
              <a:ext uri="{FF2B5EF4-FFF2-40B4-BE49-F238E27FC236}">
                <a16:creationId xmlns:a16="http://schemas.microsoft.com/office/drawing/2014/main" id="{28CAF498-DC82-40C4-BAA3-0AE70D28889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276217" y="2272385"/>
            <a:ext cx="408461" cy="522590"/>
          </a:xfrm>
          <a:prstGeom prst="rect">
            <a:avLst/>
          </a:prstGeom>
        </p:spPr>
      </p:pic>
      <p:pic>
        <p:nvPicPr>
          <p:cNvPr id="196" name="Picture 210">
            <a:extLst>
              <a:ext uri="{FF2B5EF4-FFF2-40B4-BE49-F238E27FC236}">
                <a16:creationId xmlns:a16="http://schemas.microsoft.com/office/drawing/2014/main" id="{EFD14DE2-E689-41EA-A8D6-89C10197971A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48211" y="2499575"/>
            <a:ext cx="408461" cy="522590"/>
          </a:xfrm>
          <a:prstGeom prst="rect">
            <a:avLst/>
          </a:prstGeom>
        </p:spPr>
      </p:pic>
      <p:pic>
        <p:nvPicPr>
          <p:cNvPr id="197" name="Picture 209">
            <a:extLst>
              <a:ext uri="{FF2B5EF4-FFF2-40B4-BE49-F238E27FC236}">
                <a16:creationId xmlns:a16="http://schemas.microsoft.com/office/drawing/2014/main" id="{273EBD5B-8443-4B59-9D7E-4672DEB72A5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961760" y="2756166"/>
            <a:ext cx="408461" cy="522590"/>
          </a:xfrm>
          <a:prstGeom prst="rect">
            <a:avLst/>
          </a:prstGeom>
        </p:spPr>
      </p:pic>
      <p:grpSp>
        <p:nvGrpSpPr>
          <p:cNvPr id="199" name="SAGD, Siemens, healthineers, evolve">
            <a:extLst>
              <a:ext uri="{FF2B5EF4-FFF2-40B4-BE49-F238E27FC236}">
                <a16:creationId xmlns:a16="http://schemas.microsoft.com/office/drawing/2014/main" id="{C4FE6D27-8934-4EF8-8020-4C817DC84EA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229806" y="3121270"/>
            <a:ext cx="233697" cy="234192"/>
            <a:chOff x="1188" y="1252"/>
            <a:chExt cx="2268" cy="2268"/>
          </a:xfrm>
        </p:grpSpPr>
        <p:sp>
          <p:nvSpPr>
            <p:cNvPr id="200" name="AutoShape 4">
              <a:extLst>
                <a:ext uri="{FF2B5EF4-FFF2-40B4-BE49-F238E27FC236}">
                  <a16:creationId xmlns:a16="http://schemas.microsoft.com/office/drawing/2014/main" id="{42B8CBE3-2EFB-4C32-81FB-1D6C51B9A01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1188" y="1252"/>
              <a:ext cx="2268" cy="2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201" name="Freeform 6">
              <a:extLst>
                <a:ext uri="{FF2B5EF4-FFF2-40B4-BE49-F238E27FC236}">
                  <a16:creationId xmlns:a16="http://schemas.microsoft.com/office/drawing/2014/main" id="{32FBD3F8-1DB5-4D26-BD41-C2B23EC2D7C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8" y="1252"/>
              <a:ext cx="2268" cy="2268"/>
            </a:xfrm>
            <a:custGeom>
              <a:avLst/>
              <a:gdLst/>
              <a:ahLst/>
              <a:cxnLst>
                <a:cxn ang="0">
                  <a:pos x="11317" y="6179"/>
                </a:cxn>
                <a:cxn ang="0">
                  <a:pos x="11224" y="6813"/>
                </a:cxn>
                <a:cxn ang="0">
                  <a:pos x="11064" y="7423"/>
                </a:cxn>
                <a:cxn ang="0">
                  <a:pos x="10839" y="8004"/>
                </a:cxn>
                <a:cxn ang="0">
                  <a:pos x="10554" y="8552"/>
                </a:cxn>
                <a:cxn ang="0">
                  <a:pos x="10213" y="9063"/>
                </a:cxn>
                <a:cxn ang="0">
                  <a:pos x="9821" y="9533"/>
                </a:cxn>
                <a:cxn ang="0">
                  <a:pos x="9380" y="9958"/>
                </a:cxn>
                <a:cxn ang="0">
                  <a:pos x="8896" y="10333"/>
                </a:cxn>
                <a:cxn ang="0">
                  <a:pos x="8373" y="10656"/>
                </a:cxn>
                <a:cxn ang="0">
                  <a:pos x="7813" y="10921"/>
                </a:cxn>
                <a:cxn ang="0">
                  <a:pos x="7222" y="11125"/>
                </a:cxn>
                <a:cxn ang="0">
                  <a:pos x="6604" y="11264"/>
                </a:cxn>
                <a:cxn ang="0">
                  <a:pos x="5962" y="11333"/>
                </a:cxn>
                <a:cxn ang="0">
                  <a:pos x="5378" y="11333"/>
                </a:cxn>
                <a:cxn ang="0">
                  <a:pos x="4736" y="11264"/>
                </a:cxn>
                <a:cxn ang="0">
                  <a:pos x="4117" y="11125"/>
                </a:cxn>
                <a:cxn ang="0">
                  <a:pos x="3526" y="10921"/>
                </a:cxn>
                <a:cxn ang="0">
                  <a:pos x="2967" y="10656"/>
                </a:cxn>
                <a:cxn ang="0">
                  <a:pos x="2443" y="10333"/>
                </a:cxn>
                <a:cxn ang="0">
                  <a:pos x="1959" y="9958"/>
                </a:cxn>
                <a:cxn ang="0">
                  <a:pos x="1519" y="9533"/>
                </a:cxn>
                <a:cxn ang="0">
                  <a:pos x="1126" y="9063"/>
                </a:cxn>
                <a:cxn ang="0">
                  <a:pos x="785" y="8552"/>
                </a:cxn>
                <a:cxn ang="0">
                  <a:pos x="501" y="8004"/>
                </a:cxn>
                <a:cxn ang="0">
                  <a:pos x="276" y="7423"/>
                </a:cxn>
                <a:cxn ang="0">
                  <a:pos x="115" y="6813"/>
                </a:cxn>
                <a:cxn ang="0">
                  <a:pos x="22" y="6179"/>
                </a:cxn>
                <a:cxn ang="0">
                  <a:pos x="0" y="5596"/>
                </a:cxn>
                <a:cxn ang="0">
                  <a:pos x="45" y="4948"/>
                </a:cxn>
                <a:cxn ang="0">
                  <a:pos x="161" y="4321"/>
                </a:cxn>
                <a:cxn ang="0">
                  <a:pos x="344" y="3720"/>
                </a:cxn>
                <a:cxn ang="0">
                  <a:pos x="589" y="3150"/>
                </a:cxn>
                <a:cxn ang="0">
                  <a:pos x="893" y="2614"/>
                </a:cxn>
                <a:cxn ang="0">
                  <a:pos x="1251" y="2116"/>
                </a:cxn>
                <a:cxn ang="0">
                  <a:pos x="1660" y="1661"/>
                </a:cxn>
                <a:cxn ang="0">
                  <a:pos x="2116" y="1252"/>
                </a:cxn>
                <a:cxn ang="0">
                  <a:pos x="2613" y="893"/>
                </a:cxn>
                <a:cxn ang="0">
                  <a:pos x="3150" y="589"/>
                </a:cxn>
                <a:cxn ang="0">
                  <a:pos x="3720" y="344"/>
                </a:cxn>
                <a:cxn ang="0">
                  <a:pos x="4320" y="162"/>
                </a:cxn>
                <a:cxn ang="0">
                  <a:pos x="4947" y="46"/>
                </a:cxn>
                <a:cxn ang="0">
                  <a:pos x="5596" y="1"/>
                </a:cxn>
                <a:cxn ang="0">
                  <a:pos x="6178" y="23"/>
                </a:cxn>
                <a:cxn ang="0">
                  <a:pos x="6813" y="115"/>
                </a:cxn>
                <a:cxn ang="0">
                  <a:pos x="7423" y="276"/>
                </a:cxn>
                <a:cxn ang="0">
                  <a:pos x="8003" y="501"/>
                </a:cxn>
                <a:cxn ang="0">
                  <a:pos x="8551" y="786"/>
                </a:cxn>
                <a:cxn ang="0">
                  <a:pos x="9062" y="1126"/>
                </a:cxn>
                <a:cxn ang="0">
                  <a:pos x="9532" y="1519"/>
                </a:cxn>
                <a:cxn ang="0">
                  <a:pos x="9957" y="1959"/>
                </a:cxn>
                <a:cxn ang="0">
                  <a:pos x="10333" y="2443"/>
                </a:cxn>
                <a:cxn ang="0">
                  <a:pos x="10655" y="2967"/>
                </a:cxn>
                <a:cxn ang="0">
                  <a:pos x="10921" y="3527"/>
                </a:cxn>
                <a:cxn ang="0">
                  <a:pos x="11124" y="4118"/>
                </a:cxn>
                <a:cxn ang="0">
                  <a:pos x="11263" y="4736"/>
                </a:cxn>
                <a:cxn ang="0">
                  <a:pos x="11332" y="5378"/>
                </a:cxn>
              </a:cxnLst>
              <a:rect l="0" t="0" r="r" b="b"/>
              <a:pathLst>
                <a:path w="11340" h="11340">
                  <a:moveTo>
                    <a:pt x="11340" y="5671"/>
                  </a:moveTo>
                  <a:lnTo>
                    <a:pt x="11340" y="5671"/>
                  </a:lnTo>
                  <a:lnTo>
                    <a:pt x="11339" y="5744"/>
                  </a:lnTo>
                  <a:lnTo>
                    <a:pt x="11338" y="5817"/>
                  </a:lnTo>
                  <a:lnTo>
                    <a:pt x="11335" y="5890"/>
                  </a:lnTo>
                  <a:lnTo>
                    <a:pt x="11332" y="5962"/>
                  </a:lnTo>
                  <a:lnTo>
                    <a:pt x="11328" y="6035"/>
                  </a:lnTo>
                  <a:lnTo>
                    <a:pt x="11323" y="6107"/>
                  </a:lnTo>
                  <a:lnTo>
                    <a:pt x="11317" y="6179"/>
                  </a:lnTo>
                  <a:lnTo>
                    <a:pt x="11310" y="6250"/>
                  </a:lnTo>
                  <a:lnTo>
                    <a:pt x="11303" y="6322"/>
                  </a:lnTo>
                  <a:lnTo>
                    <a:pt x="11294" y="6393"/>
                  </a:lnTo>
                  <a:lnTo>
                    <a:pt x="11285" y="6464"/>
                  </a:lnTo>
                  <a:lnTo>
                    <a:pt x="11274" y="6534"/>
                  </a:lnTo>
                  <a:lnTo>
                    <a:pt x="11263" y="6604"/>
                  </a:lnTo>
                  <a:lnTo>
                    <a:pt x="11251" y="6674"/>
                  </a:lnTo>
                  <a:lnTo>
                    <a:pt x="11238" y="6744"/>
                  </a:lnTo>
                  <a:lnTo>
                    <a:pt x="11224" y="6813"/>
                  </a:lnTo>
                  <a:lnTo>
                    <a:pt x="11210" y="6882"/>
                  </a:lnTo>
                  <a:lnTo>
                    <a:pt x="11194" y="6951"/>
                  </a:lnTo>
                  <a:lnTo>
                    <a:pt x="11178" y="7019"/>
                  </a:lnTo>
                  <a:lnTo>
                    <a:pt x="11161" y="7088"/>
                  </a:lnTo>
                  <a:lnTo>
                    <a:pt x="11143" y="7155"/>
                  </a:lnTo>
                  <a:lnTo>
                    <a:pt x="11124" y="7223"/>
                  </a:lnTo>
                  <a:lnTo>
                    <a:pt x="11105" y="7290"/>
                  </a:lnTo>
                  <a:lnTo>
                    <a:pt x="11085" y="7357"/>
                  </a:lnTo>
                  <a:lnTo>
                    <a:pt x="11064" y="7423"/>
                  </a:lnTo>
                  <a:lnTo>
                    <a:pt x="11042" y="7489"/>
                  </a:lnTo>
                  <a:lnTo>
                    <a:pt x="11019" y="7555"/>
                  </a:lnTo>
                  <a:lnTo>
                    <a:pt x="10996" y="7620"/>
                  </a:lnTo>
                  <a:lnTo>
                    <a:pt x="10971" y="7685"/>
                  </a:lnTo>
                  <a:lnTo>
                    <a:pt x="10946" y="7749"/>
                  </a:lnTo>
                  <a:lnTo>
                    <a:pt x="10921" y="7814"/>
                  </a:lnTo>
                  <a:lnTo>
                    <a:pt x="10894" y="7877"/>
                  </a:lnTo>
                  <a:lnTo>
                    <a:pt x="10867" y="7941"/>
                  </a:lnTo>
                  <a:lnTo>
                    <a:pt x="10839" y="8004"/>
                  </a:lnTo>
                  <a:lnTo>
                    <a:pt x="10810" y="8066"/>
                  </a:lnTo>
                  <a:lnTo>
                    <a:pt x="10780" y="8129"/>
                  </a:lnTo>
                  <a:lnTo>
                    <a:pt x="10750" y="8190"/>
                  </a:lnTo>
                  <a:lnTo>
                    <a:pt x="10719" y="8252"/>
                  </a:lnTo>
                  <a:lnTo>
                    <a:pt x="10688" y="8313"/>
                  </a:lnTo>
                  <a:lnTo>
                    <a:pt x="10655" y="8373"/>
                  </a:lnTo>
                  <a:lnTo>
                    <a:pt x="10622" y="8433"/>
                  </a:lnTo>
                  <a:lnTo>
                    <a:pt x="10588" y="8493"/>
                  </a:lnTo>
                  <a:lnTo>
                    <a:pt x="10554" y="8552"/>
                  </a:lnTo>
                  <a:lnTo>
                    <a:pt x="10519" y="8610"/>
                  </a:lnTo>
                  <a:lnTo>
                    <a:pt x="10483" y="8669"/>
                  </a:lnTo>
                  <a:lnTo>
                    <a:pt x="10446" y="8726"/>
                  </a:lnTo>
                  <a:lnTo>
                    <a:pt x="10409" y="8784"/>
                  </a:lnTo>
                  <a:lnTo>
                    <a:pt x="10371" y="8840"/>
                  </a:lnTo>
                  <a:lnTo>
                    <a:pt x="10333" y="8897"/>
                  </a:lnTo>
                  <a:lnTo>
                    <a:pt x="10294" y="8953"/>
                  </a:lnTo>
                  <a:lnTo>
                    <a:pt x="10254" y="9008"/>
                  </a:lnTo>
                  <a:lnTo>
                    <a:pt x="10213" y="9063"/>
                  </a:lnTo>
                  <a:lnTo>
                    <a:pt x="10172" y="9117"/>
                  </a:lnTo>
                  <a:lnTo>
                    <a:pt x="10130" y="9171"/>
                  </a:lnTo>
                  <a:lnTo>
                    <a:pt x="10088" y="9224"/>
                  </a:lnTo>
                  <a:lnTo>
                    <a:pt x="10045" y="9277"/>
                  </a:lnTo>
                  <a:lnTo>
                    <a:pt x="10001" y="9329"/>
                  </a:lnTo>
                  <a:lnTo>
                    <a:pt x="9957" y="9381"/>
                  </a:lnTo>
                  <a:lnTo>
                    <a:pt x="9912" y="9432"/>
                  </a:lnTo>
                  <a:lnTo>
                    <a:pt x="9867" y="9483"/>
                  </a:lnTo>
                  <a:lnTo>
                    <a:pt x="9821" y="9533"/>
                  </a:lnTo>
                  <a:lnTo>
                    <a:pt x="9774" y="9582"/>
                  </a:lnTo>
                  <a:lnTo>
                    <a:pt x="9727" y="9631"/>
                  </a:lnTo>
                  <a:lnTo>
                    <a:pt x="9679" y="9680"/>
                  </a:lnTo>
                  <a:lnTo>
                    <a:pt x="9631" y="9727"/>
                  </a:lnTo>
                  <a:lnTo>
                    <a:pt x="9582" y="9775"/>
                  </a:lnTo>
                  <a:lnTo>
                    <a:pt x="9532" y="9821"/>
                  </a:lnTo>
                  <a:lnTo>
                    <a:pt x="9482" y="9867"/>
                  </a:lnTo>
                  <a:lnTo>
                    <a:pt x="9432" y="9913"/>
                  </a:lnTo>
                  <a:lnTo>
                    <a:pt x="9380" y="9958"/>
                  </a:lnTo>
                  <a:lnTo>
                    <a:pt x="9329" y="10002"/>
                  </a:lnTo>
                  <a:lnTo>
                    <a:pt x="9277" y="10046"/>
                  </a:lnTo>
                  <a:lnTo>
                    <a:pt x="9224" y="10089"/>
                  </a:lnTo>
                  <a:lnTo>
                    <a:pt x="9170" y="10131"/>
                  </a:lnTo>
                  <a:lnTo>
                    <a:pt x="9117" y="10173"/>
                  </a:lnTo>
                  <a:lnTo>
                    <a:pt x="9062" y="10214"/>
                  </a:lnTo>
                  <a:lnTo>
                    <a:pt x="9008" y="10254"/>
                  </a:lnTo>
                  <a:lnTo>
                    <a:pt x="8952" y="10294"/>
                  </a:lnTo>
                  <a:lnTo>
                    <a:pt x="8896" y="10333"/>
                  </a:lnTo>
                  <a:lnTo>
                    <a:pt x="8840" y="10372"/>
                  </a:lnTo>
                  <a:lnTo>
                    <a:pt x="8783" y="10410"/>
                  </a:lnTo>
                  <a:lnTo>
                    <a:pt x="8726" y="10447"/>
                  </a:lnTo>
                  <a:lnTo>
                    <a:pt x="8668" y="10484"/>
                  </a:lnTo>
                  <a:lnTo>
                    <a:pt x="8610" y="10519"/>
                  </a:lnTo>
                  <a:lnTo>
                    <a:pt x="8551" y="10555"/>
                  </a:lnTo>
                  <a:lnTo>
                    <a:pt x="8492" y="10589"/>
                  </a:lnTo>
                  <a:lnTo>
                    <a:pt x="8433" y="10623"/>
                  </a:lnTo>
                  <a:lnTo>
                    <a:pt x="8373" y="10656"/>
                  </a:lnTo>
                  <a:lnTo>
                    <a:pt x="8312" y="10688"/>
                  </a:lnTo>
                  <a:lnTo>
                    <a:pt x="8251" y="10720"/>
                  </a:lnTo>
                  <a:lnTo>
                    <a:pt x="8190" y="10751"/>
                  </a:lnTo>
                  <a:lnTo>
                    <a:pt x="8128" y="10781"/>
                  </a:lnTo>
                  <a:lnTo>
                    <a:pt x="8066" y="10811"/>
                  </a:lnTo>
                  <a:lnTo>
                    <a:pt x="8003" y="10839"/>
                  </a:lnTo>
                  <a:lnTo>
                    <a:pt x="7940" y="10867"/>
                  </a:lnTo>
                  <a:lnTo>
                    <a:pt x="7877" y="10895"/>
                  </a:lnTo>
                  <a:lnTo>
                    <a:pt x="7813" y="10921"/>
                  </a:lnTo>
                  <a:lnTo>
                    <a:pt x="7749" y="10947"/>
                  </a:lnTo>
                  <a:lnTo>
                    <a:pt x="7685" y="10972"/>
                  </a:lnTo>
                  <a:lnTo>
                    <a:pt x="7620" y="10996"/>
                  </a:lnTo>
                  <a:lnTo>
                    <a:pt x="7554" y="11020"/>
                  </a:lnTo>
                  <a:lnTo>
                    <a:pt x="7489" y="11042"/>
                  </a:lnTo>
                  <a:lnTo>
                    <a:pt x="7423" y="11064"/>
                  </a:lnTo>
                  <a:lnTo>
                    <a:pt x="7356" y="11085"/>
                  </a:lnTo>
                  <a:lnTo>
                    <a:pt x="7289" y="11106"/>
                  </a:lnTo>
                  <a:lnTo>
                    <a:pt x="7222" y="11125"/>
                  </a:lnTo>
                  <a:lnTo>
                    <a:pt x="7155" y="11144"/>
                  </a:lnTo>
                  <a:lnTo>
                    <a:pt x="7087" y="11162"/>
                  </a:lnTo>
                  <a:lnTo>
                    <a:pt x="7019" y="11179"/>
                  </a:lnTo>
                  <a:lnTo>
                    <a:pt x="6951" y="11195"/>
                  </a:lnTo>
                  <a:lnTo>
                    <a:pt x="6882" y="11210"/>
                  </a:lnTo>
                  <a:lnTo>
                    <a:pt x="6813" y="11225"/>
                  </a:lnTo>
                  <a:lnTo>
                    <a:pt x="6744" y="11239"/>
                  </a:lnTo>
                  <a:lnTo>
                    <a:pt x="6674" y="11252"/>
                  </a:lnTo>
                  <a:lnTo>
                    <a:pt x="6604" y="11264"/>
                  </a:lnTo>
                  <a:lnTo>
                    <a:pt x="6534" y="11275"/>
                  </a:lnTo>
                  <a:lnTo>
                    <a:pt x="6463" y="11285"/>
                  </a:lnTo>
                  <a:lnTo>
                    <a:pt x="6392" y="11295"/>
                  </a:lnTo>
                  <a:lnTo>
                    <a:pt x="6321" y="11303"/>
                  </a:lnTo>
                  <a:lnTo>
                    <a:pt x="6250" y="11311"/>
                  </a:lnTo>
                  <a:lnTo>
                    <a:pt x="6178" y="11318"/>
                  </a:lnTo>
                  <a:lnTo>
                    <a:pt x="6107" y="11324"/>
                  </a:lnTo>
                  <a:lnTo>
                    <a:pt x="6034" y="11329"/>
                  </a:lnTo>
                  <a:lnTo>
                    <a:pt x="5962" y="11333"/>
                  </a:lnTo>
                  <a:lnTo>
                    <a:pt x="5890" y="11336"/>
                  </a:lnTo>
                  <a:lnTo>
                    <a:pt x="5817" y="11338"/>
                  </a:lnTo>
                  <a:lnTo>
                    <a:pt x="5744" y="11340"/>
                  </a:lnTo>
                  <a:lnTo>
                    <a:pt x="5669" y="11340"/>
                  </a:lnTo>
                  <a:lnTo>
                    <a:pt x="5669" y="11340"/>
                  </a:lnTo>
                  <a:lnTo>
                    <a:pt x="5596" y="11340"/>
                  </a:lnTo>
                  <a:lnTo>
                    <a:pt x="5523" y="11338"/>
                  </a:lnTo>
                  <a:lnTo>
                    <a:pt x="5450" y="11336"/>
                  </a:lnTo>
                  <a:lnTo>
                    <a:pt x="5378" y="11333"/>
                  </a:lnTo>
                  <a:lnTo>
                    <a:pt x="5305" y="11329"/>
                  </a:lnTo>
                  <a:lnTo>
                    <a:pt x="5233" y="11324"/>
                  </a:lnTo>
                  <a:lnTo>
                    <a:pt x="5161" y="11318"/>
                  </a:lnTo>
                  <a:lnTo>
                    <a:pt x="5090" y="11311"/>
                  </a:lnTo>
                  <a:lnTo>
                    <a:pt x="5018" y="11303"/>
                  </a:lnTo>
                  <a:lnTo>
                    <a:pt x="4947" y="11295"/>
                  </a:lnTo>
                  <a:lnTo>
                    <a:pt x="4876" y="11285"/>
                  </a:lnTo>
                  <a:lnTo>
                    <a:pt x="4806" y="11275"/>
                  </a:lnTo>
                  <a:lnTo>
                    <a:pt x="4736" y="11264"/>
                  </a:lnTo>
                  <a:lnTo>
                    <a:pt x="4666" y="11252"/>
                  </a:lnTo>
                  <a:lnTo>
                    <a:pt x="4596" y="11239"/>
                  </a:lnTo>
                  <a:lnTo>
                    <a:pt x="4527" y="11225"/>
                  </a:lnTo>
                  <a:lnTo>
                    <a:pt x="4458" y="11210"/>
                  </a:lnTo>
                  <a:lnTo>
                    <a:pt x="4389" y="11195"/>
                  </a:lnTo>
                  <a:lnTo>
                    <a:pt x="4320" y="11179"/>
                  </a:lnTo>
                  <a:lnTo>
                    <a:pt x="4252" y="11162"/>
                  </a:lnTo>
                  <a:lnTo>
                    <a:pt x="4185" y="11144"/>
                  </a:lnTo>
                  <a:lnTo>
                    <a:pt x="4117" y="11125"/>
                  </a:lnTo>
                  <a:lnTo>
                    <a:pt x="4050" y="11106"/>
                  </a:lnTo>
                  <a:lnTo>
                    <a:pt x="3983" y="11085"/>
                  </a:lnTo>
                  <a:lnTo>
                    <a:pt x="3917" y="11064"/>
                  </a:lnTo>
                  <a:lnTo>
                    <a:pt x="3851" y="11042"/>
                  </a:lnTo>
                  <a:lnTo>
                    <a:pt x="3785" y="11020"/>
                  </a:lnTo>
                  <a:lnTo>
                    <a:pt x="3720" y="10996"/>
                  </a:lnTo>
                  <a:lnTo>
                    <a:pt x="3655" y="10972"/>
                  </a:lnTo>
                  <a:lnTo>
                    <a:pt x="3590" y="10947"/>
                  </a:lnTo>
                  <a:lnTo>
                    <a:pt x="3526" y="10921"/>
                  </a:lnTo>
                  <a:lnTo>
                    <a:pt x="3462" y="10895"/>
                  </a:lnTo>
                  <a:lnTo>
                    <a:pt x="3399" y="10867"/>
                  </a:lnTo>
                  <a:lnTo>
                    <a:pt x="3336" y="10839"/>
                  </a:lnTo>
                  <a:lnTo>
                    <a:pt x="3273" y="10811"/>
                  </a:lnTo>
                  <a:lnTo>
                    <a:pt x="3211" y="10781"/>
                  </a:lnTo>
                  <a:lnTo>
                    <a:pt x="3150" y="10751"/>
                  </a:lnTo>
                  <a:lnTo>
                    <a:pt x="3088" y="10720"/>
                  </a:lnTo>
                  <a:lnTo>
                    <a:pt x="3027" y="10688"/>
                  </a:lnTo>
                  <a:lnTo>
                    <a:pt x="2967" y="10656"/>
                  </a:lnTo>
                  <a:lnTo>
                    <a:pt x="2907" y="10623"/>
                  </a:lnTo>
                  <a:lnTo>
                    <a:pt x="2847" y="10589"/>
                  </a:lnTo>
                  <a:lnTo>
                    <a:pt x="2788" y="10555"/>
                  </a:lnTo>
                  <a:lnTo>
                    <a:pt x="2729" y="10519"/>
                  </a:lnTo>
                  <a:lnTo>
                    <a:pt x="2671" y="10484"/>
                  </a:lnTo>
                  <a:lnTo>
                    <a:pt x="2613" y="10447"/>
                  </a:lnTo>
                  <a:lnTo>
                    <a:pt x="2556" y="10410"/>
                  </a:lnTo>
                  <a:lnTo>
                    <a:pt x="2499" y="10372"/>
                  </a:lnTo>
                  <a:lnTo>
                    <a:pt x="2443" y="10333"/>
                  </a:lnTo>
                  <a:lnTo>
                    <a:pt x="2387" y="10294"/>
                  </a:lnTo>
                  <a:lnTo>
                    <a:pt x="2332" y="10254"/>
                  </a:lnTo>
                  <a:lnTo>
                    <a:pt x="2277" y="10214"/>
                  </a:lnTo>
                  <a:lnTo>
                    <a:pt x="2223" y="10173"/>
                  </a:lnTo>
                  <a:lnTo>
                    <a:pt x="2169" y="10131"/>
                  </a:lnTo>
                  <a:lnTo>
                    <a:pt x="2116" y="10089"/>
                  </a:lnTo>
                  <a:lnTo>
                    <a:pt x="2063" y="10046"/>
                  </a:lnTo>
                  <a:lnTo>
                    <a:pt x="2011" y="10002"/>
                  </a:lnTo>
                  <a:lnTo>
                    <a:pt x="1959" y="9958"/>
                  </a:lnTo>
                  <a:lnTo>
                    <a:pt x="1908" y="9913"/>
                  </a:lnTo>
                  <a:lnTo>
                    <a:pt x="1857" y="9867"/>
                  </a:lnTo>
                  <a:lnTo>
                    <a:pt x="1807" y="9821"/>
                  </a:lnTo>
                  <a:lnTo>
                    <a:pt x="1758" y="9775"/>
                  </a:lnTo>
                  <a:lnTo>
                    <a:pt x="1709" y="9727"/>
                  </a:lnTo>
                  <a:lnTo>
                    <a:pt x="1660" y="9680"/>
                  </a:lnTo>
                  <a:lnTo>
                    <a:pt x="1613" y="9631"/>
                  </a:lnTo>
                  <a:lnTo>
                    <a:pt x="1565" y="9582"/>
                  </a:lnTo>
                  <a:lnTo>
                    <a:pt x="1519" y="9533"/>
                  </a:lnTo>
                  <a:lnTo>
                    <a:pt x="1473" y="9483"/>
                  </a:lnTo>
                  <a:lnTo>
                    <a:pt x="1427" y="9432"/>
                  </a:lnTo>
                  <a:lnTo>
                    <a:pt x="1382" y="9381"/>
                  </a:lnTo>
                  <a:lnTo>
                    <a:pt x="1338" y="9329"/>
                  </a:lnTo>
                  <a:lnTo>
                    <a:pt x="1294" y="9277"/>
                  </a:lnTo>
                  <a:lnTo>
                    <a:pt x="1251" y="9224"/>
                  </a:lnTo>
                  <a:lnTo>
                    <a:pt x="1209" y="9171"/>
                  </a:lnTo>
                  <a:lnTo>
                    <a:pt x="1167" y="9117"/>
                  </a:lnTo>
                  <a:lnTo>
                    <a:pt x="1126" y="9063"/>
                  </a:lnTo>
                  <a:lnTo>
                    <a:pt x="1086" y="9008"/>
                  </a:lnTo>
                  <a:lnTo>
                    <a:pt x="1046" y="8953"/>
                  </a:lnTo>
                  <a:lnTo>
                    <a:pt x="1007" y="8897"/>
                  </a:lnTo>
                  <a:lnTo>
                    <a:pt x="968" y="8840"/>
                  </a:lnTo>
                  <a:lnTo>
                    <a:pt x="930" y="8784"/>
                  </a:lnTo>
                  <a:lnTo>
                    <a:pt x="893" y="8726"/>
                  </a:lnTo>
                  <a:lnTo>
                    <a:pt x="856" y="8669"/>
                  </a:lnTo>
                  <a:lnTo>
                    <a:pt x="821" y="8610"/>
                  </a:lnTo>
                  <a:lnTo>
                    <a:pt x="785" y="8552"/>
                  </a:lnTo>
                  <a:lnTo>
                    <a:pt x="751" y="8493"/>
                  </a:lnTo>
                  <a:lnTo>
                    <a:pt x="717" y="8433"/>
                  </a:lnTo>
                  <a:lnTo>
                    <a:pt x="684" y="8373"/>
                  </a:lnTo>
                  <a:lnTo>
                    <a:pt x="652" y="8313"/>
                  </a:lnTo>
                  <a:lnTo>
                    <a:pt x="620" y="8252"/>
                  </a:lnTo>
                  <a:lnTo>
                    <a:pt x="589" y="8190"/>
                  </a:lnTo>
                  <a:lnTo>
                    <a:pt x="559" y="8129"/>
                  </a:lnTo>
                  <a:lnTo>
                    <a:pt x="529" y="8066"/>
                  </a:lnTo>
                  <a:lnTo>
                    <a:pt x="501" y="8004"/>
                  </a:lnTo>
                  <a:lnTo>
                    <a:pt x="473" y="7941"/>
                  </a:lnTo>
                  <a:lnTo>
                    <a:pt x="445" y="7877"/>
                  </a:lnTo>
                  <a:lnTo>
                    <a:pt x="419" y="7814"/>
                  </a:lnTo>
                  <a:lnTo>
                    <a:pt x="393" y="7749"/>
                  </a:lnTo>
                  <a:lnTo>
                    <a:pt x="368" y="7685"/>
                  </a:lnTo>
                  <a:lnTo>
                    <a:pt x="344" y="7620"/>
                  </a:lnTo>
                  <a:lnTo>
                    <a:pt x="320" y="7555"/>
                  </a:lnTo>
                  <a:lnTo>
                    <a:pt x="298" y="7489"/>
                  </a:lnTo>
                  <a:lnTo>
                    <a:pt x="276" y="7423"/>
                  </a:lnTo>
                  <a:lnTo>
                    <a:pt x="255" y="7357"/>
                  </a:lnTo>
                  <a:lnTo>
                    <a:pt x="234" y="7290"/>
                  </a:lnTo>
                  <a:lnTo>
                    <a:pt x="215" y="7223"/>
                  </a:lnTo>
                  <a:lnTo>
                    <a:pt x="196" y="7155"/>
                  </a:lnTo>
                  <a:lnTo>
                    <a:pt x="178" y="7088"/>
                  </a:lnTo>
                  <a:lnTo>
                    <a:pt x="161" y="7019"/>
                  </a:lnTo>
                  <a:lnTo>
                    <a:pt x="145" y="6951"/>
                  </a:lnTo>
                  <a:lnTo>
                    <a:pt x="130" y="6882"/>
                  </a:lnTo>
                  <a:lnTo>
                    <a:pt x="115" y="6813"/>
                  </a:lnTo>
                  <a:lnTo>
                    <a:pt x="101" y="6744"/>
                  </a:lnTo>
                  <a:lnTo>
                    <a:pt x="88" y="6674"/>
                  </a:lnTo>
                  <a:lnTo>
                    <a:pt x="76" y="6604"/>
                  </a:lnTo>
                  <a:lnTo>
                    <a:pt x="65" y="6534"/>
                  </a:lnTo>
                  <a:lnTo>
                    <a:pt x="55" y="6464"/>
                  </a:lnTo>
                  <a:lnTo>
                    <a:pt x="45" y="6393"/>
                  </a:lnTo>
                  <a:lnTo>
                    <a:pt x="37" y="6322"/>
                  </a:lnTo>
                  <a:lnTo>
                    <a:pt x="29" y="6250"/>
                  </a:lnTo>
                  <a:lnTo>
                    <a:pt x="22" y="6179"/>
                  </a:lnTo>
                  <a:lnTo>
                    <a:pt x="16" y="6107"/>
                  </a:lnTo>
                  <a:lnTo>
                    <a:pt x="11" y="6035"/>
                  </a:lnTo>
                  <a:lnTo>
                    <a:pt x="7" y="5962"/>
                  </a:lnTo>
                  <a:lnTo>
                    <a:pt x="4" y="5890"/>
                  </a:lnTo>
                  <a:lnTo>
                    <a:pt x="2" y="5817"/>
                  </a:lnTo>
                  <a:lnTo>
                    <a:pt x="0" y="5744"/>
                  </a:lnTo>
                  <a:lnTo>
                    <a:pt x="0" y="5671"/>
                  </a:lnTo>
                  <a:lnTo>
                    <a:pt x="0" y="5671"/>
                  </a:lnTo>
                  <a:lnTo>
                    <a:pt x="0" y="5596"/>
                  </a:lnTo>
                  <a:lnTo>
                    <a:pt x="2" y="5523"/>
                  </a:lnTo>
                  <a:lnTo>
                    <a:pt x="4" y="5451"/>
                  </a:lnTo>
                  <a:lnTo>
                    <a:pt x="7" y="5378"/>
                  </a:lnTo>
                  <a:lnTo>
                    <a:pt x="11" y="5306"/>
                  </a:lnTo>
                  <a:lnTo>
                    <a:pt x="16" y="5233"/>
                  </a:lnTo>
                  <a:lnTo>
                    <a:pt x="22" y="5162"/>
                  </a:lnTo>
                  <a:lnTo>
                    <a:pt x="29" y="5090"/>
                  </a:lnTo>
                  <a:lnTo>
                    <a:pt x="37" y="5019"/>
                  </a:lnTo>
                  <a:lnTo>
                    <a:pt x="45" y="4948"/>
                  </a:lnTo>
                  <a:lnTo>
                    <a:pt x="55" y="4877"/>
                  </a:lnTo>
                  <a:lnTo>
                    <a:pt x="65" y="4806"/>
                  </a:lnTo>
                  <a:lnTo>
                    <a:pt x="76" y="4736"/>
                  </a:lnTo>
                  <a:lnTo>
                    <a:pt x="88" y="4666"/>
                  </a:lnTo>
                  <a:lnTo>
                    <a:pt x="101" y="4596"/>
                  </a:lnTo>
                  <a:lnTo>
                    <a:pt x="115" y="4527"/>
                  </a:lnTo>
                  <a:lnTo>
                    <a:pt x="130" y="4458"/>
                  </a:lnTo>
                  <a:lnTo>
                    <a:pt x="145" y="4389"/>
                  </a:lnTo>
                  <a:lnTo>
                    <a:pt x="161" y="4321"/>
                  </a:lnTo>
                  <a:lnTo>
                    <a:pt x="178" y="4253"/>
                  </a:lnTo>
                  <a:lnTo>
                    <a:pt x="196" y="4185"/>
                  </a:lnTo>
                  <a:lnTo>
                    <a:pt x="215" y="4118"/>
                  </a:lnTo>
                  <a:lnTo>
                    <a:pt x="234" y="4050"/>
                  </a:lnTo>
                  <a:lnTo>
                    <a:pt x="255" y="3984"/>
                  </a:lnTo>
                  <a:lnTo>
                    <a:pt x="276" y="3917"/>
                  </a:lnTo>
                  <a:lnTo>
                    <a:pt x="298" y="3851"/>
                  </a:lnTo>
                  <a:lnTo>
                    <a:pt x="320" y="3786"/>
                  </a:lnTo>
                  <a:lnTo>
                    <a:pt x="344" y="3720"/>
                  </a:lnTo>
                  <a:lnTo>
                    <a:pt x="368" y="3655"/>
                  </a:lnTo>
                  <a:lnTo>
                    <a:pt x="393" y="3591"/>
                  </a:lnTo>
                  <a:lnTo>
                    <a:pt x="419" y="3527"/>
                  </a:lnTo>
                  <a:lnTo>
                    <a:pt x="445" y="3463"/>
                  </a:lnTo>
                  <a:lnTo>
                    <a:pt x="473" y="3399"/>
                  </a:lnTo>
                  <a:lnTo>
                    <a:pt x="501" y="3336"/>
                  </a:lnTo>
                  <a:lnTo>
                    <a:pt x="529" y="3274"/>
                  </a:lnTo>
                  <a:lnTo>
                    <a:pt x="559" y="3212"/>
                  </a:lnTo>
                  <a:lnTo>
                    <a:pt x="589" y="3150"/>
                  </a:lnTo>
                  <a:lnTo>
                    <a:pt x="620" y="3089"/>
                  </a:lnTo>
                  <a:lnTo>
                    <a:pt x="652" y="3028"/>
                  </a:lnTo>
                  <a:lnTo>
                    <a:pt x="684" y="2967"/>
                  </a:lnTo>
                  <a:lnTo>
                    <a:pt x="717" y="2907"/>
                  </a:lnTo>
                  <a:lnTo>
                    <a:pt x="751" y="2848"/>
                  </a:lnTo>
                  <a:lnTo>
                    <a:pt x="785" y="2788"/>
                  </a:lnTo>
                  <a:lnTo>
                    <a:pt x="821" y="2730"/>
                  </a:lnTo>
                  <a:lnTo>
                    <a:pt x="856" y="2672"/>
                  </a:lnTo>
                  <a:lnTo>
                    <a:pt x="893" y="2614"/>
                  </a:lnTo>
                  <a:lnTo>
                    <a:pt x="930" y="2557"/>
                  </a:lnTo>
                  <a:lnTo>
                    <a:pt x="968" y="2500"/>
                  </a:lnTo>
                  <a:lnTo>
                    <a:pt x="1007" y="2443"/>
                  </a:lnTo>
                  <a:lnTo>
                    <a:pt x="1046" y="2388"/>
                  </a:lnTo>
                  <a:lnTo>
                    <a:pt x="1086" y="2332"/>
                  </a:lnTo>
                  <a:lnTo>
                    <a:pt x="1126" y="2277"/>
                  </a:lnTo>
                  <a:lnTo>
                    <a:pt x="1167" y="2223"/>
                  </a:lnTo>
                  <a:lnTo>
                    <a:pt x="1209" y="2169"/>
                  </a:lnTo>
                  <a:lnTo>
                    <a:pt x="1251" y="2116"/>
                  </a:lnTo>
                  <a:lnTo>
                    <a:pt x="1294" y="2063"/>
                  </a:lnTo>
                  <a:lnTo>
                    <a:pt x="1338" y="2011"/>
                  </a:lnTo>
                  <a:lnTo>
                    <a:pt x="1382" y="1959"/>
                  </a:lnTo>
                  <a:lnTo>
                    <a:pt x="1427" y="1908"/>
                  </a:lnTo>
                  <a:lnTo>
                    <a:pt x="1473" y="1858"/>
                  </a:lnTo>
                  <a:lnTo>
                    <a:pt x="1519" y="1807"/>
                  </a:lnTo>
                  <a:lnTo>
                    <a:pt x="1565" y="1758"/>
                  </a:lnTo>
                  <a:lnTo>
                    <a:pt x="1613" y="1709"/>
                  </a:lnTo>
                  <a:lnTo>
                    <a:pt x="1660" y="1661"/>
                  </a:lnTo>
                  <a:lnTo>
                    <a:pt x="1709" y="1613"/>
                  </a:lnTo>
                  <a:lnTo>
                    <a:pt x="1758" y="1566"/>
                  </a:lnTo>
                  <a:lnTo>
                    <a:pt x="1807" y="1519"/>
                  </a:lnTo>
                  <a:lnTo>
                    <a:pt x="1857" y="1473"/>
                  </a:lnTo>
                  <a:lnTo>
                    <a:pt x="1908" y="1427"/>
                  </a:lnTo>
                  <a:lnTo>
                    <a:pt x="1959" y="1383"/>
                  </a:lnTo>
                  <a:lnTo>
                    <a:pt x="2011" y="1338"/>
                  </a:lnTo>
                  <a:lnTo>
                    <a:pt x="2063" y="1295"/>
                  </a:lnTo>
                  <a:lnTo>
                    <a:pt x="2116" y="1252"/>
                  </a:lnTo>
                  <a:lnTo>
                    <a:pt x="2169" y="1209"/>
                  </a:lnTo>
                  <a:lnTo>
                    <a:pt x="2223" y="1168"/>
                  </a:lnTo>
                  <a:lnTo>
                    <a:pt x="2277" y="1126"/>
                  </a:lnTo>
                  <a:lnTo>
                    <a:pt x="2332" y="1086"/>
                  </a:lnTo>
                  <a:lnTo>
                    <a:pt x="2387" y="1046"/>
                  </a:lnTo>
                  <a:lnTo>
                    <a:pt x="2443" y="1007"/>
                  </a:lnTo>
                  <a:lnTo>
                    <a:pt x="2499" y="968"/>
                  </a:lnTo>
                  <a:lnTo>
                    <a:pt x="2556" y="930"/>
                  </a:lnTo>
                  <a:lnTo>
                    <a:pt x="2613" y="893"/>
                  </a:lnTo>
                  <a:lnTo>
                    <a:pt x="2671" y="857"/>
                  </a:lnTo>
                  <a:lnTo>
                    <a:pt x="2729" y="821"/>
                  </a:lnTo>
                  <a:lnTo>
                    <a:pt x="2788" y="786"/>
                  </a:lnTo>
                  <a:lnTo>
                    <a:pt x="2847" y="751"/>
                  </a:lnTo>
                  <a:lnTo>
                    <a:pt x="2907" y="717"/>
                  </a:lnTo>
                  <a:lnTo>
                    <a:pt x="2967" y="684"/>
                  </a:lnTo>
                  <a:lnTo>
                    <a:pt x="3027" y="652"/>
                  </a:lnTo>
                  <a:lnTo>
                    <a:pt x="3088" y="620"/>
                  </a:lnTo>
                  <a:lnTo>
                    <a:pt x="3150" y="589"/>
                  </a:lnTo>
                  <a:lnTo>
                    <a:pt x="3211" y="559"/>
                  </a:lnTo>
                  <a:lnTo>
                    <a:pt x="3273" y="530"/>
                  </a:lnTo>
                  <a:lnTo>
                    <a:pt x="3336" y="501"/>
                  </a:lnTo>
                  <a:lnTo>
                    <a:pt x="3399" y="473"/>
                  </a:lnTo>
                  <a:lnTo>
                    <a:pt x="3462" y="446"/>
                  </a:lnTo>
                  <a:lnTo>
                    <a:pt x="3526" y="419"/>
                  </a:lnTo>
                  <a:lnTo>
                    <a:pt x="3590" y="393"/>
                  </a:lnTo>
                  <a:lnTo>
                    <a:pt x="3655" y="368"/>
                  </a:lnTo>
                  <a:lnTo>
                    <a:pt x="3720" y="344"/>
                  </a:lnTo>
                  <a:lnTo>
                    <a:pt x="3785" y="321"/>
                  </a:lnTo>
                  <a:lnTo>
                    <a:pt x="3851" y="298"/>
                  </a:lnTo>
                  <a:lnTo>
                    <a:pt x="3917" y="276"/>
                  </a:lnTo>
                  <a:lnTo>
                    <a:pt x="3983" y="255"/>
                  </a:lnTo>
                  <a:lnTo>
                    <a:pt x="4050" y="235"/>
                  </a:lnTo>
                  <a:lnTo>
                    <a:pt x="4117" y="215"/>
                  </a:lnTo>
                  <a:lnTo>
                    <a:pt x="4185" y="197"/>
                  </a:lnTo>
                  <a:lnTo>
                    <a:pt x="4252" y="179"/>
                  </a:lnTo>
                  <a:lnTo>
                    <a:pt x="4320" y="162"/>
                  </a:lnTo>
                  <a:lnTo>
                    <a:pt x="4389" y="145"/>
                  </a:lnTo>
                  <a:lnTo>
                    <a:pt x="4458" y="130"/>
                  </a:lnTo>
                  <a:lnTo>
                    <a:pt x="4527" y="115"/>
                  </a:lnTo>
                  <a:lnTo>
                    <a:pt x="4596" y="102"/>
                  </a:lnTo>
                  <a:lnTo>
                    <a:pt x="4666" y="89"/>
                  </a:lnTo>
                  <a:lnTo>
                    <a:pt x="4736" y="77"/>
                  </a:lnTo>
                  <a:lnTo>
                    <a:pt x="4806" y="65"/>
                  </a:lnTo>
                  <a:lnTo>
                    <a:pt x="4876" y="55"/>
                  </a:lnTo>
                  <a:lnTo>
                    <a:pt x="4947" y="46"/>
                  </a:lnTo>
                  <a:lnTo>
                    <a:pt x="5018" y="37"/>
                  </a:lnTo>
                  <a:lnTo>
                    <a:pt x="5090" y="29"/>
                  </a:lnTo>
                  <a:lnTo>
                    <a:pt x="5161" y="23"/>
                  </a:lnTo>
                  <a:lnTo>
                    <a:pt x="5233" y="17"/>
                  </a:lnTo>
                  <a:lnTo>
                    <a:pt x="5305" y="12"/>
                  </a:lnTo>
                  <a:lnTo>
                    <a:pt x="5378" y="8"/>
                  </a:lnTo>
                  <a:lnTo>
                    <a:pt x="5450" y="4"/>
                  </a:lnTo>
                  <a:lnTo>
                    <a:pt x="5523" y="2"/>
                  </a:lnTo>
                  <a:lnTo>
                    <a:pt x="5596" y="1"/>
                  </a:lnTo>
                  <a:lnTo>
                    <a:pt x="5669" y="0"/>
                  </a:lnTo>
                  <a:lnTo>
                    <a:pt x="5669" y="0"/>
                  </a:lnTo>
                  <a:lnTo>
                    <a:pt x="5744" y="1"/>
                  </a:lnTo>
                  <a:lnTo>
                    <a:pt x="5817" y="2"/>
                  </a:lnTo>
                  <a:lnTo>
                    <a:pt x="5890" y="4"/>
                  </a:lnTo>
                  <a:lnTo>
                    <a:pt x="5962" y="8"/>
                  </a:lnTo>
                  <a:lnTo>
                    <a:pt x="6034" y="12"/>
                  </a:lnTo>
                  <a:lnTo>
                    <a:pt x="6107" y="17"/>
                  </a:lnTo>
                  <a:lnTo>
                    <a:pt x="6178" y="23"/>
                  </a:lnTo>
                  <a:lnTo>
                    <a:pt x="6250" y="29"/>
                  </a:lnTo>
                  <a:lnTo>
                    <a:pt x="6321" y="37"/>
                  </a:lnTo>
                  <a:lnTo>
                    <a:pt x="6392" y="46"/>
                  </a:lnTo>
                  <a:lnTo>
                    <a:pt x="6463" y="55"/>
                  </a:lnTo>
                  <a:lnTo>
                    <a:pt x="6534" y="65"/>
                  </a:lnTo>
                  <a:lnTo>
                    <a:pt x="6604" y="77"/>
                  </a:lnTo>
                  <a:lnTo>
                    <a:pt x="6674" y="89"/>
                  </a:lnTo>
                  <a:lnTo>
                    <a:pt x="6744" y="102"/>
                  </a:lnTo>
                  <a:lnTo>
                    <a:pt x="6813" y="115"/>
                  </a:lnTo>
                  <a:lnTo>
                    <a:pt x="6882" y="130"/>
                  </a:lnTo>
                  <a:lnTo>
                    <a:pt x="6951" y="145"/>
                  </a:lnTo>
                  <a:lnTo>
                    <a:pt x="7019" y="162"/>
                  </a:lnTo>
                  <a:lnTo>
                    <a:pt x="7087" y="179"/>
                  </a:lnTo>
                  <a:lnTo>
                    <a:pt x="7155" y="197"/>
                  </a:lnTo>
                  <a:lnTo>
                    <a:pt x="7222" y="215"/>
                  </a:lnTo>
                  <a:lnTo>
                    <a:pt x="7289" y="235"/>
                  </a:lnTo>
                  <a:lnTo>
                    <a:pt x="7356" y="255"/>
                  </a:lnTo>
                  <a:lnTo>
                    <a:pt x="7423" y="276"/>
                  </a:lnTo>
                  <a:lnTo>
                    <a:pt x="7489" y="298"/>
                  </a:lnTo>
                  <a:lnTo>
                    <a:pt x="7554" y="321"/>
                  </a:lnTo>
                  <a:lnTo>
                    <a:pt x="7620" y="344"/>
                  </a:lnTo>
                  <a:lnTo>
                    <a:pt x="7685" y="368"/>
                  </a:lnTo>
                  <a:lnTo>
                    <a:pt x="7749" y="393"/>
                  </a:lnTo>
                  <a:lnTo>
                    <a:pt x="7813" y="419"/>
                  </a:lnTo>
                  <a:lnTo>
                    <a:pt x="7877" y="446"/>
                  </a:lnTo>
                  <a:lnTo>
                    <a:pt x="7940" y="473"/>
                  </a:lnTo>
                  <a:lnTo>
                    <a:pt x="8003" y="501"/>
                  </a:lnTo>
                  <a:lnTo>
                    <a:pt x="8066" y="530"/>
                  </a:lnTo>
                  <a:lnTo>
                    <a:pt x="8128" y="559"/>
                  </a:lnTo>
                  <a:lnTo>
                    <a:pt x="8190" y="589"/>
                  </a:lnTo>
                  <a:lnTo>
                    <a:pt x="8251" y="620"/>
                  </a:lnTo>
                  <a:lnTo>
                    <a:pt x="8312" y="652"/>
                  </a:lnTo>
                  <a:lnTo>
                    <a:pt x="8373" y="684"/>
                  </a:lnTo>
                  <a:lnTo>
                    <a:pt x="8433" y="717"/>
                  </a:lnTo>
                  <a:lnTo>
                    <a:pt x="8492" y="751"/>
                  </a:lnTo>
                  <a:lnTo>
                    <a:pt x="8551" y="786"/>
                  </a:lnTo>
                  <a:lnTo>
                    <a:pt x="8610" y="821"/>
                  </a:lnTo>
                  <a:lnTo>
                    <a:pt x="8668" y="857"/>
                  </a:lnTo>
                  <a:lnTo>
                    <a:pt x="8726" y="893"/>
                  </a:lnTo>
                  <a:lnTo>
                    <a:pt x="8783" y="930"/>
                  </a:lnTo>
                  <a:lnTo>
                    <a:pt x="8840" y="968"/>
                  </a:lnTo>
                  <a:lnTo>
                    <a:pt x="8896" y="1007"/>
                  </a:lnTo>
                  <a:lnTo>
                    <a:pt x="8952" y="1046"/>
                  </a:lnTo>
                  <a:lnTo>
                    <a:pt x="9008" y="1086"/>
                  </a:lnTo>
                  <a:lnTo>
                    <a:pt x="9062" y="1126"/>
                  </a:lnTo>
                  <a:lnTo>
                    <a:pt x="9117" y="1168"/>
                  </a:lnTo>
                  <a:lnTo>
                    <a:pt x="9170" y="1209"/>
                  </a:lnTo>
                  <a:lnTo>
                    <a:pt x="9224" y="1252"/>
                  </a:lnTo>
                  <a:lnTo>
                    <a:pt x="9277" y="1295"/>
                  </a:lnTo>
                  <a:lnTo>
                    <a:pt x="9329" y="1338"/>
                  </a:lnTo>
                  <a:lnTo>
                    <a:pt x="9380" y="1383"/>
                  </a:lnTo>
                  <a:lnTo>
                    <a:pt x="9432" y="1427"/>
                  </a:lnTo>
                  <a:lnTo>
                    <a:pt x="9482" y="1473"/>
                  </a:lnTo>
                  <a:lnTo>
                    <a:pt x="9532" y="1519"/>
                  </a:lnTo>
                  <a:lnTo>
                    <a:pt x="9582" y="1566"/>
                  </a:lnTo>
                  <a:lnTo>
                    <a:pt x="9631" y="1613"/>
                  </a:lnTo>
                  <a:lnTo>
                    <a:pt x="9679" y="1661"/>
                  </a:lnTo>
                  <a:lnTo>
                    <a:pt x="9727" y="1709"/>
                  </a:lnTo>
                  <a:lnTo>
                    <a:pt x="9774" y="1758"/>
                  </a:lnTo>
                  <a:lnTo>
                    <a:pt x="9821" y="1807"/>
                  </a:lnTo>
                  <a:lnTo>
                    <a:pt x="9867" y="1858"/>
                  </a:lnTo>
                  <a:lnTo>
                    <a:pt x="9912" y="1908"/>
                  </a:lnTo>
                  <a:lnTo>
                    <a:pt x="9957" y="1959"/>
                  </a:lnTo>
                  <a:lnTo>
                    <a:pt x="10001" y="2011"/>
                  </a:lnTo>
                  <a:lnTo>
                    <a:pt x="10045" y="2063"/>
                  </a:lnTo>
                  <a:lnTo>
                    <a:pt x="10088" y="2116"/>
                  </a:lnTo>
                  <a:lnTo>
                    <a:pt x="10130" y="2169"/>
                  </a:lnTo>
                  <a:lnTo>
                    <a:pt x="10172" y="2223"/>
                  </a:lnTo>
                  <a:lnTo>
                    <a:pt x="10213" y="2277"/>
                  </a:lnTo>
                  <a:lnTo>
                    <a:pt x="10254" y="2332"/>
                  </a:lnTo>
                  <a:lnTo>
                    <a:pt x="10294" y="2388"/>
                  </a:lnTo>
                  <a:lnTo>
                    <a:pt x="10333" y="2443"/>
                  </a:lnTo>
                  <a:lnTo>
                    <a:pt x="10371" y="2500"/>
                  </a:lnTo>
                  <a:lnTo>
                    <a:pt x="10409" y="2557"/>
                  </a:lnTo>
                  <a:lnTo>
                    <a:pt x="10446" y="2614"/>
                  </a:lnTo>
                  <a:lnTo>
                    <a:pt x="10483" y="2672"/>
                  </a:lnTo>
                  <a:lnTo>
                    <a:pt x="10519" y="2730"/>
                  </a:lnTo>
                  <a:lnTo>
                    <a:pt x="10554" y="2788"/>
                  </a:lnTo>
                  <a:lnTo>
                    <a:pt x="10588" y="2848"/>
                  </a:lnTo>
                  <a:lnTo>
                    <a:pt x="10622" y="2907"/>
                  </a:lnTo>
                  <a:lnTo>
                    <a:pt x="10655" y="2967"/>
                  </a:lnTo>
                  <a:lnTo>
                    <a:pt x="10688" y="3028"/>
                  </a:lnTo>
                  <a:lnTo>
                    <a:pt x="10719" y="3089"/>
                  </a:lnTo>
                  <a:lnTo>
                    <a:pt x="10750" y="3150"/>
                  </a:lnTo>
                  <a:lnTo>
                    <a:pt x="10780" y="3212"/>
                  </a:lnTo>
                  <a:lnTo>
                    <a:pt x="10810" y="3274"/>
                  </a:lnTo>
                  <a:lnTo>
                    <a:pt x="10839" y="3336"/>
                  </a:lnTo>
                  <a:lnTo>
                    <a:pt x="10867" y="3399"/>
                  </a:lnTo>
                  <a:lnTo>
                    <a:pt x="10894" y="3463"/>
                  </a:lnTo>
                  <a:lnTo>
                    <a:pt x="10921" y="3527"/>
                  </a:lnTo>
                  <a:lnTo>
                    <a:pt x="10946" y="3591"/>
                  </a:lnTo>
                  <a:lnTo>
                    <a:pt x="10971" y="3655"/>
                  </a:lnTo>
                  <a:lnTo>
                    <a:pt x="10996" y="3720"/>
                  </a:lnTo>
                  <a:lnTo>
                    <a:pt x="11019" y="3786"/>
                  </a:lnTo>
                  <a:lnTo>
                    <a:pt x="11042" y="3851"/>
                  </a:lnTo>
                  <a:lnTo>
                    <a:pt x="11064" y="3917"/>
                  </a:lnTo>
                  <a:lnTo>
                    <a:pt x="11085" y="3984"/>
                  </a:lnTo>
                  <a:lnTo>
                    <a:pt x="11105" y="4050"/>
                  </a:lnTo>
                  <a:lnTo>
                    <a:pt x="11124" y="4118"/>
                  </a:lnTo>
                  <a:lnTo>
                    <a:pt x="11143" y="4185"/>
                  </a:lnTo>
                  <a:lnTo>
                    <a:pt x="11161" y="4253"/>
                  </a:lnTo>
                  <a:lnTo>
                    <a:pt x="11178" y="4321"/>
                  </a:lnTo>
                  <a:lnTo>
                    <a:pt x="11194" y="4389"/>
                  </a:lnTo>
                  <a:lnTo>
                    <a:pt x="11210" y="4458"/>
                  </a:lnTo>
                  <a:lnTo>
                    <a:pt x="11224" y="4527"/>
                  </a:lnTo>
                  <a:lnTo>
                    <a:pt x="11238" y="4596"/>
                  </a:lnTo>
                  <a:lnTo>
                    <a:pt x="11251" y="4666"/>
                  </a:lnTo>
                  <a:lnTo>
                    <a:pt x="11263" y="4736"/>
                  </a:lnTo>
                  <a:lnTo>
                    <a:pt x="11274" y="4806"/>
                  </a:lnTo>
                  <a:lnTo>
                    <a:pt x="11285" y="4877"/>
                  </a:lnTo>
                  <a:lnTo>
                    <a:pt x="11294" y="4948"/>
                  </a:lnTo>
                  <a:lnTo>
                    <a:pt x="11303" y="5019"/>
                  </a:lnTo>
                  <a:lnTo>
                    <a:pt x="11310" y="5090"/>
                  </a:lnTo>
                  <a:lnTo>
                    <a:pt x="11317" y="5162"/>
                  </a:lnTo>
                  <a:lnTo>
                    <a:pt x="11323" y="5233"/>
                  </a:lnTo>
                  <a:lnTo>
                    <a:pt x="11328" y="5306"/>
                  </a:lnTo>
                  <a:lnTo>
                    <a:pt x="11332" y="5378"/>
                  </a:lnTo>
                  <a:lnTo>
                    <a:pt x="11335" y="5451"/>
                  </a:lnTo>
                  <a:lnTo>
                    <a:pt x="11338" y="5523"/>
                  </a:lnTo>
                  <a:lnTo>
                    <a:pt x="11339" y="5596"/>
                  </a:lnTo>
                  <a:lnTo>
                    <a:pt x="11340" y="5671"/>
                  </a:lnTo>
                  <a:close/>
                </a:path>
              </a:pathLst>
            </a:custGeom>
            <a:solidFill>
              <a:srgbClr val="EC66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202" name="Freeform 7">
              <a:extLst>
                <a:ext uri="{FF2B5EF4-FFF2-40B4-BE49-F238E27FC236}">
                  <a16:creationId xmlns:a16="http://schemas.microsoft.com/office/drawing/2014/main" id="{8D636473-D7D7-49BD-9906-9BD09E540BD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8" y="1252"/>
              <a:ext cx="2268" cy="2268"/>
            </a:xfrm>
            <a:custGeom>
              <a:avLst/>
              <a:gdLst/>
              <a:ahLst/>
              <a:cxnLst>
                <a:cxn ang="0">
                  <a:pos x="11317" y="6179"/>
                </a:cxn>
                <a:cxn ang="0">
                  <a:pos x="11224" y="6813"/>
                </a:cxn>
                <a:cxn ang="0">
                  <a:pos x="11064" y="7423"/>
                </a:cxn>
                <a:cxn ang="0">
                  <a:pos x="10839" y="8004"/>
                </a:cxn>
                <a:cxn ang="0">
                  <a:pos x="10554" y="8552"/>
                </a:cxn>
                <a:cxn ang="0">
                  <a:pos x="10213" y="9063"/>
                </a:cxn>
                <a:cxn ang="0">
                  <a:pos x="9821" y="9533"/>
                </a:cxn>
                <a:cxn ang="0">
                  <a:pos x="9380" y="9958"/>
                </a:cxn>
                <a:cxn ang="0">
                  <a:pos x="8896" y="10333"/>
                </a:cxn>
                <a:cxn ang="0">
                  <a:pos x="8373" y="10656"/>
                </a:cxn>
                <a:cxn ang="0">
                  <a:pos x="7813" y="10921"/>
                </a:cxn>
                <a:cxn ang="0">
                  <a:pos x="7222" y="11125"/>
                </a:cxn>
                <a:cxn ang="0">
                  <a:pos x="6604" y="11264"/>
                </a:cxn>
                <a:cxn ang="0">
                  <a:pos x="5962" y="11333"/>
                </a:cxn>
                <a:cxn ang="0">
                  <a:pos x="5378" y="11333"/>
                </a:cxn>
                <a:cxn ang="0">
                  <a:pos x="4736" y="11264"/>
                </a:cxn>
                <a:cxn ang="0">
                  <a:pos x="4117" y="11125"/>
                </a:cxn>
                <a:cxn ang="0">
                  <a:pos x="3526" y="10921"/>
                </a:cxn>
                <a:cxn ang="0">
                  <a:pos x="2967" y="10656"/>
                </a:cxn>
                <a:cxn ang="0">
                  <a:pos x="2443" y="10333"/>
                </a:cxn>
                <a:cxn ang="0">
                  <a:pos x="1959" y="9958"/>
                </a:cxn>
                <a:cxn ang="0">
                  <a:pos x="1519" y="9533"/>
                </a:cxn>
                <a:cxn ang="0">
                  <a:pos x="1126" y="9063"/>
                </a:cxn>
                <a:cxn ang="0">
                  <a:pos x="785" y="8552"/>
                </a:cxn>
                <a:cxn ang="0">
                  <a:pos x="501" y="8004"/>
                </a:cxn>
                <a:cxn ang="0">
                  <a:pos x="276" y="7423"/>
                </a:cxn>
                <a:cxn ang="0">
                  <a:pos x="115" y="6813"/>
                </a:cxn>
                <a:cxn ang="0">
                  <a:pos x="22" y="6179"/>
                </a:cxn>
                <a:cxn ang="0">
                  <a:pos x="0" y="5596"/>
                </a:cxn>
                <a:cxn ang="0">
                  <a:pos x="45" y="4948"/>
                </a:cxn>
                <a:cxn ang="0">
                  <a:pos x="161" y="4321"/>
                </a:cxn>
                <a:cxn ang="0">
                  <a:pos x="344" y="3720"/>
                </a:cxn>
                <a:cxn ang="0">
                  <a:pos x="589" y="3150"/>
                </a:cxn>
                <a:cxn ang="0">
                  <a:pos x="893" y="2614"/>
                </a:cxn>
                <a:cxn ang="0">
                  <a:pos x="1251" y="2116"/>
                </a:cxn>
                <a:cxn ang="0">
                  <a:pos x="1660" y="1661"/>
                </a:cxn>
                <a:cxn ang="0">
                  <a:pos x="2116" y="1252"/>
                </a:cxn>
                <a:cxn ang="0">
                  <a:pos x="2613" y="893"/>
                </a:cxn>
                <a:cxn ang="0">
                  <a:pos x="3150" y="589"/>
                </a:cxn>
                <a:cxn ang="0">
                  <a:pos x="3720" y="344"/>
                </a:cxn>
                <a:cxn ang="0">
                  <a:pos x="4320" y="162"/>
                </a:cxn>
                <a:cxn ang="0">
                  <a:pos x="4947" y="46"/>
                </a:cxn>
                <a:cxn ang="0">
                  <a:pos x="5596" y="1"/>
                </a:cxn>
                <a:cxn ang="0">
                  <a:pos x="6178" y="23"/>
                </a:cxn>
                <a:cxn ang="0">
                  <a:pos x="6813" y="115"/>
                </a:cxn>
                <a:cxn ang="0">
                  <a:pos x="7423" y="276"/>
                </a:cxn>
                <a:cxn ang="0">
                  <a:pos x="8003" y="501"/>
                </a:cxn>
                <a:cxn ang="0">
                  <a:pos x="8551" y="786"/>
                </a:cxn>
                <a:cxn ang="0">
                  <a:pos x="9062" y="1126"/>
                </a:cxn>
                <a:cxn ang="0">
                  <a:pos x="9532" y="1519"/>
                </a:cxn>
                <a:cxn ang="0">
                  <a:pos x="9957" y="1959"/>
                </a:cxn>
                <a:cxn ang="0">
                  <a:pos x="10333" y="2443"/>
                </a:cxn>
                <a:cxn ang="0">
                  <a:pos x="10655" y="2967"/>
                </a:cxn>
                <a:cxn ang="0">
                  <a:pos x="10921" y="3527"/>
                </a:cxn>
                <a:cxn ang="0">
                  <a:pos x="11124" y="4118"/>
                </a:cxn>
                <a:cxn ang="0">
                  <a:pos x="11263" y="4736"/>
                </a:cxn>
                <a:cxn ang="0">
                  <a:pos x="11332" y="5378"/>
                </a:cxn>
              </a:cxnLst>
              <a:rect l="0" t="0" r="r" b="b"/>
              <a:pathLst>
                <a:path w="11340" h="11340">
                  <a:moveTo>
                    <a:pt x="11340" y="5671"/>
                  </a:moveTo>
                  <a:lnTo>
                    <a:pt x="11340" y="5671"/>
                  </a:lnTo>
                  <a:lnTo>
                    <a:pt x="11339" y="5744"/>
                  </a:lnTo>
                  <a:lnTo>
                    <a:pt x="11338" y="5817"/>
                  </a:lnTo>
                  <a:lnTo>
                    <a:pt x="11335" y="5890"/>
                  </a:lnTo>
                  <a:lnTo>
                    <a:pt x="11332" y="5962"/>
                  </a:lnTo>
                  <a:lnTo>
                    <a:pt x="11328" y="6035"/>
                  </a:lnTo>
                  <a:lnTo>
                    <a:pt x="11323" y="6107"/>
                  </a:lnTo>
                  <a:lnTo>
                    <a:pt x="11317" y="6179"/>
                  </a:lnTo>
                  <a:lnTo>
                    <a:pt x="11310" y="6250"/>
                  </a:lnTo>
                  <a:lnTo>
                    <a:pt x="11303" y="6322"/>
                  </a:lnTo>
                  <a:lnTo>
                    <a:pt x="11294" y="6393"/>
                  </a:lnTo>
                  <a:lnTo>
                    <a:pt x="11285" y="6464"/>
                  </a:lnTo>
                  <a:lnTo>
                    <a:pt x="11274" y="6534"/>
                  </a:lnTo>
                  <a:lnTo>
                    <a:pt x="11263" y="6604"/>
                  </a:lnTo>
                  <a:lnTo>
                    <a:pt x="11251" y="6674"/>
                  </a:lnTo>
                  <a:lnTo>
                    <a:pt x="11238" y="6744"/>
                  </a:lnTo>
                  <a:lnTo>
                    <a:pt x="11224" y="6813"/>
                  </a:lnTo>
                  <a:lnTo>
                    <a:pt x="11210" y="6882"/>
                  </a:lnTo>
                  <a:lnTo>
                    <a:pt x="11194" y="6951"/>
                  </a:lnTo>
                  <a:lnTo>
                    <a:pt x="11178" y="7019"/>
                  </a:lnTo>
                  <a:lnTo>
                    <a:pt x="11161" y="7088"/>
                  </a:lnTo>
                  <a:lnTo>
                    <a:pt x="11143" y="7155"/>
                  </a:lnTo>
                  <a:lnTo>
                    <a:pt x="11124" y="7223"/>
                  </a:lnTo>
                  <a:lnTo>
                    <a:pt x="11105" y="7290"/>
                  </a:lnTo>
                  <a:lnTo>
                    <a:pt x="11085" y="7357"/>
                  </a:lnTo>
                  <a:lnTo>
                    <a:pt x="11064" y="7423"/>
                  </a:lnTo>
                  <a:lnTo>
                    <a:pt x="11042" y="7489"/>
                  </a:lnTo>
                  <a:lnTo>
                    <a:pt x="11019" y="7555"/>
                  </a:lnTo>
                  <a:lnTo>
                    <a:pt x="10996" y="7620"/>
                  </a:lnTo>
                  <a:lnTo>
                    <a:pt x="10971" y="7685"/>
                  </a:lnTo>
                  <a:lnTo>
                    <a:pt x="10946" y="7749"/>
                  </a:lnTo>
                  <a:lnTo>
                    <a:pt x="10921" y="7814"/>
                  </a:lnTo>
                  <a:lnTo>
                    <a:pt x="10894" y="7877"/>
                  </a:lnTo>
                  <a:lnTo>
                    <a:pt x="10867" y="7941"/>
                  </a:lnTo>
                  <a:lnTo>
                    <a:pt x="10839" y="8004"/>
                  </a:lnTo>
                  <a:lnTo>
                    <a:pt x="10810" y="8066"/>
                  </a:lnTo>
                  <a:lnTo>
                    <a:pt x="10780" y="8129"/>
                  </a:lnTo>
                  <a:lnTo>
                    <a:pt x="10750" y="8190"/>
                  </a:lnTo>
                  <a:lnTo>
                    <a:pt x="10719" y="8252"/>
                  </a:lnTo>
                  <a:lnTo>
                    <a:pt x="10688" y="8313"/>
                  </a:lnTo>
                  <a:lnTo>
                    <a:pt x="10655" y="8373"/>
                  </a:lnTo>
                  <a:lnTo>
                    <a:pt x="10622" y="8433"/>
                  </a:lnTo>
                  <a:lnTo>
                    <a:pt x="10588" y="8493"/>
                  </a:lnTo>
                  <a:lnTo>
                    <a:pt x="10554" y="8552"/>
                  </a:lnTo>
                  <a:lnTo>
                    <a:pt x="10519" y="8610"/>
                  </a:lnTo>
                  <a:lnTo>
                    <a:pt x="10483" y="8669"/>
                  </a:lnTo>
                  <a:lnTo>
                    <a:pt x="10446" y="8726"/>
                  </a:lnTo>
                  <a:lnTo>
                    <a:pt x="10409" y="8784"/>
                  </a:lnTo>
                  <a:lnTo>
                    <a:pt x="10371" y="8840"/>
                  </a:lnTo>
                  <a:lnTo>
                    <a:pt x="10333" y="8897"/>
                  </a:lnTo>
                  <a:lnTo>
                    <a:pt x="10294" y="8953"/>
                  </a:lnTo>
                  <a:lnTo>
                    <a:pt x="10254" y="9008"/>
                  </a:lnTo>
                  <a:lnTo>
                    <a:pt x="10213" y="9063"/>
                  </a:lnTo>
                  <a:lnTo>
                    <a:pt x="10172" y="9117"/>
                  </a:lnTo>
                  <a:lnTo>
                    <a:pt x="10130" y="9171"/>
                  </a:lnTo>
                  <a:lnTo>
                    <a:pt x="10088" y="9224"/>
                  </a:lnTo>
                  <a:lnTo>
                    <a:pt x="10045" y="9277"/>
                  </a:lnTo>
                  <a:lnTo>
                    <a:pt x="10001" y="9329"/>
                  </a:lnTo>
                  <a:lnTo>
                    <a:pt x="9957" y="9381"/>
                  </a:lnTo>
                  <a:lnTo>
                    <a:pt x="9912" y="9432"/>
                  </a:lnTo>
                  <a:lnTo>
                    <a:pt x="9867" y="9483"/>
                  </a:lnTo>
                  <a:lnTo>
                    <a:pt x="9821" y="9533"/>
                  </a:lnTo>
                  <a:lnTo>
                    <a:pt x="9774" y="9582"/>
                  </a:lnTo>
                  <a:lnTo>
                    <a:pt x="9727" y="9631"/>
                  </a:lnTo>
                  <a:lnTo>
                    <a:pt x="9679" y="9680"/>
                  </a:lnTo>
                  <a:lnTo>
                    <a:pt x="9631" y="9727"/>
                  </a:lnTo>
                  <a:lnTo>
                    <a:pt x="9582" y="9775"/>
                  </a:lnTo>
                  <a:lnTo>
                    <a:pt x="9532" y="9821"/>
                  </a:lnTo>
                  <a:lnTo>
                    <a:pt x="9482" y="9867"/>
                  </a:lnTo>
                  <a:lnTo>
                    <a:pt x="9432" y="9913"/>
                  </a:lnTo>
                  <a:lnTo>
                    <a:pt x="9380" y="9958"/>
                  </a:lnTo>
                  <a:lnTo>
                    <a:pt x="9329" y="10002"/>
                  </a:lnTo>
                  <a:lnTo>
                    <a:pt x="9277" y="10046"/>
                  </a:lnTo>
                  <a:lnTo>
                    <a:pt x="9224" y="10089"/>
                  </a:lnTo>
                  <a:lnTo>
                    <a:pt x="9170" y="10131"/>
                  </a:lnTo>
                  <a:lnTo>
                    <a:pt x="9117" y="10173"/>
                  </a:lnTo>
                  <a:lnTo>
                    <a:pt x="9062" y="10214"/>
                  </a:lnTo>
                  <a:lnTo>
                    <a:pt x="9008" y="10254"/>
                  </a:lnTo>
                  <a:lnTo>
                    <a:pt x="8952" y="10294"/>
                  </a:lnTo>
                  <a:lnTo>
                    <a:pt x="8896" y="10333"/>
                  </a:lnTo>
                  <a:lnTo>
                    <a:pt x="8840" y="10372"/>
                  </a:lnTo>
                  <a:lnTo>
                    <a:pt x="8783" y="10410"/>
                  </a:lnTo>
                  <a:lnTo>
                    <a:pt x="8726" y="10447"/>
                  </a:lnTo>
                  <a:lnTo>
                    <a:pt x="8668" y="10484"/>
                  </a:lnTo>
                  <a:lnTo>
                    <a:pt x="8610" y="10519"/>
                  </a:lnTo>
                  <a:lnTo>
                    <a:pt x="8551" y="10555"/>
                  </a:lnTo>
                  <a:lnTo>
                    <a:pt x="8492" y="10589"/>
                  </a:lnTo>
                  <a:lnTo>
                    <a:pt x="8433" y="10623"/>
                  </a:lnTo>
                  <a:lnTo>
                    <a:pt x="8373" y="10656"/>
                  </a:lnTo>
                  <a:lnTo>
                    <a:pt x="8312" y="10688"/>
                  </a:lnTo>
                  <a:lnTo>
                    <a:pt x="8251" y="10720"/>
                  </a:lnTo>
                  <a:lnTo>
                    <a:pt x="8190" y="10751"/>
                  </a:lnTo>
                  <a:lnTo>
                    <a:pt x="8128" y="10781"/>
                  </a:lnTo>
                  <a:lnTo>
                    <a:pt x="8066" y="10811"/>
                  </a:lnTo>
                  <a:lnTo>
                    <a:pt x="8003" y="10839"/>
                  </a:lnTo>
                  <a:lnTo>
                    <a:pt x="7940" y="10867"/>
                  </a:lnTo>
                  <a:lnTo>
                    <a:pt x="7877" y="10895"/>
                  </a:lnTo>
                  <a:lnTo>
                    <a:pt x="7813" y="10921"/>
                  </a:lnTo>
                  <a:lnTo>
                    <a:pt x="7749" y="10947"/>
                  </a:lnTo>
                  <a:lnTo>
                    <a:pt x="7685" y="10972"/>
                  </a:lnTo>
                  <a:lnTo>
                    <a:pt x="7620" y="10996"/>
                  </a:lnTo>
                  <a:lnTo>
                    <a:pt x="7554" y="11020"/>
                  </a:lnTo>
                  <a:lnTo>
                    <a:pt x="7489" y="11042"/>
                  </a:lnTo>
                  <a:lnTo>
                    <a:pt x="7423" y="11064"/>
                  </a:lnTo>
                  <a:lnTo>
                    <a:pt x="7356" y="11085"/>
                  </a:lnTo>
                  <a:lnTo>
                    <a:pt x="7289" y="11106"/>
                  </a:lnTo>
                  <a:lnTo>
                    <a:pt x="7222" y="11125"/>
                  </a:lnTo>
                  <a:lnTo>
                    <a:pt x="7155" y="11144"/>
                  </a:lnTo>
                  <a:lnTo>
                    <a:pt x="7087" y="11162"/>
                  </a:lnTo>
                  <a:lnTo>
                    <a:pt x="7019" y="11179"/>
                  </a:lnTo>
                  <a:lnTo>
                    <a:pt x="6951" y="11195"/>
                  </a:lnTo>
                  <a:lnTo>
                    <a:pt x="6882" y="11210"/>
                  </a:lnTo>
                  <a:lnTo>
                    <a:pt x="6813" y="11225"/>
                  </a:lnTo>
                  <a:lnTo>
                    <a:pt x="6744" y="11239"/>
                  </a:lnTo>
                  <a:lnTo>
                    <a:pt x="6674" y="11252"/>
                  </a:lnTo>
                  <a:lnTo>
                    <a:pt x="6604" y="11264"/>
                  </a:lnTo>
                  <a:lnTo>
                    <a:pt x="6534" y="11275"/>
                  </a:lnTo>
                  <a:lnTo>
                    <a:pt x="6463" y="11285"/>
                  </a:lnTo>
                  <a:lnTo>
                    <a:pt x="6392" y="11295"/>
                  </a:lnTo>
                  <a:lnTo>
                    <a:pt x="6321" y="11303"/>
                  </a:lnTo>
                  <a:lnTo>
                    <a:pt x="6250" y="11311"/>
                  </a:lnTo>
                  <a:lnTo>
                    <a:pt x="6178" y="11318"/>
                  </a:lnTo>
                  <a:lnTo>
                    <a:pt x="6107" y="11324"/>
                  </a:lnTo>
                  <a:lnTo>
                    <a:pt x="6034" y="11329"/>
                  </a:lnTo>
                  <a:lnTo>
                    <a:pt x="5962" y="11333"/>
                  </a:lnTo>
                  <a:lnTo>
                    <a:pt x="5890" y="11336"/>
                  </a:lnTo>
                  <a:lnTo>
                    <a:pt x="5817" y="11338"/>
                  </a:lnTo>
                  <a:lnTo>
                    <a:pt x="5744" y="11340"/>
                  </a:lnTo>
                  <a:lnTo>
                    <a:pt x="5669" y="11340"/>
                  </a:lnTo>
                  <a:lnTo>
                    <a:pt x="5669" y="11340"/>
                  </a:lnTo>
                  <a:lnTo>
                    <a:pt x="5596" y="11340"/>
                  </a:lnTo>
                  <a:lnTo>
                    <a:pt x="5523" y="11338"/>
                  </a:lnTo>
                  <a:lnTo>
                    <a:pt x="5450" y="11336"/>
                  </a:lnTo>
                  <a:lnTo>
                    <a:pt x="5378" y="11333"/>
                  </a:lnTo>
                  <a:lnTo>
                    <a:pt x="5305" y="11329"/>
                  </a:lnTo>
                  <a:lnTo>
                    <a:pt x="5233" y="11324"/>
                  </a:lnTo>
                  <a:lnTo>
                    <a:pt x="5161" y="11318"/>
                  </a:lnTo>
                  <a:lnTo>
                    <a:pt x="5090" y="11311"/>
                  </a:lnTo>
                  <a:lnTo>
                    <a:pt x="5018" y="11303"/>
                  </a:lnTo>
                  <a:lnTo>
                    <a:pt x="4947" y="11295"/>
                  </a:lnTo>
                  <a:lnTo>
                    <a:pt x="4876" y="11285"/>
                  </a:lnTo>
                  <a:lnTo>
                    <a:pt x="4806" y="11275"/>
                  </a:lnTo>
                  <a:lnTo>
                    <a:pt x="4736" y="11264"/>
                  </a:lnTo>
                  <a:lnTo>
                    <a:pt x="4666" y="11252"/>
                  </a:lnTo>
                  <a:lnTo>
                    <a:pt x="4596" y="11239"/>
                  </a:lnTo>
                  <a:lnTo>
                    <a:pt x="4527" y="11225"/>
                  </a:lnTo>
                  <a:lnTo>
                    <a:pt x="4458" y="11210"/>
                  </a:lnTo>
                  <a:lnTo>
                    <a:pt x="4389" y="11195"/>
                  </a:lnTo>
                  <a:lnTo>
                    <a:pt x="4320" y="11179"/>
                  </a:lnTo>
                  <a:lnTo>
                    <a:pt x="4252" y="11162"/>
                  </a:lnTo>
                  <a:lnTo>
                    <a:pt x="4185" y="11144"/>
                  </a:lnTo>
                  <a:lnTo>
                    <a:pt x="4117" y="11125"/>
                  </a:lnTo>
                  <a:lnTo>
                    <a:pt x="4050" y="11106"/>
                  </a:lnTo>
                  <a:lnTo>
                    <a:pt x="3983" y="11085"/>
                  </a:lnTo>
                  <a:lnTo>
                    <a:pt x="3917" y="11064"/>
                  </a:lnTo>
                  <a:lnTo>
                    <a:pt x="3851" y="11042"/>
                  </a:lnTo>
                  <a:lnTo>
                    <a:pt x="3785" y="11020"/>
                  </a:lnTo>
                  <a:lnTo>
                    <a:pt x="3720" y="10996"/>
                  </a:lnTo>
                  <a:lnTo>
                    <a:pt x="3655" y="10972"/>
                  </a:lnTo>
                  <a:lnTo>
                    <a:pt x="3590" y="10947"/>
                  </a:lnTo>
                  <a:lnTo>
                    <a:pt x="3526" y="10921"/>
                  </a:lnTo>
                  <a:lnTo>
                    <a:pt x="3462" y="10895"/>
                  </a:lnTo>
                  <a:lnTo>
                    <a:pt x="3399" y="10867"/>
                  </a:lnTo>
                  <a:lnTo>
                    <a:pt x="3336" y="10839"/>
                  </a:lnTo>
                  <a:lnTo>
                    <a:pt x="3273" y="10811"/>
                  </a:lnTo>
                  <a:lnTo>
                    <a:pt x="3211" y="10781"/>
                  </a:lnTo>
                  <a:lnTo>
                    <a:pt x="3150" y="10751"/>
                  </a:lnTo>
                  <a:lnTo>
                    <a:pt x="3088" y="10720"/>
                  </a:lnTo>
                  <a:lnTo>
                    <a:pt x="3027" y="10688"/>
                  </a:lnTo>
                  <a:lnTo>
                    <a:pt x="2967" y="10656"/>
                  </a:lnTo>
                  <a:lnTo>
                    <a:pt x="2907" y="10623"/>
                  </a:lnTo>
                  <a:lnTo>
                    <a:pt x="2847" y="10589"/>
                  </a:lnTo>
                  <a:lnTo>
                    <a:pt x="2788" y="10555"/>
                  </a:lnTo>
                  <a:lnTo>
                    <a:pt x="2729" y="10519"/>
                  </a:lnTo>
                  <a:lnTo>
                    <a:pt x="2671" y="10484"/>
                  </a:lnTo>
                  <a:lnTo>
                    <a:pt x="2613" y="10447"/>
                  </a:lnTo>
                  <a:lnTo>
                    <a:pt x="2556" y="10410"/>
                  </a:lnTo>
                  <a:lnTo>
                    <a:pt x="2499" y="10372"/>
                  </a:lnTo>
                  <a:lnTo>
                    <a:pt x="2443" y="10333"/>
                  </a:lnTo>
                  <a:lnTo>
                    <a:pt x="2387" y="10294"/>
                  </a:lnTo>
                  <a:lnTo>
                    <a:pt x="2332" y="10254"/>
                  </a:lnTo>
                  <a:lnTo>
                    <a:pt x="2277" y="10214"/>
                  </a:lnTo>
                  <a:lnTo>
                    <a:pt x="2223" y="10173"/>
                  </a:lnTo>
                  <a:lnTo>
                    <a:pt x="2169" y="10131"/>
                  </a:lnTo>
                  <a:lnTo>
                    <a:pt x="2116" y="10089"/>
                  </a:lnTo>
                  <a:lnTo>
                    <a:pt x="2063" y="10046"/>
                  </a:lnTo>
                  <a:lnTo>
                    <a:pt x="2011" y="10002"/>
                  </a:lnTo>
                  <a:lnTo>
                    <a:pt x="1959" y="9958"/>
                  </a:lnTo>
                  <a:lnTo>
                    <a:pt x="1908" y="9913"/>
                  </a:lnTo>
                  <a:lnTo>
                    <a:pt x="1857" y="9867"/>
                  </a:lnTo>
                  <a:lnTo>
                    <a:pt x="1807" y="9821"/>
                  </a:lnTo>
                  <a:lnTo>
                    <a:pt x="1758" y="9775"/>
                  </a:lnTo>
                  <a:lnTo>
                    <a:pt x="1709" y="9727"/>
                  </a:lnTo>
                  <a:lnTo>
                    <a:pt x="1660" y="9680"/>
                  </a:lnTo>
                  <a:lnTo>
                    <a:pt x="1613" y="9631"/>
                  </a:lnTo>
                  <a:lnTo>
                    <a:pt x="1565" y="9582"/>
                  </a:lnTo>
                  <a:lnTo>
                    <a:pt x="1519" y="9533"/>
                  </a:lnTo>
                  <a:lnTo>
                    <a:pt x="1473" y="9483"/>
                  </a:lnTo>
                  <a:lnTo>
                    <a:pt x="1427" y="9432"/>
                  </a:lnTo>
                  <a:lnTo>
                    <a:pt x="1382" y="9381"/>
                  </a:lnTo>
                  <a:lnTo>
                    <a:pt x="1338" y="9329"/>
                  </a:lnTo>
                  <a:lnTo>
                    <a:pt x="1294" y="9277"/>
                  </a:lnTo>
                  <a:lnTo>
                    <a:pt x="1251" y="9224"/>
                  </a:lnTo>
                  <a:lnTo>
                    <a:pt x="1209" y="9171"/>
                  </a:lnTo>
                  <a:lnTo>
                    <a:pt x="1167" y="9117"/>
                  </a:lnTo>
                  <a:lnTo>
                    <a:pt x="1126" y="9063"/>
                  </a:lnTo>
                  <a:lnTo>
                    <a:pt x="1086" y="9008"/>
                  </a:lnTo>
                  <a:lnTo>
                    <a:pt x="1046" y="8953"/>
                  </a:lnTo>
                  <a:lnTo>
                    <a:pt x="1007" y="8897"/>
                  </a:lnTo>
                  <a:lnTo>
                    <a:pt x="968" y="8840"/>
                  </a:lnTo>
                  <a:lnTo>
                    <a:pt x="930" y="8784"/>
                  </a:lnTo>
                  <a:lnTo>
                    <a:pt x="893" y="8726"/>
                  </a:lnTo>
                  <a:lnTo>
                    <a:pt x="856" y="8669"/>
                  </a:lnTo>
                  <a:lnTo>
                    <a:pt x="821" y="8610"/>
                  </a:lnTo>
                  <a:lnTo>
                    <a:pt x="785" y="8552"/>
                  </a:lnTo>
                  <a:lnTo>
                    <a:pt x="751" y="8493"/>
                  </a:lnTo>
                  <a:lnTo>
                    <a:pt x="717" y="8433"/>
                  </a:lnTo>
                  <a:lnTo>
                    <a:pt x="684" y="8373"/>
                  </a:lnTo>
                  <a:lnTo>
                    <a:pt x="652" y="8313"/>
                  </a:lnTo>
                  <a:lnTo>
                    <a:pt x="620" y="8252"/>
                  </a:lnTo>
                  <a:lnTo>
                    <a:pt x="589" y="8190"/>
                  </a:lnTo>
                  <a:lnTo>
                    <a:pt x="559" y="8129"/>
                  </a:lnTo>
                  <a:lnTo>
                    <a:pt x="529" y="8066"/>
                  </a:lnTo>
                  <a:lnTo>
                    <a:pt x="501" y="8004"/>
                  </a:lnTo>
                  <a:lnTo>
                    <a:pt x="473" y="7941"/>
                  </a:lnTo>
                  <a:lnTo>
                    <a:pt x="445" y="7877"/>
                  </a:lnTo>
                  <a:lnTo>
                    <a:pt x="419" y="7814"/>
                  </a:lnTo>
                  <a:lnTo>
                    <a:pt x="393" y="7749"/>
                  </a:lnTo>
                  <a:lnTo>
                    <a:pt x="368" y="7685"/>
                  </a:lnTo>
                  <a:lnTo>
                    <a:pt x="344" y="7620"/>
                  </a:lnTo>
                  <a:lnTo>
                    <a:pt x="320" y="7555"/>
                  </a:lnTo>
                  <a:lnTo>
                    <a:pt x="298" y="7489"/>
                  </a:lnTo>
                  <a:lnTo>
                    <a:pt x="276" y="7423"/>
                  </a:lnTo>
                  <a:lnTo>
                    <a:pt x="255" y="7357"/>
                  </a:lnTo>
                  <a:lnTo>
                    <a:pt x="234" y="7290"/>
                  </a:lnTo>
                  <a:lnTo>
                    <a:pt x="215" y="7223"/>
                  </a:lnTo>
                  <a:lnTo>
                    <a:pt x="196" y="7155"/>
                  </a:lnTo>
                  <a:lnTo>
                    <a:pt x="178" y="7088"/>
                  </a:lnTo>
                  <a:lnTo>
                    <a:pt x="161" y="7019"/>
                  </a:lnTo>
                  <a:lnTo>
                    <a:pt x="145" y="6951"/>
                  </a:lnTo>
                  <a:lnTo>
                    <a:pt x="130" y="6882"/>
                  </a:lnTo>
                  <a:lnTo>
                    <a:pt x="115" y="6813"/>
                  </a:lnTo>
                  <a:lnTo>
                    <a:pt x="101" y="6744"/>
                  </a:lnTo>
                  <a:lnTo>
                    <a:pt x="88" y="6674"/>
                  </a:lnTo>
                  <a:lnTo>
                    <a:pt x="76" y="6604"/>
                  </a:lnTo>
                  <a:lnTo>
                    <a:pt x="65" y="6534"/>
                  </a:lnTo>
                  <a:lnTo>
                    <a:pt x="55" y="6464"/>
                  </a:lnTo>
                  <a:lnTo>
                    <a:pt x="45" y="6393"/>
                  </a:lnTo>
                  <a:lnTo>
                    <a:pt x="37" y="6322"/>
                  </a:lnTo>
                  <a:lnTo>
                    <a:pt x="29" y="6250"/>
                  </a:lnTo>
                  <a:lnTo>
                    <a:pt x="22" y="6179"/>
                  </a:lnTo>
                  <a:lnTo>
                    <a:pt x="16" y="6107"/>
                  </a:lnTo>
                  <a:lnTo>
                    <a:pt x="11" y="6035"/>
                  </a:lnTo>
                  <a:lnTo>
                    <a:pt x="7" y="5962"/>
                  </a:lnTo>
                  <a:lnTo>
                    <a:pt x="4" y="5890"/>
                  </a:lnTo>
                  <a:lnTo>
                    <a:pt x="2" y="5817"/>
                  </a:lnTo>
                  <a:lnTo>
                    <a:pt x="0" y="5744"/>
                  </a:lnTo>
                  <a:lnTo>
                    <a:pt x="0" y="5671"/>
                  </a:lnTo>
                  <a:lnTo>
                    <a:pt x="0" y="5671"/>
                  </a:lnTo>
                  <a:lnTo>
                    <a:pt x="0" y="5596"/>
                  </a:lnTo>
                  <a:lnTo>
                    <a:pt x="2" y="5523"/>
                  </a:lnTo>
                  <a:lnTo>
                    <a:pt x="4" y="5451"/>
                  </a:lnTo>
                  <a:lnTo>
                    <a:pt x="7" y="5378"/>
                  </a:lnTo>
                  <a:lnTo>
                    <a:pt x="11" y="5306"/>
                  </a:lnTo>
                  <a:lnTo>
                    <a:pt x="16" y="5233"/>
                  </a:lnTo>
                  <a:lnTo>
                    <a:pt x="22" y="5162"/>
                  </a:lnTo>
                  <a:lnTo>
                    <a:pt x="29" y="5090"/>
                  </a:lnTo>
                  <a:lnTo>
                    <a:pt x="37" y="5019"/>
                  </a:lnTo>
                  <a:lnTo>
                    <a:pt x="45" y="4948"/>
                  </a:lnTo>
                  <a:lnTo>
                    <a:pt x="55" y="4877"/>
                  </a:lnTo>
                  <a:lnTo>
                    <a:pt x="65" y="4806"/>
                  </a:lnTo>
                  <a:lnTo>
                    <a:pt x="76" y="4736"/>
                  </a:lnTo>
                  <a:lnTo>
                    <a:pt x="88" y="4666"/>
                  </a:lnTo>
                  <a:lnTo>
                    <a:pt x="101" y="4596"/>
                  </a:lnTo>
                  <a:lnTo>
                    <a:pt x="115" y="4527"/>
                  </a:lnTo>
                  <a:lnTo>
                    <a:pt x="130" y="4458"/>
                  </a:lnTo>
                  <a:lnTo>
                    <a:pt x="145" y="4389"/>
                  </a:lnTo>
                  <a:lnTo>
                    <a:pt x="161" y="4321"/>
                  </a:lnTo>
                  <a:lnTo>
                    <a:pt x="178" y="4253"/>
                  </a:lnTo>
                  <a:lnTo>
                    <a:pt x="196" y="4185"/>
                  </a:lnTo>
                  <a:lnTo>
                    <a:pt x="215" y="4118"/>
                  </a:lnTo>
                  <a:lnTo>
                    <a:pt x="234" y="4050"/>
                  </a:lnTo>
                  <a:lnTo>
                    <a:pt x="255" y="3984"/>
                  </a:lnTo>
                  <a:lnTo>
                    <a:pt x="276" y="3917"/>
                  </a:lnTo>
                  <a:lnTo>
                    <a:pt x="298" y="3851"/>
                  </a:lnTo>
                  <a:lnTo>
                    <a:pt x="320" y="3786"/>
                  </a:lnTo>
                  <a:lnTo>
                    <a:pt x="344" y="3720"/>
                  </a:lnTo>
                  <a:lnTo>
                    <a:pt x="368" y="3655"/>
                  </a:lnTo>
                  <a:lnTo>
                    <a:pt x="393" y="3591"/>
                  </a:lnTo>
                  <a:lnTo>
                    <a:pt x="419" y="3527"/>
                  </a:lnTo>
                  <a:lnTo>
                    <a:pt x="445" y="3463"/>
                  </a:lnTo>
                  <a:lnTo>
                    <a:pt x="473" y="3399"/>
                  </a:lnTo>
                  <a:lnTo>
                    <a:pt x="501" y="3336"/>
                  </a:lnTo>
                  <a:lnTo>
                    <a:pt x="529" y="3274"/>
                  </a:lnTo>
                  <a:lnTo>
                    <a:pt x="559" y="3212"/>
                  </a:lnTo>
                  <a:lnTo>
                    <a:pt x="589" y="3150"/>
                  </a:lnTo>
                  <a:lnTo>
                    <a:pt x="620" y="3089"/>
                  </a:lnTo>
                  <a:lnTo>
                    <a:pt x="652" y="3028"/>
                  </a:lnTo>
                  <a:lnTo>
                    <a:pt x="684" y="2967"/>
                  </a:lnTo>
                  <a:lnTo>
                    <a:pt x="717" y="2907"/>
                  </a:lnTo>
                  <a:lnTo>
                    <a:pt x="751" y="2848"/>
                  </a:lnTo>
                  <a:lnTo>
                    <a:pt x="785" y="2788"/>
                  </a:lnTo>
                  <a:lnTo>
                    <a:pt x="821" y="2730"/>
                  </a:lnTo>
                  <a:lnTo>
                    <a:pt x="856" y="2672"/>
                  </a:lnTo>
                  <a:lnTo>
                    <a:pt x="893" y="2614"/>
                  </a:lnTo>
                  <a:lnTo>
                    <a:pt x="930" y="2557"/>
                  </a:lnTo>
                  <a:lnTo>
                    <a:pt x="968" y="2500"/>
                  </a:lnTo>
                  <a:lnTo>
                    <a:pt x="1007" y="2443"/>
                  </a:lnTo>
                  <a:lnTo>
                    <a:pt x="1046" y="2388"/>
                  </a:lnTo>
                  <a:lnTo>
                    <a:pt x="1086" y="2332"/>
                  </a:lnTo>
                  <a:lnTo>
                    <a:pt x="1126" y="2277"/>
                  </a:lnTo>
                  <a:lnTo>
                    <a:pt x="1167" y="2223"/>
                  </a:lnTo>
                  <a:lnTo>
                    <a:pt x="1209" y="2169"/>
                  </a:lnTo>
                  <a:lnTo>
                    <a:pt x="1251" y="2116"/>
                  </a:lnTo>
                  <a:lnTo>
                    <a:pt x="1294" y="2063"/>
                  </a:lnTo>
                  <a:lnTo>
                    <a:pt x="1338" y="2011"/>
                  </a:lnTo>
                  <a:lnTo>
                    <a:pt x="1382" y="1959"/>
                  </a:lnTo>
                  <a:lnTo>
                    <a:pt x="1427" y="1908"/>
                  </a:lnTo>
                  <a:lnTo>
                    <a:pt x="1473" y="1858"/>
                  </a:lnTo>
                  <a:lnTo>
                    <a:pt x="1519" y="1807"/>
                  </a:lnTo>
                  <a:lnTo>
                    <a:pt x="1565" y="1758"/>
                  </a:lnTo>
                  <a:lnTo>
                    <a:pt x="1613" y="1709"/>
                  </a:lnTo>
                  <a:lnTo>
                    <a:pt x="1660" y="1661"/>
                  </a:lnTo>
                  <a:lnTo>
                    <a:pt x="1709" y="1613"/>
                  </a:lnTo>
                  <a:lnTo>
                    <a:pt x="1758" y="1566"/>
                  </a:lnTo>
                  <a:lnTo>
                    <a:pt x="1807" y="1519"/>
                  </a:lnTo>
                  <a:lnTo>
                    <a:pt x="1857" y="1473"/>
                  </a:lnTo>
                  <a:lnTo>
                    <a:pt x="1908" y="1427"/>
                  </a:lnTo>
                  <a:lnTo>
                    <a:pt x="1959" y="1383"/>
                  </a:lnTo>
                  <a:lnTo>
                    <a:pt x="2011" y="1338"/>
                  </a:lnTo>
                  <a:lnTo>
                    <a:pt x="2063" y="1295"/>
                  </a:lnTo>
                  <a:lnTo>
                    <a:pt x="2116" y="1252"/>
                  </a:lnTo>
                  <a:lnTo>
                    <a:pt x="2169" y="1209"/>
                  </a:lnTo>
                  <a:lnTo>
                    <a:pt x="2223" y="1168"/>
                  </a:lnTo>
                  <a:lnTo>
                    <a:pt x="2277" y="1126"/>
                  </a:lnTo>
                  <a:lnTo>
                    <a:pt x="2332" y="1086"/>
                  </a:lnTo>
                  <a:lnTo>
                    <a:pt x="2387" y="1046"/>
                  </a:lnTo>
                  <a:lnTo>
                    <a:pt x="2443" y="1007"/>
                  </a:lnTo>
                  <a:lnTo>
                    <a:pt x="2499" y="968"/>
                  </a:lnTo>
                  <a:lnTo>
                    <a:pt x="2556" y="930"/>
                  </a:lnTo>
                  <a:lnTo>
                    <a:pt x="2613" y="893"/>
                  </a:lnTo>
                  <a:lnTo>
                    <a:pt x="2671" y="857"/>
                  </a:lnTo>
                  <a:lnTo>
                    <a:pt x="2729" y="821"/>
                  </a:lnTo>
                  <a:lnTo>
                    <a:pt x="2788" y="786"/>
                  </a:lnTo>
                  <a:lnTo>
                    <a:pt x="2847" y="751"/>
                  </a:lnTo>
                  <a:lnTo>
                    <a:pt x="2907" y="717"/>
                  </a:lnTo>
                  <a:lnTo>
                    <a:pt x="2967" y="684"/>
                  </a:lnTo>
                  <a:lnTo>
                    <a:pt x="3027" y="652"/>
                  </a:lnTo>
                  <a:lnTo>
                    <a:pt x="3088" y="620"/>
                  </a:lnTo>
                  <a:lnTo>
                    <a:pt x="3150" y="589"/>
                  </a:lnTo>
                  <a:lnTo>
                    <a:pt x="3211" y="559"/>
                  </a:lnTo>
                  <a:lnTo>
                    <a:pt x="3273" y="530"/>
                  </a:lnTo>
                  <a:lnTo>
                    <a:pt x="3336" y="501"/>
                  </a:lnTo>
                  <a:lnTo>
                    <a:pt x="3399" y="473"/>
                  </a:lnTo>
                  <a:lnTo>
                    <a:pt x="3462" y="446"/>
                  </a:lnTo>
                  <a:lnTo>
                    <a:pt x="3526" y="419"/>
                  </a:lnTo>
                  <a:lnTo>
                    <a:pt x="3590" y="393"/>
                  </a:lnTo>
                  <a:lnTo>
                    <a:pt x="3655" y="368"/>
                  </a:lnTo>
                  <a:lnTo>
                    <a:pt x="3720" y="344"/>
                  </a:lnTo>
                  <a:lnTo>
                    <a:pt x="3785" y="321"/>
                  </a:lnTo>
                  <a:lnTo>
                    <a:pt x="3851" y="298"/>
                  </a:lnTo>
                  <a:lnTo>
                    <a:pt x="3917" y="276"/>
                  </a:lnTo>
                  <a:lnTo>
                    <a:pt x="3983" y="255"/>
                  </a:lnTo>
                  <a:lnTo>
                    <a:pt x="4050" y="235"/>
                  </a:lnTo>
                  <a:lnTo>
                    <a:pt x="4117" y="215"/>
                  </a:lnTo>
                  <a:lnTo>
                    <a:pt x="4185" y="197"/>
                  </a:lnTo>
                  <a:lnTo>
                    <a:pt x="4252" y="179"/>
                  </a:lnTo>
                  <a:lnTo>
                    <a:pt x="4320" y="162"/>
                  </a:lnTo>
                  <a:lnTo>
                    <a:pt x="4389" y="145"/>
                  </a:lnTo>
                  <a:lnTo>
                    <a:pt x="4458" y="130"/>
                  </a:lnTo>
                  <a:lnTo>
                    <a:pt x="4527" y="115"/>
                  </a:lnTo>
                  <a:lnTo>
                    <a:pt x="4596" y="102"/>
                  </a:lnTo>
                  <a:lnTo>
                    <a:pt x="4666" y="89"/>
                  </a:lnTo>
                  <a:lnTo>
                    <a:pt x="4736" y="77"/>
                  </a:lnTo>
                  <a:lnTo>
                    <a:pt x="4806" y="65"/>
                  </a:lnTo>
                  <a:lnTo>
                    <a:pt x="4876" y="55"/>
                  </a:lnTo>
                  <a:lnTo>
                    <a:pt x="4947" y="46"/>
                  </a:lnTo>
                  <a:lnTo>
                    <a:pt x="5018" y="37"/>
                  </a:lnTo>
                  <a:lnTo>
                    <a:pt x="5090" y="29"/>
                  </a:lnTo>
                  <a:lnTo>
                    <a:pt x="5161" y="23"/>
                  </a:lnTo>
                  <a:lnTo>
                    <a:pt x="5233" y="17"/>
                  </a:lnTo>
                  <a:lnTo>
                    <a:pt x="5305" y="12"/>
                  </a:lnTo>
                  <a:lnTo>
                    <a:pt x="5378" y="8"/>
                  </a:lnTo>
                  <a:lnTo>
                    <a:pt x="5450" y="4"/>
                  </a:lnTo>
                  <a:lnTo>
                    <a:pt x="5523" y="2"/>
                  </a:lnTo>
                  <a:lnTo>
                    <a:pt x="5596" y="1"/>
                  </a:lnTo>
                  <a:lnTo>
                    <a:pt x="5669" y="0"/>
                  </a:lnTo>
                  <a:lnTo>
                    <a:pt x="5669" y="0"/>
                  </a:lnTo>
                  <a:lnTo>
                    <a:pt x="5744" y="1"/>
                  </a:lnTo>
                  <a:lnTo>
                    <a:pt x="5817" y="2"/>
                  </a:lnTo>
                  <a:lnTo>
                    <a:pt x="5890" y="4"/>
                  </a:lnTo>
                  <a:lnTo>
                    <a:pt x="5962" y="8"/>
                  </a:lnTo>
                  <a:lnTo>
                    <a:pt x="6034" y="12"/>
                  </a:lnTo>
                  <a:lnTo>
                    <a:pt x="6107" y="17"/>
                  </a:lnTo>
                  <a:lnTo>
                    <a:pt x="6178" y="23"/>
                  </a:lnTo>
                  <a:lnTo>
                    <a:pt x="6250" y="29"/>
                  </a:lnTo>
                  <a:lnTo>
                    <a:pt x="6321" y="37"/>
                  </a:lnTo>
                  <a:lnTo>
                    <a:pt x="6392" y="46"/>
                  </a:lnTo>
                  <a:lnTo>
                    <a:pt x="6463" y="55"/>
                  </a:lnTo>
                  <a:lnTo>
                    <a:pt x="6534" y="65"/>
                  </a:lnTo>
                  <a:lnTo>
                    <a:pt x="6604" y="77"/>
                  </a:lnTo>
                  <a:lnTo>
                    <a:pt x="6674" y="89"/>
                  </a:lnTo>
                  <a:lnTo>
                    <a:pt x="6744" y="102"/>
                  </a:lnTo>
                  <a:lnTo>
                    <a:pt x="6813" y="115"/>
                  </a:lnTo>
                  <a:lnTo>
                    <a:pt x="6882" y="130"/>
                  </a:lnTo>
                  <a:lnTo>
                    <a:pt x="6951" y="145"/>
                  </a:lnTo>
                  <a:lnTo>
                    <a:pt x="7019" y="162"/>
                  </a:lnTo>
                  <a:lnTo>
                    <a:pt x="7087" y="179"/>
                  </a:lnTo>
                  <a:lnTo>
                    <a:pt x="7155" y="197"/>
                  </a:lnTo>
                  <a:lnTo>
                    <a:pt x="7222" y="215"/>
                  </a:lnTo>
                  <a:lnTo>
                    <a:pt x="7289" y="235"/>
                  </a:lnTo>
                  <a:lnTo>
                    <a:pt x="7356" y="255"/>
                  </a:lnTo>
                  <a:lnTo>
                    <a:pt x="7423" y="276"/>
                  </a:lnTo>
                  <a:lnTo>
                    <a:pt x="7489" y="298"/>
                  </a:lnTo>
                  <a:lnTo>
                    <a:pt x="7554" y="321"/>
                  </a:lnTo>
                  <a:lnTo>
                    <a:pt x="7620" y="344"/>
                  </a:lnTo>
                  <a:lnTo>
                    <a:pt x="7685" y="368"/>
                  </a:lnTo>
                  <a:lnTo>
                    <a:pt x="7749" y="393"/>
                  </a:lnTo>
                  <a:lnTo>
                    <a:pt x="7813" y="419"/>
                  </a:lnTo>
                  <a:lnTo>
                    <a:pt x="7877" y="446"/>
                  </a:lnTo>
                  <a:lnTo>
                    <a:pt x="7940" y="473"/>
                  </a:lnTo>
                  <a:lnTo>
                    <a:pt x="8003" y="501"/>
                  </a:lnTo>
                  <a:lnTo>
                    <a:pt x="8066" y="530"/>
                  </a:lnTo>
                  <a:lnTo>
                    <a:pt x="8128" y="559"/>
                  </a:lnTo>
                  <a:lnTo>
                    <a:pt x="8190" y="589"/>
                  </a:lnTo>
                  <a:lnTo>
                    <a:pt x="8251" y="620"/>
                  </a:lnTo>
                  <a:lnTo>
                    <a:pt x="8312" y="652"/>
                  </a:lnTo>
                  <a:lnTo>
                    <a:pt x="8373" y="684"/>
                  </a:lnTo>
                  <a:lnTo>
                    <a:pt x="8433" y="717"/>
                  </a:lnTo>
                  <a:lnTo>
                    <a:pt x="8492" y="751"/>
                  </a:lnTo>
                  <a:lnTo>
                    <a:pt x="8551" y="786"/>
                  </a:lnTo>
                  <a:lnTo>
                    <a:pt x="8610" y="821"/>
                  </a:lnTo>
                  <a:lnTo>
                    <a:pt x="8668" y="857"/>
                  </a:lnTo>
                  <a:lnTo>
                    <a:pt x="8726" y="893"/>
                  </a:lnTo>
                  <a:lnTo>
                    <a:pt x="8783" y="930"/>
                  </a:lnTo>
                  <a:lnTo>
                    <a:pt x="8840" y="968"/>
                  </a:lnTo>
                  <a:lnTo>
                    <a:pt x="8896" y="1007"/>
                  </a:lnTo>
                  <a:lnTo>
                    <a:pt x="8952" y="1046"/>
                  </a:lnTo>
                  <a:lnTo>
                    <a:pt x="9008" y="1086"/>
                  </a:lnTo>
                  <a:lnTo>
                    <a:pt x="9062" y="1126"/>
                  </a:lnTo>
                  <a:lnTo>
                    <a:pt x="9117" y="1168"/>
                  </a:lnTo>
                  <a:lnTo>
                    <a:pt x="9170" y="1209"/>
                  </a:lnTo>
                  <a:lnTo>
                    <a:pt x="9224" y="1252"/>
                  </a:lnTo>
                  <a:lnTo>
                    <a:pt x="9277" y="1295"/>
                  </a:lnTo>
                  <a:lnTo>
                    <a:pt x="9329" y="1338"/>
                  </a:lnTo>
                  <a:lnTo>
                    <a:pt x="9380" y="1383"/>
                  </a:lnTo>
                  <a:lnTo>
                    <a:pt x="9432" y="1427"/>
                  </a:lnTo>
                  <a:lnTo>
                    <a:pt x="9482" y="1473"/>
                  </a:lnTo>
                  <a:lnTo>
                    <a:pt x="9532" y="1519"/>
                  </a:lnTo>
                  <a:lnTo>
                    <a:pt x="9582" y="1566"/>
                  </a:lnTo>
                  <a:lnTo>
                    <a:pt x="9631" y="1613"/>
                  </a:lnTo>
                  <a:lnTo>
                    <a:pt x="9679" y="1661"/>
                  </a:lnTo>
                  <a:lnTo>
                    <a:pt x="9727" y="1709"/>
                  </a:lnTo>
                  <a:lnTo>
                    <a:pt x="9774" y="1758"/>
                  </a:lnTo>
                  <a:lnTo>
                    <a:pt x="9821" y="1807"/>
                  </a:lnTo>
                  <a:lnTo>
                    <a:pt x="9867" y="1858"/>
                  </a:lnTo>
                  <a:lnTo>
                    <a:pt x="9912" y="1908"/>
                  </a:lnTo>
                  <a:lnTo>
                    <a:pt x="9957" y="1959"/>
                  </a:lnTo>
                  <a:lnTo>
                    <a:pt x="10001" y="2011"/>
                  </a:lnTo>
                  <a:lnTo>
                    <a:pt x="10045" y="2063"/>
                  </a:lnTo>
                  <a:lnTo>
                    <a:pt x="10088" y="2116"/>
                  </a:lnTo>
                  <a:lnTo>
                    <a:pt x="10130" y="2169"/>
                  </a:lnTo>
                  <a:lnTo>
                    <a:pt x="10172" y="2223"/>
                  </a:lnTo>
                  <a:lnTo>
                    <a:pt x="10213" y="2277"/>
                  </a:lnTo>
                  <a:lnTo>
                    <a:pt x="10254" y="2332"/>
                  </a:lnTo>
                  <a:lnTo>
                    <a:pt x="10294" y="2388"/>
                  </a:lnTo>
                  <a:lnTo>
                    <a:pt x="10333" y="2443"/>
                  </a:lnTo>
                  <a:lnTo>
                    <a:pt x="10371" y="2500"/>
                  </a:lnTo>
                  <a:lnTo>
                    <a:pt x="10409" y="2557"/>
                  </a:lnTo>
                  <a:lnTo>
                    <a:pt x="10446" y="2614"/>
                  </a:lnTo>
                  <a:lnTo>
                    <a:pt x="10483" y="2672"/>
                  </a:lnTo>
                  <a:lnTo>
                    <a:pt x="10519" y="2730"/>
                  </a:lnTo>
                  <a:lnTo>
                    <a:pt x="10554" y="2788"/>
                  </a:lnTo>
                  <a:lnTo>
                    <a:pt x="10588" y="2848"/>
                  </a:lnTo>
                  <a:lnTo>
                    <a:pt x="10622" y="2907"/>
                  </a:lnTo>
                  <a:lnTo>
                    <a:pt x="10655" y="2967"/>
                  </a:lnTo>
                  <a:lnTo>
                    <a:pt x="10688" y="3028"/>
                  </a:lnTo>
                  <a:lnTo>
                    <a:pt x="10719" y="3089"/>
                  </a:lnTo>
                  <a:lnTo>
                    <a:pt x="10750" y="3150"/>
                  </a:lnTo>
                  <a:lnTo>
                    <a:pt x="10780" y="3212"/>
                  </a:lnTo>
                  <a:lnTo>
                    <a:pt x="10810" y="3274"/>
                  </a:lnTo>
                  <a:lnTo>
                    <a:pt x="10839" y="3336"/>
                  </a:lnTo>
                  <a:lnTo>
                    <a:pt x="10867" y="3399"/>
                  </a:lnTo>
                  <a:lnTo>
                    <a:pt x="10894" y="3463"/>
                  </a:lnTo>
                  <a:lnTo>
                    <a:pt x="10921" y="3527"/>
                  </a:lnTo>
                  <a:lnTo>
                    <a:pt x="10946" y="3591"/>
                  </a:lnTo>
                  <a:lnTo>
                    <a:pt x="10971" y="3655"/>
                  </a:lnTo>
                  <a:lnTo>
                    <a:pt x="10996" y="3720"/>
                  </a:lnTo>
                  <a:lnTo>
                    <a:pt x="11019" y="3786"/>
                  </a:lnTo>
                  <a:lnTo>
                    <a:pt x="11042" y="3851"/>
                  </a:lnTo>
                  <a:lnTo>
                    <a:pt x="11064" y="3917"/>
                  </a:lnTo>
                  <a:lnTo>
                    <a:pt x="11085" y="3984"/>
                  </a:lnTo>
                  <a:lnTo>
                    <a:pt x="11105" y="4050"/>
                  </a:lnTo>
                  <a:lnTo>
                    <a:pt x="11124" y="4118"/>
                  </a:lnTo>
                  <a:lnTo>
                    <a:pt x="11143" y="4185"/>
                  </a:lnTo>
                  <a:lnTo>
                    <a:pt x="11161" y="4253"/>
                  </a:lnTo>
                  <a:lnTo>
                    <a:pt x="11178" y="4321"/>
                  </a:lnTo>
                  <a:lnTo>
                    <a:pt x="11194" y="4389"/>
                  </a:lnTo>
                  <a:lnTo>
                    <a:pt x="11210" y="4458"/>
                  </a:lnTo>
                  <a:lnTo>
                    <a:pt x="11224" y="4527"/>
                  </a:lnTo>
                  <a:lnTo>
                    <a:pt x="11238" y="4596"/>
                  </a:lnTo>
                  <a:lnTo>
                    <a:pt x="11251" y="4666"/>
                  </a:lnTo>
                  <a:lnTo>
                    <a:pt x="11263" y="4736"/>
                  </a:lnTo>
                  <a:lnTo>
                    <a:pt x="11274" y="4806"/>
                  </a:lnTo>
                  <a:lnTo>
                    <a:pt x="11285" y="4877"/>
                  </a:lnTo>
                  <a:lnTo>
                    <a:pt x="11294" y="4948"/>
                  </a:lnTo>
                  <a:lnTo>
                    <a:pt x="11303" y="5019"/>
                  </a:lnTo>
                  <a:lnTo>
                    <a:pt x="11310" y="5090"/>
                  </a:lnTo>
                  <a:lnTo>
                    <a:pt x="11317" y="5162"/>
                  </a:lnTo>
                  <a:lnTo>
                    <a:pt x="11323" y="5233"/>
                  </a:lnTo>
                  <a:lnTo>
                    <a:pt x="11328" y="5306"/>
                  </a:lnTo>
                  <a:lnTo>
                    <a:pt x="11332" y="5378"/>
                  </a:lnTo>
                  <a:lnTo>
                    <a:pt x="11335" y="5451"/>
                  </a:lnTo>
                  <a:lnTo>
                    <a:pt x="11338" y="5523"/>
                  </a:lnTo>
                  <a:lnTo>
                    <a:pt x="11339" y="5596"/>
                  </a:lnTo>
                  <a:lnTo>
                    <a:pt x="11340" y="567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203" name="Freeform 8">
              <a:extLst>
                <a:ext uri="{FF2B5EF4-FFF2-40B4-BE49-F238E27FC236}">
                  <a16:creationId xmlns:a16="http://schemas.microsoft.com/office/drawing/2014/main" id="{7F62E89C-B505-44DD-BC22-AEDDD5A923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10" y="1566"/>
              <a:ext cx="1615" cy="1653"/>
            </a:xfrm>
            <a:custGeom>
              <a:avLst/>
              <a:gdLst/>
              <a:ahLst/>
              <a:cxnLst>
                <a:cxn ang="0">
                  <a:pos x="4319" y="2213"/>
                </a:cxn>
                <a:cxn ang="0">
                  <a:pos x="4796" y="1894"/>
                </a:cxn>
                <a:cxn ang="0">
                  <a:pos x="4876" y="1759"/>
                </a:cxn>
                <a:cxn ang="0">
                  <a:pos x="4526" y="1075"/>
                </a:cxn>
                <a:cxn ang="0">
                  <a:pos x="4005" y="1264"/>
                </a:cxn>
                <a:cxn ang="0">
                  <a:pos x="3815" y="1225"/>
                </a:cxn>
                <a:cxn ang="0">
                  <a:pos x="3367" y="807"/>
                </a:cxn>
                <a:cxn ang="0">
                  <a:pos x="3456" y="245"/>
                </a:cxn>
                <a:cxn ang="0">
                  <a:pos x="2745" y="3"/>
                </a:cxn>
                <a:cxn ang="0">
                  <a:pos x="2590" y="70"/>
                </a:cxn>
                <a:cxn ang="0">
                  <a:pos x="2416" y="615"/>
                </a:cxn>
                <a:cxn ang="0">
                  <a:pos x="1822" y="774"/>
                </a:cxn>
                <a:cxn ang="0">
                  <a:pos x="1644" y="700"/>
                </a:cxn>
                <a:cxn ang="0">
                  <a:pos x="1252" y="324"/>
                </a:cxn>
                <a:cxn ang="0">
                  <a:pos x="653" y="807"/>
                </a:cxn>
                <a:cxn ang="0">
                  <a:pos x="942" y="1274"/>
                </a:cxn>
                <a:cxn ang="0">
                  <a:pos x="960" y="1467"/>
                </a:cxn>
                <a:cxn ang="0">
                  <a:pos x="660" y="2003"/>
                </a:cxn>
                <a:cxn ang="0">
                  <a:pos x="90" y="2042"/>
                </a:cxn>
                <a:cxn ang="0">
                  <a:pos x="0" y="2797"/>
                </a:cxn>
                <a:cxn ang="0">
                  <a:pos x="86" y="2927"/>
                </a:cxn>
                <a:cxn ang="0">
                  <a:pos x="656" y="2972"/>
                </a:cxn>
                <a:cxn ang="0">
                  <a:pos x="952" y="3509"/>
                </a:cxn>
                <a:cxn ang="0">
                  <a:pos x="932" y="3702"/>
                </a:cxn>
                <a:cxn ang="0">
                  <a:pos x="640" y="4167"/>
                </a:cxn>
                <a:cxn ang="0">
                  <a:pos x="1235" y="4655"/>
                </a:cxn>
                <a:cxn ang="0">
                  <a:pos x="1630" y="4283"/>
                </a:cxn>
                <a:cxn ang="0">
                  <a:pos x="1809" y="4210"/>
                </a:cxn>
                <a:cxn ang="0">
                  <a:pos x="2403" y="4373"/>
                </a:cxn>
                <a:cxn ang="0">
                  <a:pos x="2574" y="4919"/>
                </a:cxn>
                <a:cxn ang="0">
                  <a:pos x="2728" y="4987"/>
                </a:cxn>
                <a:cxn ang="0">
                  <a:pos x="3441" y="4750"/>
                </a:cxn>
                <a:cxn ang="0">
                  <a:pos x="3356" y="4187"/>
                </a:cxn>
                <a:cxn ang="0">
                  <a:pos x="3806" y="3773"/>
                </a:cxn>
                <a:cxn ang="0">
                  <a:pos x="3997" y="3735"/>
                </a:cxn>
                <a:cxn ang="0">
                  <a:pos x="4516" y="3927"/>
                </a:cxn>
                <a:cxn ang="0">
                  <a:pos x="4871" y="3245"/>
                </a:cxn>
                <a:cxn ang="0">
                  <a:pos x="4421" y="2930"/>
                </a:cxn>
                <a:cxn ang="0">
                  <a:pos x="4317" y="2787"/>
                </a:cxn>
                <a:cxn ang="0">
                  <a:pos x="3788" y="2500"/>
                </a:cxn>
                <a:cxn ang="0">
                  <a:pos x="3728" y="2887"/>
                </a:cxn>
                <a:cxn ang="0">
                  <a:pos x="3545" y="3252"/>
                </a:cxn>
                <a:cxn ang="0">
                  <a:pos x="3261" y="3541"/>
                </a:cxn>
                <a:cxn ang="0">
                  <a:pos x="2899" y="3730"/>
                </a:cxn>
                <a:cxn ang="0">
                  <a:pos x="2481" y="3796"/>
                </a:cxn>
                <a:cxn ang="0">
                  <a:pos x="2093" y="3736"/>
                </a:cxn>
                <a:cxn ang="0">
                  <a:pos x="1728" y="3553"/>
                </a:cxn>
                <a:cxn ang="0">
                  <a:pos x="1439" y="3269"/>
                </a:cxn>
                <a:cxn ang="0">
                  <a:pos x="1250" y="2907"/>
                </a:cxn>
                <a:cxn ang="0">
                  <a:pos x="1184" y="2490"/>
                </a:cxn>
                <a:cxn ang="0">
                  <a:pos x="1244" y="2102"/>
                </a:cxn>
                <a:cxn ang="0">
                  <a:pos x="1427" y="1736"/>
                </a:cxn>
                <a:cxn ang="0">
                  <a:pos x="1711" y="1448"/>
                </a:cxn>
                <a:cxn ang="0">
                  <a:pos x="2073" y="1259"/>
                </a:cxn>
                <a:cxn ang="0">
                  <a:pos x="2492" y="1192"/>
                </a:cxn>
                <a:cxn ang="0">
                  <a:pos x="2878" y="1252"/>
                </a:cxn>
                <a:cxn ang="0">
                  <a:pos x="3244" y="1435"/>
                </a:cxn>
                <a:cxn ang="0">
                  <a:pos x="3532" y="1719"/>
                </a:cxn>
                <a:cxn ang="0">
                  <a:pos x="3721" y="2081"/>
                </a:cxn>
                <a:cxn ang="0">
                  <a:pos x="3788" y="2500"/>
                </a:cxn>
              </a:cxnLst>
              <a:rect l="0" t="0" r="r" b="b"/>
              <a:pathLst>
                <a:path w="4876" h="4990">
                  <a:moveTo>
                    <a:pt x="4332" y="2502"/>
                  </a:moveTo>
                  <a:lnTo>
                    <a:pt x="4332" y="2502"/>
                  </a:lnTo>
                  <a:lnTo>
                    <a:pt x="4331" y="2455"/>
                  </a:lnTo>
                  <a:lnTo>
                    <a:pt x="4329" y="2412"/>
                  </a:lnTo>
                  <a:lnTo>
                    <a:pt x="4327" y="2373"/>
                  </a:lnTo>
                  <a:lnTo>
                    <a:pt x="4324" y="2340"/>
                  </a:lnTo>
                  <a:lnTo>
                    <a:pt x="4319" y="2291"/>
                  </a:lnTo>
                  <a:lnTo>
                    <a:pt x="4317" y="2273"/>
                  </a:lnTo>
                  <a:lnTo>
                    <a:pt x="4317" y="2273"/>
                  </a:lnTo>
                  <a:lnTo>
                    <a:pt x="4315" y="2258"/>
                  </a:lnTo>
                  <a:lnTo>
                    <a:pt x="4315" y="2243"/>
                  </a:lnTo>
                  <a:lnTo>
                    <a:pt x="4317" y="2228"/>
                  </a:lnTo>
                  <a:lnTo>
                    <a:pt x="4319" y="2213"/>
                  </a:lnTo>
                  <a:lnTo>
                    <a:pt x="4323" y="2199"/>
                  </a:lnTo>
                  <a:lnTo>
                    <a:pt x="4327" y="2184"/>
                  </a:lnTo>
                  <a:lnTo>
                    <a:pt x="4333" y="2170"/>
                  </a:lnTo>
                  <a:lnTo>
                    <a:pt x="4340" y="2156"/>
                  </a:lnTo>
                  <a:lnTo>
                    <a:pt x="4348" y="2142"/>
                  </a:lnTo>
                  <a:lnTo>
                    <a:pt x="4356" y="2130"/>
                  </a:lnTo>
                  <a:lnTo>
                    <a:pt x="4366" y="2117"/>
                  </a:lnTo>
                  <a:lnTo>
                    <a:pt x="4376" y="2106"/>
                  </a:lnTo>
                  <a:lnTo>
                    <a:pt x="4387" y="2096"/>
                  </a:lnTo>
                  <a:lnTo>
                    <a:pt x="4399" y="2087"/>
                  </a:lnTo>
                  <a:lnTo>
                    <a:pt x="4411" y="2078"/>
                  </a:lnTo>
                  <a:lnTo>
                    <a:pt x="4424" y="2071"/>
                  </a:lnTo>
                  <a:lnTo>
                    <a:pt x="4796" y="1894"/>
                  </a:lnTo>
                  <a:lnTo>
                    <a:pt x="4796" y="1894"/>
                  </a:lnTo>
                  <a:lnTo>
                    <a:pt x="4809" y="1887"/>
                  </a:lnTo>
                  <a:lnTo>
                    <a:pt x="4820" y="1879"/>
                  </a:lnTo>
                  <a:lnTo>
                    <a:pt x="4831" y="1870"/>
                  </a:lnTo>
                  <a:lnTo>
                    <a:pt x="4841" y="1860"/>
                  </a:lnTo>
                  <a:lnTo>
                    <a:pt x="4849" y="1849"/>
                  </a:lnTo>
                  <a:lnTo>
                    <a:pt x="4857" y="1838"/>
                  </a:lnTo>
                  <a:lnTo>
                    <a:pt x="4863" y="1826"/>
                  </a:lnTo>
                  <a:lnTo>
                    <a:pt x="4868" y="1813"/>
                  </a:lnTo>
                  <a:lnTo>
                    <a:pt x="4872" y="1800"/>
                  </a:lnTo>
                  <a:lnTo>
                    <a:pt x="4875" y="1787"/>
                  </a:lnTo>
                  <a:lnTo>
                    <a:pt x="4876" y="1773"/>
                  </a:lnTo>
                  <a:lnTo>
                    <a:pt x="4876" y="1759"/>
                  </a:lnTo>
                  <a:lnTo>
                    <a:pt x="4875" y="1746"/>
                  </a:lnTo>
                  <a:lnTo>
                    <a:pt x="4872" y="1732"/>
                  </a:lnTo>
                  <a:lnTo>
                    <a:pt x="4868" y="1718"/>
                  </a:lnTo>
                  <a:lnTo>
                    <a:pt x="4863" y="1705"/>
                  </a:lnTo>
                  <a:lnTo>
                    <a:pt x="4595" y="1142"/>
                  </a:lnTo>
                  <a:lnTo>
                    <a:pt x="4595" y="1142"/>
                  </a:lnTo>
                  <a:lnTo>
                    <a:pt x="4588" y="1130"/>
                  </a:lnTo>
                  <a:lnTo>
                    <a:pt x="4580" y="1118"/>
                  </a:lnTo>
                  <a:lnTo>
                    <a:pt x="4571" y="1107"/>
                  </a:lnTo>
                  <a:lnTo>
                    <a:pt x="4561" y="1097"/>
                  </a:lnTo>
                  <a:lnTo>
                    <a:pt x="4550" y="1089"/>
                  </a:lnTo>
                  <a:lnTo>
                    <a:pt x="4539" y="1081"/>
                  </a:lnTo>
                  <a:lnTo>
                    <a:pt x="4526" y="1075"/>
                  </a:lnTo>
                  <a:lnTo>
                    <a:pt x="4514" y="1070"/>
                  </a:lnTo>
                  <a:lnTo>
                    <a:pt x="4501" y="1066"/>
                  </a:lnTo>
                  <a:lnTo>
                    <a:pt x="4487" y="1063"/>
                  </a:lnTo>
                  <a:lnTo>
                    <a:pt x="4474" y="1062"/>
                  </a:lnTo>
                  <a:lnTo>
                    <a:pt x="4460" y="1062"/>
                  </a:lnTo>
                  <a:lnTo>
                    <a:pt x="4446" y="1063"/>
                  </a:lnTo>
                  <a:lnTo>
                    <a:pt x="4433" y="1066"/>
                  </a:lnTo>
                  <a:lnTo>
                    <a:pt x="4419" y="1070"/>
                  </a:lnTo>
                  <a:lnTo>
                    <a:pt x="4406" y="1075"/>
                  </a:lnTo>
                  <a:lnTo>
                    <a:pt x="4033" y="1253"/>
                  </a:lnTo>
                  <a:lnTo>
                    <a:pt x="4033" y="1253"/>
                  </a:lnTo>
                  <a:lnTo>
                    <a:pt x="4019" y="1259"/>
                  </a:lnTo>
                  <a:lnTo>
                    <a:pt x="4005" y="1264"/>
                  </a:lnTo>
                  <a:lnTo>
                    <a:pt x="3990" y="1267"/>
                  </a:lnTo>
                  <a:lnTo>
                    <a:pt x="3975" y="1269"/>
                  </a:lnTo>
                  <a:lnTo>
                    <a:pt x="3960" y="1271"/>
                  </a:lnTo>
                  <a:lnTo>
                    <a:pt x="3944" y="1271"/>
                  </a:lnTo>
                  <a:lnTo>
                    <a:pt x="3928" y="1270"/>
                  </a:lnTo>
                  <a:lnTo>
                    <a:pt x="3913" y="1267"/>
                  </a:lnTo>
                  <a:lnTo>
                    <a:pt x="3897" y="1264"/>
                  </a:lnTo>
                  <a:lnTo>
                    <a:pt x="3882" y="1260"/>
                  </a:lnTo>
                  <a:lnTo>
                    <a:pt x="3867" y="1255"/>
                  </a:lnTo>
                  <a:lnTo>
                    <a:pt x="3853" y="1249"/>
                  </a:lnTo>
                  <a:lnTo>
                    <a:pt x="3839" y="1242"/>
                  </a:lnTo>
                  <a:lnTo>
                    <a:pt x="3827" y="1234"/>
                  </a:lnTo>
                  <a:lnTo>
                    <a:pt x="3815" y="1225"/>
                  </a:lnTo>
                  <a:lnTo>
                    <a:pt x="3804" y="1215"/>
                  </a:lnTo>
                  <a:lnTo>
                    <a:pt x="3451" y="932"/>
                  </a:lnTo>
                  <a:lnTo>
                    <a:pt x="3451" y="932"/>
                  </a:lnTo>
                  <a:lnTo>
                    <a:pt x="3439" y="924"/>
                  </a:lnTo>
                  <a:lnTo>
                    <a:pt x="3428" y="914"/>
                  </a:lnTo>
                  <a:lnTo>
                    <a:pt x="3417" y="903"/>
                  </a:lnTo>
                  <a:lnTo>
                    <a:pt x="3407" y="891"/>
                  </a:lnTo>
                  <a:lnTo>
                    <a:pt x="3398" y="879"/>
                  </a:lnTo>
                  <a:lnTo>
                    <a:pt x="3390" y="865"/>
                  </a:lnTo>
                  <a:lnTo>
                    <a:pt x="3383" y="852"/>
                  </a:lnTo>
                  <a:lnTo>
                    <a:pt x="3376" y="837"/>
                  </a:lnTo>
                  <a:lnTo>
                    <a:pt x="3371" y="822"/>
                  </a:lnTo>
                  <a:lnTo>
                    <a:pt x="3367" y="807"/>
                  </a:lnTo>
                  <a:lnTo>
                    <a:pt x="3363" y="792"/>
                  </a:lnTo>
                  <a:lnTo>
                    <a:pt x="3361" y="777"/>
                  </a:lnTo>
                  <a:lnTo>
                    <a:pt x="3360" y="761"/>
                  </a:lnTo>
                  <a:lnTo>
                    <a:pt x="3360" y="746"/>
                  </a:lnTo>
                  <a:lnTo>
                    <a:pt x="3362" y="731"/>
                  </a:lnTo>
                  <a:lnTo>
                    <a:pt x="3364" y="717"/>
                  </a:lnTo>
                  <a:lnTo>
                    <a:pt x="3458" y="314"/>
                  </a:lnTo>
                  <a:lnTo>
                    <a:pt x="3458" y="314"/>
                  </a:lnTo>
                  <a:lnTo>
                    <a:pt x="3460" y="300"/>
                  </a:lnTo>
                  <a:lnTo>
                    <a:pt x="3461" y="286"/>
                  </a:lnTo>
                  <a:lnTo>
                    <a:pt x="3461" y="272"/>
                  </a:lnTo>
                  <a:lnTo>
                    <a:pt x="3459" y="258"/>
                  </a:lnTo>
                  <a:lnTo>
                    <a:pt x="3456" y="245"/>
                  </a:lnTo>
                  <a:lnTo>
                    <a:pt x="3452" y="232"/>
                  </a:lnTo>
                  <a:lnTo>
                    <a:pt x="3447" y="219"/>
                  </a:lnTo>
                  <a:lnTo>
                    <a:pt x="3440" y="207"/>
                  </a:lnTo>
                  <a:lnTo>
                    <a:pt x="3432" y="196"/>
                  </a:lnTo>
                  <a:lnTo>
                    <a:pt x="3423" y="186"/>
                  </a:lnTo>
                  <a:lnTo>
                    <a:pt x="3414" y="176"/>
                  </a:lnTo>
                  <a:lnTo>
                    <a:pt x="3403" y="168"/>
                  </a:lnTo>
                  <a:lnTo>
                    <a:pt x="3391" y="160"/>
                  </a:lnTo>
                  <a:lnTo>
                    <a:pt x="3379" y="153"/>
                  </a:lnTo>
                  <a:lnTo>
                    <a:pt x="3366" y="148"/>
                  </a:lnTo>
                  <a:lnTo>
                    <a:pt x="3352" y="144"/>
                  </a:lnTo>
                  <a:lnTo>
                    <a:pt x="2745" y="3"/>
                  </a:lnTo>
                  <a:lnTo>
                    <a:pt x="2745" y="3"/>
                  </a:lnTo>
                  <a:lnTo>
                    <a:pt x="2730" y="1"/>
                  </a:lnTo>
                  <a:lnTo>
                    <a:pt x="2716" y="0"/>
                  </a:lnTo>
                  <a:lnTo>
                    <a:pt x="2702" y="0"/>
                  </a:lnTo>
                  <a:lnTo>
                    <a:pt x="2688" y="2"/>
                  </a:lnTo>
                  <a:lnTo>
                    <a:pt x="2675" y="5"/>
                  </a:lnTo>
                  <a:lnTo>
                    <a:pt x="2662" y="9"/>
                  </a:lnTo>
                  <a:lnTo>
                    <a:pt x="2649" y="15"/>
                  </a:lnTo>
                  <a:lnTo>
                    <a:pt x="2638" y="21"/>
                  </a:lnTo>
                  <a:lnTo>
                    <a:pt x="2626" y="29"/>
                  </a:lnTo>
                  <a:lnTo>
                    <a:pt x="2616" y="38"/>
                  </a:lnTo>
                  <a:lnTo>
                    <a:pt x="2606" y="48"/>
                  </a:lnTo>
                  <a:lnTo>
                    <a:pt x="2598" y="58"/>
                  </a:lnTo>
                  <a:lnTo>
                    <a:pt x="2590" y="70"/>
                  </a:lnTo>
                  <a:lnTo>
                    <a:pt x="2584" y="82"/>
                  </a:lnTo>
                  <a:lnTo>
                    <a:pt x="2578" y="96"/>
                  </a:lnTo>
                  <a:lnTo>
                    <a:pt x="2574" y="110"/>
                  </a:lnTo>
                  <a:lnTo>
                    <a:pt x="2481" y="512"/>
                  </a:lnTo>
                  <a:lnTo>
                    <a:pt x="2481" y="512"/>
                  </a:lnTo>
                  <a:lnTo>
                    <a:pt x="2477" y="526"/>
                  </a:lnTo>
                  <a:lnTo>
                    <a:pt x="2472" y="540"/>
                  </a:lnTo>
                  <a:lnTo>
                    <a:pt x="2465" y="554"/>
                  </a:lnTo>
                  <a:lnTo>
                    <a:pt x="2457" y="567"/>
                  </a:lnTo>
                  <a:lnTo>
                    <a:pt x="2448" y="580"/>
                  </a:lnTo>
                  <a:lnTo>
                    <a:pt x="2438" y="592"/>
                  </a:lnTo>
                  <a:lnTo>
                    <a:pt x="2428" y="604"/>
                  </a:lnTo>
                  <a:lnTo>
                    <a:pt x="2416" y="615"/>
                  </a:lnTo>
                  <a:lnTo>
                    <a:pt x="2404" y="625"/>
                  </a:lnTo>
                  <a:lnTo>
                    <a:pt x="2392" y="634"/>
                  </a:lnTo>
                  <a:lnTo>
                    <a:pt x="2378" y="643"/>
                  </a:lnTo>
                  <a:lnTo>
                    <a:pt x="2365" y="650"/>
                  </a:lnTo>
                  <a:lnTo>
                    <a:pt x="2351" y="656"/>
                  </a:lnTo>
                  <a:lnTo>
                    <a:pt x="2336" y="661"/>
                  </a:lnTo>
                  <a:lnTo>
                    <a:pt x="2322" y="665"/>
                  </a:lnTo>
                  <a:lnTo>
                    <a:pt x="2308" y="668"/>
                  </a:lnTo>
                  <a:lnTo>
                    <a:pt x="1866" y="766"/>
                  </a:lnTo>
                  <a:lnTo>
                    <a:pt x="1866" y="766"/>
                  </a:lnTo>
                  <a:lnTo>
                    <a:pt x="1852" y="770"/>
                  </a:lnTo>
                  <a:lnTo>
                    <a:pt x="1837" y="772"/>
                  </a:lnTo>
                  <a:lnTo>
                    <a:pt x="1822" y="774"/>
                  </a:lnTo>
                  <a:lnTo>
                    <a:pt x="1807" y="774"/>
                  </a:lnTo>
                  <a:lnTo>
                    <a:pt x="1792" y="774"/>
                  </a:lnTo>
                  <a:lnTo>
                    <a:pt x="1776" y="772"/>
                  </a:lnTo>
                  <a:lnTo>
                    <a:pt x="1761" y="769"/>
                  </a:lnTo>
                  <a:lnTo>
                    <a:pt x="1745" y="765"/>
                  </a:lnTo>
                  <a:lnTo>
                    <a:pt x="1730" y="760"/>
                  </a:lnTo>
                  <a:lnTo>
                    <a:pt x="1716" y="754"/>
                  </a:lnTo>
                  <a:lnTo>
                    <a:pt x="1702" y="747"/>
                  </a:lnTo>
                  <a:lnTo>
                    <a:pt x="1689" y="739"/>
                  </a:lnTo>
                  <a:lnTo>
                    <a:pt x="1676" y="730"/>
                  </a:lnTo>
                  <a:lnTo>
                    <a:pt x="1664" y="721"/>
                  </a:lnTo>
                  <a:lnTo>
                    <a:pt x="1654" y="711"/>
                  </a:lnTo>
                  <a:lnTo>
                    <a:pt x="1644" y="700"/>
                  </a:lnTo>
                  <a:lnTo>
                    <a:pt x="1387" y="375"/>
                  </a:lnTo>
                  <a:lnTo>
                    <a:pt x="1387" y="375"/>
                  </a:lnTo>
                  <a:lnTo>
                    <a:pt x="1378" y="365"/>
                  </a:lnTo>
                  <a:lnTo>
                    <a:pt x="1368" y="355"/>
                  </a:lnTo>
                  <a:lnTo>
                    <a:pt x="1356" y="346"/>
                  </a:lnTo>
                  <a:lnTo>
                    <a:pt x="1345" y="339"/>
                  </a:lnTo>
                  <a:lnTo>
                    <a:pt x="1332" y="333"/>
                  </a:lnTo>
                  <a:lnTo>
                    <a:pt x="1319" y="328"/>
                  </a:lnTo>
                  <a:lnTo>
                    <a:pt x="1306" y="325"/>
                  </a:lnTo>
                  <a:lnTo>
                    <a:pt x="1293" y="323"/>
                  </a:lnTo>
                  <a:lnTo>
                    <a:pt x="1279" y="322"/>
                  </a:lnTo>
                  <a:lnTo>
                    <a:pt x="1265" y="322"/>
                  </a:lnTo>
                  <a:lnTo>
                    <a:pt x="1252" y="324"/>
                  </a:lnTo>
                  <a:lnTo>
                    <a:pt x="1238" y="327"/>
                  </a:lnTo>
                  <a:lnTo>
                    <a:pt x="1225" y="331"/>
                  </a:lnTo>
                  <a:lnTo>
                    <a:pt x="1213" y="337"/>
                  </a:lnTo>
                  <a:lnTo>
                    <a:pt x="1200" y="344"/>
                  </a:lnTo>
                  <a:lnTo>
                    <a:pt x="1188" y="352"/>
                  </a:lnTo>
                  <a:lnTo>
                    <a:pt x="700" y="739"/>
                  </a:lnTo>
                  <a:lnTo>
                    <a:pt x="700" y="739"/>
                  </a:lnTo>
                  <a:lnTo>
                    <a:pt x="689" y="748"/>
                  </a:lnTo>
                  <a:lnTo>
                    <a:pt x="679" y="759"/>
                  </a:lnTo>
                  <a:lnTo>
                    <a:pt x="671" y="770"/>
                  </a:lnTo>
                  <a:lnTo>
                    <a:pt x="664" y="782"/>
                  </a:lnTo>
                  <a:lnTo>
                    <a:pt x="658" y="794"/>
                  </a:lnTo>
                  <a:lnTo>
                    <a:pt x="653" y="807"/>
                  </a:lnTo>
                  <a:lnTo>
                    <a:pt x="649" y="820"/>
                  </a:lnTo>
                  <a:lnTo>
                    <a:pt x="647" y="834"/>
                  </a:lnTo>
                  <a:lnTo>
                    <a:pt x="646" y="847"/>
                  </a:lnTo>
                  <a:lnTo>
                    <a:pt x="647" y="861"/>
                  </a:lnTo>
                  <a:lnTo>
                    <a:pt x="648" y="874"/>
                  </a:lnTo>
                  <a:lnTo>
                    <a:pt x="651" y="888"/>
                  </a:lnTo>
                  <a:lnTo>
                    <a:pt x="656" y="901"/>
                  </a:lnTo>
                  <a:lnTo>
                    <a:pt x="661" y="914"/>
                  </a:lnTo>
                  <a:lnTo>
                    <a:pt x="668" y="926"/>
                  </a:lnTo>
                  <a:lnTo>
                    <a:pt x="677" y="938"/>
                  </a:lnTo>
                  <a:lnTo>
                    <a:pt x="933" y="1262"/>
                  </a:lnTo>
                  <a:lnTo>
                    <a:pt x="933" y="1262"/>
                  </a:lnTo>
                  <a:lnTo>
                    <a:pt x="942" y="1274"/>
                  </a:lnTo>
                  <a:lnTo>
                    <a:pt x="950" y="1287"/>
                  </a:lnTo>
                  <a:lnTo>
                    <a:pt x="956" y="1301"/>
                  </a:lnTo>
                  <a:lnTo>
                    <a:pt x="962" y="1315"/>
                  </a:lnTo>
                  <a:lnTo>
                    <a:pt x="966" y="1330"/>
                  </a:lnTo>
                  <a:lnTo>
                    <a:pt x="970" y="1345"/>
                  </a:lnTo>
                  <a:lnTo>
                    <a:pt x="972" y="1361"/>
                  </a:lnTo>
                  <a:lnTo>
                    <a:pt x="974" y="1376"/>
                  </a:lnTo>
                  <a:lnTo>
                    <a:pt x="974" y="1392"/>
                  </a:lnTo>
                  <a:lnTo>
                    <a:pt x="973" y="1408"/>
                  </a:lnTo>
                  <a:lnTo>
                    <a:pt x="971" y="1423"/>
                  </a:lnTo>
                  <a:lnTo>
                    <a:pt x="969" y="1438"/>
                  </a:lnTo>
                  <a:lnTo>
                    <a:pt x="965" y="1453"/>
                  </a:lnTo>
                  <a:lnTo>
                    <a:pt x="960" y="1467"/>
                  </a:lnTo>
                  <a:lnTo>
                    <a:pt x="954" y="1481"/>
                  </a:lnTo>
                  <a:lnTo>
                    <a:pt x="947" y="1494"/>
                  </a:lnTo>
                  <a:lnTo>
                    <a:pt x="749" y="1901"/>
                  </a:lnTo>
                  <a:lnTo>
                    <a:pt x="749" y="1901"/>
                  </a:lnTo>
                  <a:lnTo>
                    <a:pt x="744" y="1914"/>
                  </a:lnTo>
                  <a:lnTo>
                    <a:pt x="737" y="1927"/>
                  </a:lnTo>
                  <a:lnTo>
                    <a:pt x="728" y="1940"/>
                  </a:lnTo>
                  <a:lnTo>
                    <a:pt x="719" y="1952"/>
                  </a:lnTo>
                  <a:lnTo>
                    <a:pt x="709" y="1964"/>
                  </a:lnTo>
                  <a:lnTo>
                    <a:pt x="698" y="1975"/>
                  </a:lnTo>
                  <a:lnTo>
                    <a:pt x="686" y="1985"/>
                  </a:lnTo>
                  <a:lnTo>
                    <a:pt x="673" y="1994"/>
                  </a:lnTo>
                  <a:lnTo>
                    <a:pt x="660" y="2003"/>
                  </a:lnTo>
                  <a:lnTo>
                    <a:pt x="646" y="2010"/>
                  </a:lnTo>
                  <a:lnTo>
                    <a:pt x="632" y="2017"/>
                  </a:lnTo>
                  <a:lnTo>
                    <a:pt x="617" y="2023"/>
                  </a:lnTo>
                  <a:lnTo>
                    <a:pt x="603" y="2027"/>
                  </a:lnTo>
                  <a:lnTo>
                    <a:pt x="588" y="2030"/>
                  </a:lnTo>
                  <a:lnTo>
                    <a:pt x="573" y="2032"/>
                  </a:lnTo>
                  <a:lnTo>
                    <a:pt x="558" y="2033"/>
                  </a:lnTo>
                  <a:lnTo>
                    <a:pt x="145" y="2031"/>
                  </a:lnTo>
                  <a:lnTo>
                    <a:pt x="145" y="2031"/>
                  </a:lnTo>
                  <a:lnTo>
                    <a:pt x="130" y="2032"/>
                  </a:lnTo>
                  <a:lnTo>
                    <a:pt x="116" y="2034"/>
                  </a:lnTo>
                  <a:lnTo>
                    <a:pt x="103" y="2037"/>
                  </a:lnTo>
                  <a:lnTo>
                    <a:pt x="90" y="2042"/>
                  </a:lnTo>
                  <a:lnTo>
                    <a:pt x="77" y="2048"/>
                  </a:lnTo>
                  <a:lnTo>
                    <a:pt x="65" y="2055"/>
                  </a:lnTo>
                  <a:lnTo>
                    <a:pt x="55" y="2063"/>
                  </a:lnTo>
                  <a:lnTo>
                    <a:pt x="44" y="2072"/>
                  </a:lnTo>
                  <a:lnTo>
                    <a:pt x="35" y="2083"/>
                  </a:lnTo>
                  <a:lnTo>
                    <a:pt x="27" y="2093"/>
                  </a:lnTo>
                  <a:lnTo>
                    <a:pt x="20" y="2105"/>
                  </a:lnTo>
                  <a:lnTo>
                    <a:pt x="14" y="2117"/>
                  </a:lnTo>
                  <a:lnTo>
                    <a:pt x="9" y="2130"/>
                  </a:lnTo>
                  <a:lnTo>
                    <a:pt x="5" y="2144"/>
                  </a:lnTo>
                  <a:lnTo>
                    <a:pt x="3" y="2158"/>
                  </a:lnTo>
                  <a:lnTo>
                    <a:pt x="2" y="2172"/>
                  </a:lnTo>
                  <a:lnTo>
                    <a:pt x="0" y="2797"/>
                  </a:lnTo>
                  <a:lnTo>
                    <a:pt x="0" y="2797"/>
                  </a:lnTo>
                  <a:lnTo>
                    <a:pt x="1" y="2811"/>
                  </a:lnTo>
                  <a:lnTo>
                    <a:pt x="3" y="2825"/>
                  </a:lnTo>
                  <a:lnTo>
                    <a:pt x="6" y="2839"/>
                  </a:lnTo>
                  <a:lnTo>
                    <a:pt x="11" y="2852"/>
                  </a:lnTo>
                  <a:lnTo>
                    <a:pt x="17" y="2864"/>
                  </a:lnTo>
                  <a:lnTo>
                    <a:pt x="24" y="2876"/>
                  </a:lnTo>
                  <a:lnTo>
                    <a:pt x="32" y="2887"/>
                  </a:lnTo>
                  <a:lnTo>
                    <a:pt x="41" y="2897"/>
                  </a:lnTo>
                  <a:lnTo>
                    <a:pt x="51" y="2906"/>
                  </a:lnTo>
                  <a:lnTo>
                    <a:pt x="62" y="2914"/>
                  </a:lnTo>
                  <a:lnTo>
                    <a:pt x="74" y="2921"/>
                  </a:lnTo>
                  <a:lnTo>
                    <a:pt x="86" y="2927"/>
                  </a:lnTo>
                  <a:lnTo>
                    <a:pt x="99" y="2932"/>
                  </a:lnTo>
                  <a:lnTo>
                    <a:pt x="113" y="2936"/>
                  </a:lnTo>
                  <a:lnTo>
                    <a:pt x="127" y="2938"/>
                  </a:lnTo>
                  <a:lnTo>
                    <a:pt x="141" y="2939"/>
                  </a:lnTo>
                  <a:lnTo>
                    <a:pt x="555" y="2941"/>
                  </a:lnTo>
                  <a:lnTo>
                    <a:pt x="555" y="2941"/>
                  </a:lnTo>
                  <a:lnTo>
                    <a:pt x="570" y="2941"/>
                  </a:lnTo>
                  <a:lnTo>
                    <a:pt x="584" y="2944"/>
                  </a:lnTo>
                  <a:lnTo>
                    <a:pt x="599" y="2947"/>
                  </a:lnTo>
                  <a:lnTo>
                    <a:pt x="614" y="2951"/>
                  </a:lnTo>
                  <a:lnTo>
                    <a:pt x="628" y="2957"/>
                  </a:lnTo>
                  <a:lnTo>
                    <a:pt x="642" y="2964"/>
                  </a:lnTo>
                  <a:lnTo>
                    <a:pt x="656" y="2972"/>
                  </a:lnTo>
                  <a:lnTo>
                    <a:pt x="669" y="2980"/>
                  </a:lnTo>
                  <a:lnTo>
                    <a:pt x="682" y="2990"/>
                  </a:lnTo>
                  <a:lnTo>
                    <a:pt x="694" y="3000"/>
                  </a:lnTo>
                  <a:lnTo>
                    <a:pt x="705" y="3011"/>
                  </a:lnTo>
                  <a:lnTo>
                    <a:pt x="715" y="3023"/>
                  </a:lnTo>
                  <a:lnTo>
                    <a:pt x="724" y="3035"/>
                  </a:lnTo>
                  <a:lnTo>
                    <a:pt x="732" y="3048"/>
                  </a:lnTo>
                  <a:lnTo>
                    <a:pt x="739" y="3061"/>
                  </a:lnTo>
                  <a:lnTo>
                    <a:pt x="745" y="3075"/>
                  </a:lnTo>
                  <a:lnTo>
                    <a:pt x="939" y="3482"/>
                  </a:lnTo>
                  <a:lnTo>
                    <a:pt x="939" y="3482"/>
                  </a:lnTo>
                  <a:lnTo>
                    <a:pt x="946" y="3495"/>
                  </a:lnTo>
                  <a:lnTo>
                    <a:pt x="952" y="3509"/>
                  </a:lnTo>
                  <a:lnTo>
                    <a:pt x="956" y="3523"/>
                  </a:lnTo>
                  <a:lnTo>
                    <a:pt x="960" y="3538"/>
                  </a:lnTo>
                  <a:lnTo>
                    <a:pt x="963" y="3553"/>
                  </a:lnTo>
                  <a:lnTo>
                    <a:pt x="964" y="3569"/>
                  </a:lnTo>
                  <a:lnTo>
                    <a:pt x="965" y="3585"/>
                  </a:lnTo>
                  <a:lnTo>
                    <a:pt x="965" y="3600"/>
                  </a:lnTo>
                  <a:lnTo>
                    <a:pt x="963" y="3616"/>
                  </a:lnTo>
                  <a:lnTo>
                    <a:pt x="960" y="3632"/>
                  </a:lnTo>
                  <a:lnTo>
                    <a:pt x="957" y="3647"/>
                  </a:lnTo>
                  <a:lnTo>
                    <a:pt x="952" y="3661"/>
                  </a:lnTo>
                  <a:lnTo>
                    <a:pt x="947" y="3676"/>
                  </a:lnTo>
                  <a:lnTo>
                    <a:pt x="940" y="3689"/>
                  </a:lnTo>
                  <a:lnTo>
                    <a:pt x="932" y="3702"/>
                  </a:lnTo>
                  <a:lnTo>
                    <a:pt x="924" y="3714"/>
                  </a:lnTo>
                  <a:lnTo>
                    <a:pt x="664" y="4036"/>
                  </a:lnTo>
                  <a:lnTo>
                    <a:pt x="664" y="4036"/>
                  </a:lnTo>
                  <a:lnTo>
                    <a:pt x="656" y="4048"/>
                  </a:lnTo>
                  <a:lnTo>
                    <a:pt x="649" y="4060"/>
                  </a:lnTo>
                  <a:lnTo>
                    <a:pt x="643" y="4073"/>
                  </a:lnTo>
                  <a:lnTo>
                    <a:pt x="639" y="4086"/>
                  </a:lnTo>
                  <a:lnTo>
                    <a:pt x="636" y="4100"/>
                  </a:lnTo>
                  <a:lnTo>
                    <a:pt x="634" y="4113"/>
                  </a:lnTo>
                  <a:lnTo>
                    <a:pt x="633" y="4127"/>
                  </a:lnTo>
                  <a:lnTo>
                    <a:pt x="634" y="4141"/>
                  </a:lnTo>
                  <a:lnTo>
                    <a:pt x="636" y="4154"/>
                  </a:lnTo>
                  <a:lnTo>
                    <a:pt x="640" y="4167"/>
                  </a:lnTo>
                  <a:lnTo>
                    <a:pt x="644" y="4180"/>
                  </a:lnTo>
                  <a:lnTo>
                    <a:pt x="650" y="4192"/>
                  </a:lnTo>
                  <a:lnTo>
                    <a:pt x="657" y="4204"/>
                  </a:lnTo>
                  <a:lnTo>
                    <a:pt x="666" y="4216"/>
                  </a:lnTo>
                  <a:lnTo>
                    <a:pt x="675" y="4226"/>
                  </a:lnTo>
                  <a:lnTo>
                    <a:pt x="686" y="4236"/>
                  </a:lnTo>
                  <a:lnTo>
                    <a:pt x="1172" y="4626"/>
                  </a:lnTo>
                  <a:lnTo>
                    <a:pt x="1172" y="4626"/>
                  </a:lnTo>
                  <a:lnTo>
                    <a:pt x="1183" y="4634"/>
                  </a:lnTo>
                  <a:lnTo>
                    <a:pt x="1196" y="4642"/>
                  </a:lnTo>
                  <a:lnTo>
                    <a:pt x="1208" y="4647"/>
                  </a:lnTo>
                  <a:lnTo>
                    <a:pt x="1221" y="4652"/>
                  </a:lnTo>
                  <a:lnTo>
                    <a:pt x="1235" y="4655"/>
                  </a:lnTo>
                  <a:lnTo>
                    <a:pt x="1248" y="4657"/>
                  </a:lnTo>
                  <a:lnTo>
                    <a:pt x="1262" y="4657"/>
                  </a:lnTo>
                  <a:lnTo>
                    <a:pt x="1276" y="4656"/>
                  </a:lnTo>
                  <a:lnTo>
                    <a:pt x="1289" y="4654"/>
                  </a:lnTo>
                  <a:lnTo>
                    <a:pt x="1302" y="4651"/>
                  </a:lnTo>
                  <a:lnTo>
                    <a:pt x="1315" y="4646"/>
                  </a:lnTo>
                  <a:lnTo>
                    <a:pt x="1328" y="4640"/>
                  </a:lnTo>
                  <a:lnTo>
                    <a:pt x="1339" y="4633"/>
                  </a:lnTo>
                  <a:lnTo>
                    <a:pt x="1351" y="4625"/>
                  </a:lnTo>
                  <a:lnTo>
                    <a:pt x="1361" y="4615"/>
                  </a:lnTo>
                  <a:lnTo>
                    <a:pt x="1371" y="4604"/>
                  </a:lnTo>
                  <a:lnTo>
                    <a:pt x="1630" y="4283"/>
                  </a:lnTo>
                  <a:lnTo>
                    <a:pt x="1630" y="4283"/>
                  </a:lnTo>
                  <a:lnTo>
                    <a:pt x="1639" y="4272"/>
                  </a:lnTo>
                  <a:lnTo>
                    <a:pt x="1650" y="4262"/>
                  </a:lnTo>
                  <a:lnTo>
                    <a:pt x="1662" y="4252"/>
                  </a:lnTo>
                  <a:lnTo>
                    <a:pt x="1675" y="4244"/>
                  </a:lnTo>
                  <a:lnTo>
                    <a:pt x="1688" y="4236"/>
                  </a:lnTo>
                  <a:lnTo>
                    <a:pt x="1702" y="4229"/>
                  </a:lnTo>
                  <a:lnTo>
                    <a:pt x="1717" y="4223"/>
                  </a:lnTo>
                  <a:lnTo>
                    <a:pt x="1732" y="4219"/>
                  </a:lnTo>
                  <a:lnTo>
                    <a:pt x="1747" y="4215"/>
                  </a:lnTo>
                  <a:lnTo>
                    <a:pt x="1762" y="4212"/>
                  </a:lnTo>
                  <a:lnTo>
                    <a:pt x="1778" y="4210"/>
                  </a:lnTo>
                  <a:lnTo>
                    <a:pt x="1793" y="4210"/>
                  </a:lnTo>
                  <a:lnTo>
                    <a:pt x="1809" y="4210"/>
                  </a:lnTo>
                  <a:lnTo>
                    <a:pt x="1824" y="4212"/>
                  </a:lnTo>
                  <a:lnTo>
                    <a:pt x="1838" y="4215"/>
                  </a:lnTo>
                  <a:lnTo>
                    <a:pt x="1852" y="4219"/>
                  </a:lnTo>
                  <a:lnTo>
                    <a:pt x="2295" y="4319"/>
                  </a:lnTo>
                  <a:lnTo>
                    <a:pt x="2295" y="4319"/>
                  </a:lnTo>
                  <a:lnTo>
                    <a:pt x="2309" y="4322"/>
                  </a:lnTo>
                  <a:lnTo>
                    <a:pt x="2324" y="4326"/>
                  </a:lnTo>
                  <a:lnTo>
                    <a:pt x="2338" y="4331"/>
                  </a:lnTo>
                  <a:lnTo>
                    <a:pt x="2352" y="4337"/>
                  </a:lnTo>
                  <a:lnTo>
                    <a:pt x="2366" y="4345"/>
                  </a:lnTo>
                  <a:lnTo>
                    <a:pt x="2379" y="4353"/>
                  </a:lnTo>
                  <a:lnTo>
                    <a:pt x="2391" y="4363"/>
                  </a:lnTo>
                  <a:lnTo>
                    <a:pt x="2403" y="4373"/>
                  </a:lnTo>
                  <a:lnTo>
                    <a:pt x="2415" y="4384"/>
                  </a:lnTo>
                  <a:lnTo>
                    <a:pt x="2425" y="4396"/>
                  </a:lnTo>
                  <a:lnTo>
                    <a:pt x="2435" y="4408"/>
                  </a:lnTo>
                  <a:lnTo>
                    <a:pt x="2443" y="4421"/>
                  </a:lnTo>
                  <a:lnTo>
                    <a:pt x="2451" y="4434"/>
                  </a:lnTo>
                  <a:lnTo>
                    <a:pt x="2457" y="4448"/>
                  </a:lnTo>
                  <a:lnTo>
                    <a:pt x="2464" y="4462"/>
                  </a:lnTo>
                  <a:lnTo>
                    <a:pt x="2468" y="4476"/>
                  </a:lnTo>
                  <a:lnTo>
                    <a:pt x="2558" y="4880"/>
                  </a:lnTo>
                  <a:lnTo>
                    <a:pt x="2558" y="4880"/>
                  </a:lnTo>
                  <a:lnTo>
                    <a:pt x="2562" y="4894"/>
                  </a:lnTo>
                  <a:lnTo>
                    <a:pt x="2567" y="4907"/>
                  </a:lnTo>
                  <a:lnTo>
                    <a:pt x="2574" y="4919"/>
                  </a:lnTo>
                  <a:lnTo>
                    <a:pt x="2581" y="4931"/>
                  </a:lnTo>
                  <a:lnTo>
                    <a:pt x="2590" y="4942"/>
                  </a:lnTo>
                  <a:lnTo>
                    <a:pt x="2600" y="4952"/>
                  </a:lnTo>
                  <a:lnTo>
                    <a:pt x="2610" y="4960"/>
                  </a:lnTo>
                  <a:lnTo>
                    <a:pt x="2621" y="4968"/>
                  </a:lnTo>
                  <a:lnTo>
                    <a:pt x="2633" y="4975"/>
                  </a:lnTo>
                  <a:lnTo>
                    <a:pt x="2645" y="4981"/>
                  </a:lnTo>
                  <a:lnTo>
                    <a:pt x="2658" y="4985"/>
                  </a:lnTo>
                  <a:lnTo>
                    <a:pt x="2672" y="4988"/>
                  </a:lnTo>
                  <a:lnTo>
                    <a:pt x="2685" y="4990"/>
                  </a:lnTo>
                  <a:lnTo>
                    <a:pt x="2699" y="4990"/>
                  </a:lnTo>
                  <a:lnTo>
                    <a:pt x="2714" y="4989"/>
                  </a:lnTo>
                  <a:lnTo>
                    <a:pt x="2728" y="4987"/>
                  </a:lnTo>
                  <a:lnTo>
                    <a:pt x="3336" y="4850"/>
                  </a:lnTo>
                  <a:lnTo>
                    <a:pt x="3336" y="4850"/>
                  </a:lnTo>
                  <a:lnTo>
                    <a:pt x="3350" y="4846"/>
                  </a:lnTo>
                  <a:lnTo>
                    <a:pt x="3363" y="4841"/>
                  </a:lnTo>
                  <a:lnTo>
                    <a:pt x="3376" y="4835"/>
                  </a:lnTo>
                  <a:lnTo>
                    <a:pt x="3387" y="4827"/>
                  </a:lnTo>
                  <a:lnTo>
                    <a:pt x="3398" y="4819"/>
                  </a:lnTo>
                  <a:lnTo>
                    <a:pt x="3408" y="4809"/>
                  </a:lnTo>
                  <a:lnTo>
                    <a:pt x="3417" y="4799"/>
                  </a:lnTo>
                  <a:lnTo>
                    <a:pt x="3425" y="4787"/>
                  </a:lnTo>
                  <a:lnTo>
                    <a:pt x="3431" y="4776"/>
                  </a:lnTo>
                  <a:lnTo>
                    <a:pt x="3437" y="4763"/>
                  </a:lnTo>
                  <a:lnTo>
                    <a:pt x="3441" y="4750"/>
                  </a:lnTo>
                  <a:lnTo>
                    <a:pt x="3444" y="4737"/>
                  </a:lnTo>
                  <a:lnTo>
                    <a:pt x="3446" y="4723"/>
                  </a:lnTo>
                  <a:lnTo>
                    <a:pt x="3447" y="4709"/>
                  </a:lnTo>
                  <a:lnTo>
                    <a:pt x="3446" y="4695"/>
                  </a:lnTo>
                  <a:lnTo>
                    <a:pt x="3443" y="4681"/>
                  </a:lnTo>
                  <a:lnTo>
                    <a:pt x="3352" y="4278"/>
                  </a:lnTo>
                  <a:lnTo>
                    <a:pt x="3352" y="4278"/>
                  </a:lnTo>
                  <a:lnTo>
                    <a:pt x="3350" y="4263"/>
                  </a:lnTo>
                  <a:lnTo>
                    <a:pt x="3349" y="4248"/>
                  </a:lnTo>
                  <a:lnTo>
                    <a:pt x="3349" y="4233"/>
                  </a:lnTo>
                  <a:lnTo>
                    <a:pt x="3350" y="4218"/>
                  </a:lnTo>
                  <a:lnTo>
                    <a:pt x="3352" y="4203"/>
                  </a:lnTo>
                  <a:lnTo>
                    <a:pt x="3356" y="4187"/>
                  </a:lnTo>
                  <a:lnTo>
                    <a:pt x="3360" y="4172"/>
                  </a:lnTo>
                  <a:lnTo>
                    <a:pt x="3366" y="4158"/>
                  </a:lnTo>
                  <a:lnTo>
                    <a:pt x="3372" y="4143"/>
                  </a:lnTo>
                  <a:lnTo>
                    <a:pt x="3379" y="4129"/>
                  </a:lnTo>
                  <a:lnTo>
                    <a:pt x="3388" y="4116"/>
                  </a:lnTo>
                  <a:lnTo>
                    <a:pt x="3397" y="4103"/>
                  </a:lnTo>
                  <a:lnTo>
                    <a:pt x="3407" y="4092"/>
                  </a:lnTo>
                  <a:lnTo>
                    <a:pt x="3417" y="4081"/>
                  </a:lnTo>
                  <a:lnTo>
                    <a:pt x="3429" y="4071"/>
                  </a:lnTo>
                  <a:lnTo>
                    <a:pt x="3441" y="4063"/>
                  </a:lnTo>
                  <a:lnTo>
                    <a:pt x="3795" y="3783"/>
                  </a:lnTo>
                  <a:lnTo>
                    <a:pt x="3795" y="3783"/>
                  </a:lnTo>
                  <a:lnTo>
                    <a:pt x="3806" y="3773"/>
                  </a:lnTo>
                  <a:lnTo>
                    <a:pt x="3818" y="3764"/>
                  </a:lnTo>
                  <a:lnTo>
                    <a:pt x="3831" y="3756"/>
                  </a:lnTo>
                  <a:lnTo>
                    <a:pt x="3845" y="3749"/>
                  </a:lnTo>
                  <a:lnTo>
                    <a:pt x="3859" y="3743"/>
                  </a:lnTo>
                  <a:lnTo>
                    <a:pt x="3874" y="3738"/>
                  </a:lnTo>
                  <a:lnTo>
                    <a:pt x="3889" y="3734"/>
                  </a:lnTo>
                  <a:lnTo>
                    <a:pt x="3905" y="3731"/>
                  </a:lnTo>
                  <a:lnTo>
                    <a:pt x="3920" y="3729"/>
                  </a:lnTo>
                  <a:lnTo>
                    <a:pt x="3936" y="3728"/>
                  </a:lnTo>
                  <a:lnTo>
                    <a:pt x="3952" y="3728"/>
                  </a:lnTo>
                  <a:lnTo>
                    <a:pt x="3967" y="3730"/>
                  </a:lnTo>
                  <a:lnTo>
                    <a:pt x="3982" y="3732"/>
                  </a:lnTo>
                  <a:lnTo>
                    <a:pt x="3997" y="3735"/>
                  </a:lnTo>
                  <a:lnTo>
                    <a:pt x="4011" y="3740"/>
                  </a:lnTo>
                  <a:lnTo>
                    <a:pt x="4024" y="3746"/>
                  </a:lnTo>
                  <a:lnTo>
                    <a:pt x="4396" y="3926"/>
                  </a:lnTo>
                  <a:lnTo>
                    <a:pt x="4396" y="3926"/>
                  </a:lnTo>
                  <a:lnTo>
                    <a:pt x="4409" y="3932"/>
                  </a:lnTo>
                  <a:lnTo>
                    <a:pt x="4423" y="3936"/>
                  </a:lnTo>
                  <a:lnTo>
                    <a:pt x="4436" y="3939"/>
                  </a:lnTo>
                  <a:lnTo>
                    <a:pt x="4450" y="3940"/>
                  </a:lnTo>
                  <a:lnTo>
                    <a:pt x="4464" y="3940"/>
                  </a:lnTo>
                  <a:lnTo>
                    <a:pt x="4477" y="3939"/>
                  </a:lnTo>
                  <a:lnTo>
                    <a:pt x="4491" y="3936"/>
                  </a:lnTo>
                  <a:lnTo>
                    <a:pt x="4504" y="3932"/>
                  </a:lnTo>
                  <a:lnTo>
                    <a:pt x="4516" y="3927"/>
                  </a:lnTo>
                  <a:lnTo>
                    <a:pt x="4529" y="3921"/>
                  </a:lnTo>
                  <a:lnTo>
                    <a:pt x="4540" y="3914"/>
                  </a:lnTo>
                  <a:lnTo>
                    <a:pt x="4551" y="3905"/>
                  </a:lnTo>
                  <a:lnTo>
                    <a:pt x="4561" y="3896"/>
                  </a:lnTo>
                  <a:lnTo>
                    <a:pt x="4570" y="3885"/>
                  </a:lnTo>
                  <a:lnTo>
                    <a:pt x="4578" y="3873"/>
                  </a:lnTo>
                  <a:lnTo>
                    <a:pt x="4585" y="3860"/>
                  </a:lnTo>
                  <a:lnTo>
                    <a:pt x="4857" y="3300"/>
                  </a:lnTo>
                  <a:lnTo>
                    <a:pt x="4857" y="3300"/>
                  </a:lnTo>
                  <a:lnTo>
                    <a:pt x="4863" y="3286"/>
                  </a:lnTo>
                  <a:lnTo>
                    <a:pt x="4867" y="3273"/>
                  </a:lnTo>
                  <a:lnTo>
                    <a:pt x="4870" y="3259"/>
                  </a:lnTo>
                  <a:lnTo>
                    <a:pt x="4871" y="3245"/>
                  </a:lnTo>
                  <a:lnTo>
                    <a:pt x="4872" y="3231"/>
                  </a:lnTo>
                  <a:lnTo>
                    <a:pt x="4870" y="3218"/>
                  </a:lnTo>
                  <a:lnTo>
                    <a:pt x="4868" y="3204"/>
                  </a:lnTo>
                  <a:lnTo>
                    <a:pt x="4864" y="3191"/>
                  </a:lnTo>
                  <a:lnTo>
                    <a:pt x="4859" y="3179"/>
                  </a:lnTo>
                  <a:lnTo>
                    <a:pt x="4853" y="3167"/>
                  </a:lnTo>
                  <a:lnTo>
                    <a:pt x="4845" y="3155"/>
                  </a:lnTo>
                  <a:lnTo>
                    <a:pt x="4837" y="3144"/>
                  </a:lnTo>
                  <a:lnTo>
                    <a:pt x="4827" y="3134"/>
                  </a:lnTo>
                  <a:lnTo>
                    <a:pt x="4816" y="3125"/>
                  </a:lnTo>
                  <a:lnTo>
                    <a:pt x="4805" y="3117"/>
                  </a:lnTo>
                  <a:lnTo>
                    <a:pt x="4792" y="3110"/>
                  </a:lnTo>
                  <a:lnTo>
                    <a:pt x="4421" y="2930"/>
                  </a:lnTo>
                  <a:lnTo>
                    <a:pt x="4421" y="2930"/>
                  </a:lnTo>
                  <a:lnTo>
                    <a:pt x="4408" y="2923"/>
                  </a:lnTo>
                  <a:lnTo>
                    <a:pt x="4396" y="2915"/>
                  </a:lnTo>
                  <a:lnTo>
                    <a:pt x="4384" y="2905"/>
                  </a:lnTo>
                  <a:lnTo>
                    <a:pt x="4373" y="2895"/>
                  </a:lnTo>
                  <a:lnTo>
                    <a:pt x="4363" y="2884"/>
                  </a:lnTo>
                  <a:lnTo>
                    <a:pt x="4354" y="2872"/>
                  </a:lnTo>
                  <a:lnTo>
                    <a:pt x="4345" y="2859"/>
                  </a:lnTo>
                  <a:lnTo>
                    <a:pt x="4338" y="2845"/>
                  </a:lnTo>
                  <a:lnTo>
                    <a:pt x="4331" y="2831"/>
                  </a:lnTo>
                  <a:lnTo>
                    <a:pt x="4325" y="2817"/>
                  </a:lnTo>
                  <a:lnTo>
                    <a:pt x="4321" y="2802"/>
                  </a:lnTo>
                  <a:lnTo>
                    <a:pt x="4317" y="2787"/>
                  </a:lnTo>
                  <a:lnTo>
                    <a:pt x="4315" y="2772"/>
                  </a:lnTo>
                  <a:lnTo>
                    <a:pt x="4314" y="2758"/>
                  </a:lnTo>
                  <a:lnTo>
                    <a:pt x="4314" y="2743"/>
                  </a:lnTo>
                  <a:lnTo>
                    <a:pt x="4316" y="2728"/>
                  </a:lnTo>
                  <a:lnTo>
                    <a:pt x="4316" y="2728"/>
                  </a:lnTo>
                  <a:lnTo>
                    <a:pt x="4318" y="2710"/>
                  </a:lnTo>
                  <a:lnTo>
                    <a:pt x="4323" y="2662"/>
                  </a:lnTo>
                  <a:lnTo>
                    <a:pt x="4326" y="2629"/>
                  </a:lnTo>
                  <a:lnTo>
                    <a:pt x="4329" y="2590"/>
                  </a:lnTo>
                  <a:lnTo>
                    <a:pt x="4331" y="2548"/>
                  </a:lnTo>
                  <a:lnTo>
                    <a:pt x="4332" y="2502"/>
                  </a:lnTo>
                  <a:lnTo>
                    <a:pt x="4332" y="2502"/>
                  </a:lnTo>
                  <a:close/>
                  <a:moveTo>
                    <a:pt x="3788" y="2500"/>
                  </a:moveTo>
                  <a:lnTo>
                    <a:pt x="3788" y="2500"/>
                  </a:lnTo>
                  <a:lnTo>
                    <a:pt x="3787" y="2533"/>
                  </a:lnTo>
                  <a:lnTo>
                    <a:pt x="3786" y="2567"/>
                  </a:lnTo>
                  <a:lnTo>
                    <a:pt x="3784" y="2600"/>
                  </a:lnTo>
                  <a:lnTo>
                    <a:pt x="3780" y="2633"/>
                  </a:lnTo>
                  <a:lnTo>
                    <a:pt x="3777" y="2666"/>
                  </a:lnTo>
                  <a:lnTo>
                    <a:pt x="3772" y="2698"/>
                  </a:lnTo>
                  <a:lnTo>
                    <a:pt x="3767" y="2730"/>
                  </a:lnTo>
                  <a:lnTo>
                    <a:pt x="3760" y="2762"/>
                  </a:lnTo>
                  <a:lnTo>
                    <a:pt x="3753" y="2794"/>
                  </a:lnTo>
                  <a:lnTo>
                    <a:pt x="3746" y="2825"/>
                  </a:lnTo>
                  <a:lnTo>
                    <a:pt x="3737" y="2856"/>
                  </a:lnTo>
                  <a:lnTo>
                    <a:pt x="3728" y="2887"/>
                  </a:lnTo>
                  <a:lnTo>
                    <a:pt x="3718" y="2917"/>
                  </a:lnTo>
                  <a:lnTo>
                    <a:pt x="3707" y="2947"/>
                  </a:lnTo>
                  <a:lnTo>
                    <a:pt x="3696" y="2977"/>
                  </a:lnTo>
                  <a:lnTo>
                    <a:pt x="3684" y="3006"/>
                  </a:lnTo>
                  <a:lnTo>
                    <a:pt x="3671" y="3035"/>
                  </a:lnTo>
                  <a:lnTo>
                    <a:pt x="3657" y="3064"/>
                  </a:lnTo>
                  <a:lnTo>
                    <a:pt x="3643" y="3092"/>
                  </a:lnTo>
                  <a:lnTo>
                    <a:pt x="3628" y="3120"/>
                  </a:lnTo>
                  <a:lnTo>
                    <a:pt x="3613" y="3147"/>
                  </a:lnTo>
                  <a:lnTo>
                    <a:pt x="3597" y="3174"/>
                  </a:lnTo>
                  <a:lnTo>
                    <a:pt x="3580" y="3201"/>
                  </a:lnTo>
                  <a:lnTo>
                    <a:pt x="3563" y="3227"/>
                  </a:lnTo>
                  <a:lnTo>
                    <a:pt x="3545" y="3252"/>
                  </a:lnTo>
                  <a:lnTo>
                    <a:pt x="3526" y="3278"/>
                  </a:lnTo>
                  <a:lnTo>
                    <a:pt x="3507" y="3302"/>
                  </a:lnTo>
                  <a:lnTo>
                    <a:pt x="3487" y="3327"/>
                  </a:lnTo>
                  <a:lnTo>
                    <a:pt x="3467" y="3350"/>
                  </a:lnTo>
                  <a:lnTo>
                    <a:pt x="3446" y="3374"/>
                  </a:lnTo>
                  <a:lnTo>
                    <a:pt x="3425" y="3396"/>
                  </a:lnTo>
                  <a:lnTo>
                    <a:pt x="3403" y="3419"/>
                  </a:lnTo>
                  <a:lnTo>
                    <a:pt x="3381" y="3440"/>
                  </a:lnTo>
                  <a:lnTo>
                    <a:pt x="3358" y="3462"/>
                  </a:lnTo>
                  <a:lnTo>
                    <a:pt x="3334" y="3482"/>
                  </a:lnTo>
                  <a:lnTo>
                    <a:pt x="3310" y="3502"/>
                  </a:lnTo>
                  <a:lnTo>
                    <a:pt x="3286" y="3522"/>
                  </a:lnTo>
                  <a:lnTo>
                    <a:pt x="3261" y="3541"/>
                  </a:lnTo>
                  <a:lnTo>
                    <a:pt x="3236" y="3559"/>
                  </a:lnTo>
                  <a:lnTo>
                    <a:pt x="3210" y="3577"/>
                  </a:lnTo>
                  <a:lnTo>
                    <a:pt x="3184" y="3594"/>
                  </a:lnTo>
                  <a:lnTo>
                    <a:pt x="3157" y="3611"/>
                  </a:lnTo>
                  <a:lnTo>
                    <a:pt x="3130" y="3626"/>
                  </a:lnTo>
                  <a:lnTo>
                    <a:pt x="3102" y="3642"/>
                  </a:lnTo>
                  <a:lnTo>
                    <a:pt x="3074" y="3656"/>
                  </a:lnTo>
                  <a:lnTo>
                    <a:pt x="3046" y="3670"/>
                  </a:lnTo>
                  <a:lnTo>
                    <a:pt x="3017" y="3683"/>
                  </a:lnTo>
                  <a:lnTo>
                    <a:pt x="2988" y="3696"/>
                  </a:lnTo>
                  <a:lnTo>
                    <a:pt x="2959" y="3708"/>
                  </a:lnTo>
                  <a:lnTo>
                    <a:pt x="2929" y="3719"/>
                  </a:lnTo>
                  <a:lnTo>
                    <a:pt x="2899" y="3730"/>
                  </a:lnTo>
                  <a:lnTo>
                    <a:pt x="2868" y="3739"/>
                  </a:lnTo>
                  <a:lnTo>
                    <a:pt x="2838" y="3748"/>
                  </a:lnTo>
                  <a:lnTo>
                    <a:pt x="2807" y="3757"/>
                  </a:lnTo>
                  <a:lnTo>
                    <a:pt x="2775" y="3764"/>
                  </a:lnTo>
                  <a:lnTo>
                    <a:pt x="2744" y="3771"/>
                  </a:lnTo>
                  <a:lnTo>
                    <a:pt x="2712" y="3777"/>
                  </a:lnTo>
                  <a:lnTo>
                    <a:pt x="2679" y="3782"/>
                  </a:lnTo>
                  <a:lnTo>
                    <a:pt x="2647" y="3787"/>
                  </a:lnTo>
                  <a:lnTo>
                    <a:pt x="2614" y="3790"/>
                  </a:lnTo>
                  <a:lnTo>
                    <a:pt x="2581" y="3793"/>
                  </a:lnTo>
                  <a:lnTo>
                    <a:pt x="2548" y="3795"/>
                  </a:lnTo>
                  <a:lnTo>
                    <a:pt x="2515" y="3796"/>
                  </a:lnTo>
                  <a:lnTo>
                    <a:pt x="2481" y="3796"/>
                  </a:lnTo>
                  <a:lnTo>
                    <a:pt x="2481" y="3796"/>
                  </a:lnTo>
                  <a:lnTo>
                    <a:pt x="2446" y="3796"/>
                  </a:lnTo>
                  <a:lnTo>
                    <a:pt x="2413" y="3794"/>
                  </a:lnTo>
                  <a:lnTo>
                    <a:pt x="2380" y="3792"/>
                  </a:lnTo>
                  <a:lnTo>
                    <a:pt x="2347" y="3789"/>
                  </a:lnTo>
                  <a:lnTo>
                    <a:pt x="2314" y="3785"/>
                  </a:lnTo>
                  <a:lnTo>
                    <a:pt x="2282" y="3781"/>
                  </a:lnTo>
                  <a:lnTo>
                    <a:pt x="2250" y="3775"/>
                  </a:lnTo>
                  <a:lnTo>
                    <a:pt x="2218" y="3769"/>
                  </a:lnTo>
                  <a:lnTo>
                    <a:pt x="2186" y="3762"/>
                  </a:lnTo>
                  <a:lnTo>
                    <a:pt x="2155" y="3754"/>
                  </a:lnTo>
                  <a:lnTo>
                    <a:pt x="2124" y="3746"/>
                  </a:lnTo>
                  <a:lnTo>
                    <a:pt x="2093" y="3736"/>
                  </a:lnTo>
                  <a:lnTo>
                    <a:pt x="2063" y="3726"/>
                  </a:lnTo>
                  <a:lnTo>
                    <a:pt x="2033" y="3716"/>
                  </a:lnTo>
                  <a:lnTo>
                    <a:pt x="2003" y="3704"/>
                  </a:lnTo>
                  <a:lnTo>
                    <a:pt x="1974" y="3692"/>
                  </a:lnTo>
                  <a:lnTo>
                    <a:pt x="1945" y="3679"/>
                  </a:lnTo>
                  <a:lnTo>
                    <a:pt x="1916" y="3666"/>
                  </a:lnTo>
                  <a:lnTo>
                    <a:pt x="1888" y="3652"/>
                  </a:lnTo>
                  <a:lnTo>
                    <a:pt x="1860" y="3637"/>
                  </a:lnTo>
                  <a:lnTo>
                    <a:pt x="1833" y="3621"/>
                  </a:lnTo>
                  <a:lnTo>
                    <a:pt x="1806" y="3605"/>
                  </a:lnTo>
                  <a:lnTo>
                    <a:pt x="1779" y="3589"/>
                  </a:lnTo>
                  <a:lnTo>
                    <a:pt x="1753" y="3571"/>
                  </a:lnTo>
                  <a:lnTo>
                    <a:pt x="1728" y="3553"/>
                  </a:lnTo>
                  <a:lnTo>
                    <a:pt x="1702" y="3535"/>
                  </a:lnTo>
                  <a:lnTo>
                    <a:pt x="1678" y="3516"/>
                  </a:lnTo>
                  <a:lnTo>
                    <a:pt x="1653" y="3496"/>
                  </a:lnTo>
                  <a:lnTo>
                    <a:pt x="1630" y="3476"/>
                  </a:lnTo>
                  <a:lnTo>
                    <a:pt x="1606" y="3455"/>
                  </a:lnTo>
                  <a:lnTo>
                    <a:pt x="1584" y="3433"/>
                  </a:lnTo>
                  <a:lnTo>
                    <a:pt x="1561" y="3412"/>
                  </a:lnTo>
                  <a:lnTo>
                    <a:pt x="1540" y="3389"/>
                  </a:lnTo>
                  <a:lnTo>
                    <a:pt x="1518" y="3366"/>
                  </a:lnTo>
                  <a:lnTo>
                    <a:pt x="1498" y="3343"/>
                  </a:lnTo>
                  <a:lnTo>
                    <a:pt x="1478" y="3319"/>
                  </a:lnTo>
                  <a:lnTo>
                    <a:pt x="1458" y="3294"/>
                  </a:lnTo>
                  <a:lnTo>
                    <a:pt x="1439" y="3269"/>
                  </a:lnTo>
                  <a:lnTo>
                    <a:pt x="1421" y="3244"/>
                  </a:lnTo>
                  <a:lnTo>
                    <a:pt x="1403" y="3218"/>
                  </a:lnTo>
                  <a:lnTo>
                    <a:pt x="1386" y="3192"/>
                  </a:lnTo>
                  <a:lnTo>
                    <a:pt x="1370" y="3165"/>
                  </a:lnTo>
                  <a:lnTo>
                    <a:pt x="1354" y="3138"/>
                  </a:lnTo>
                  <a:lnTo>
                    <a:pt x="1338" y="3111"/>
                  </a:lnTo>
                  <a:lnTo>
                    <a:pt x="1324" y="3083"/>
                  </a:lnTo>
                  <a:lnTo>
                    <a:pt x="1310" y="3054"/>
                  </a:lnTo>
                  <a:lnTo>
                    <a:pt x="1297" y="3026"/>
                  </a:lnTo>
                  <a:lnTo>
                    <a:pt x="1284" y="2997"/>
                  </a:lnTo>
                  <a:lnTo>
                    <a:pt x="1272" y="2967"/>
                  </a:lnTo>
                  <a:lnTo>
                    <a:pt x="1261" y="2937"/>
                  </a:lnTo>
                  <a:lnTo>
                    <a:pt x="1250" y="2907"/>
                  </a:lnTo>
                  <a:lnTo>
                    <a:pt x="1241" y="2877"/>
                  </a:lnTo>
                  <a:lnTo>
                    <a:pt x="1232" y="2846"/>
                  </a:lnTo>
                  <a:lnTo>
                    <a:pt x="1223" y="2815"/>
                  </a:lnTo>
                  <a:lnTo>
                    <a:pt x="1216" y="2784"/>
                  </a:lnTo>
                  <a:lnTo>
                    <a:pt x="1209" y="2752"/>
                  </a:lnTo>
                  <a:lnTo>
                    <a:pt x="1203" y="2720"/>
                  </a:lnTo>
                  <a:lnTo>
                    <a:pt x="1198" y="2688"/>
                  </a:lnTo>
                  <a:lnTo>
                    <a:pt x="1194" y="2655"/>
                  </a:lnTo>
                  <a:lnTo>
                    <a:pt x="1190" y="2623"/>
                  </a:lnTo>
                  <a:lnTo>
                    <a:pt x="1187" y="2590"/>
                  </a:lnTo>
                  <a:lnTo>
                    <a:pt x="1185" y="2557"/>
                  </a:lnTo>
                  <a:lnTo>
                    <a:pt x="1184" y="2523"/>
                  </a:lnTo>
                  <a:lnTo>
                    <a:pt x="1184" y="2490"/>
                  </a:lnTo>
                  <a:lnTo>
                    <a:pt x="1184" y="2490"/>
                  </a:lnTo>
                  <a:lnTo>
                    <a:pt x="1184" y="2455"/>
                  </a:lnTo>
                  <a:lnTo>
                    <a:pt x="1186" y="2422"/>
                  </a:lnTo>
                  <a:lnTo>
                    <a:pt x="1188" y="2388"/>
                  </a:lnTo>
                  <a:lnTo>
                    <a:pt x="1191" y="2356"/>
                  </a:lnTo>
                  <a:lnTo>
                    <a:pt x="1195" y="2323"/>
                  </a:lnTo>
                  <a:lnTo>
                    <a:pt x="1199" y="2290"/>
                  </a:lnTo>
                  <a:lnTo>
                    <a:pt x="1205" y="2258"/>
                  </a:lnTo>
                  <a:lnTo>
                    <a:pt x="1211" y="2226"/>
                  </a:lnTo>
                  <a:lnTo>
                    <a:pt x="1218" y="2195"/>
                  </a:lnTo>
                  <a:lnTo>
                    <a:pt x="1226" y="2163"/>
                  </a:lnTo>
                  <a:lnTo>
                    <a:pt x="1234" y="2132"/>
                  </a:lnTo>
                  <a:lnTo>
                    <a:pt x="1244" y="2102"/>
                  </a:lnTo>
                  <a:lnTo>
                    <a:pt x="1254" y="2071"/>
                  </a:lnTo>
                  <a:lnTo>
                    <a:pt x="1264" y="2041"/>
                  </a:lnTo>
                  <a:lnTo>
                    <a:pt x="1276" y="2012"/>
                  </a:lnTo>
                  <a:lnTo>
                    <a:pt x="1288" y="1982"/>
                  </a:lnTo>
                  <a:lnTo>
                    <a:pt x="1301" y="1953"/>
                  </a:lnTo>
                  <a:lnTo>
                    <a:pt x="1314" y="1925"/>
                  </a:lnTo>
                  <a:lnTo>
                    <a:pt x="1328" y="1897"/>
                  </a:lnTo>
                  <a:lnTo>
                    <a:pt x="1343" y="1869"/>
                  </a:lnTo>
                  <a:lnTo>
                    <a:pt x="1359" y="1841"/>
                  </a:lnTo>
                  <a:lnTo>
                    <a:pt x="1375" y="1814"/>
                  </a:lnTo>
                  <a:lnTo>
                    <a:pt x="1391" y="1788"/>
                  </a:lnTo>
                  <a:lnTo>
                    <a:pt x="1409" y="1762"/>
                  </a:lnTo>
                  <a:lnTo>
                    <a:pt x="1427" y="1736"/>
                  </a:lnTo>
                  <a:lnTo>
                    <a:pt x="1445" y="1711"/>
                  </a:lnTo>
                  <a:lnTo>
                    <a:pt x="1464" y="1686"/>
                  </a:lnTo>
                  <a:lnTo>
                    <a:pt x="1484" y="1662"/>
                  </a:lnTo>
                  <a:lnTo>
                    <a:pt x="1504" y="1638"/>
                  </a:lnTo>
                  <a:lnTo>
                    <a:pt x="1525" y="1615"/>
                  </a:lnTo>
                  <a:lnTo>
                    <a:pt x="1547" y="1592"/>
                  </a:lnTo>
                  <a:lnTo>
                    <a:pt x="1569" y="1570"/>
                  </a:lnTo>
                  <a:lnTo>
                    <a:pt x="1591" y="1548"/>
                  </a:lnTo>
                  <a:lnTo>
                    <a:pt x="1614" y="1527"/>
                  </a:lnTo>
                  <a:lnTo>
                    <a:pt x="1637" y="1506"/>
                  </a:lnTo>
                  <a:lnTo>
                    <a:pt x="1661" y="1486"/>
                  </a:lnTo>
                  <a:lnTo>
                    <a:pt x="1686" y="1467"/>
                  </a:lnTo>
                  <a:lnTo>
                    <a:pt x="1711" y="1448"/>
                  </a:lnTo>
                  <a:lnTo>
                    <a:pt x="1736" y="1429"/>
                  </a:lnTo>
                  <a:lnTo>
                    <a:pt x="1762" y="1412"/>
                  </a:lnTo>
                  <a:lnTo>
                    <a:pt x="1788" y="1395"/>
                  </a:lnTo>
                  <a:lnTo>
                    <a:pt x="1815" y="1378"/>
                  </a:lnTo>
                  <a:lnTo>
                    <a:pt x="1842" y="1362"/>
                  </a:lnTo>
                  <a:lnTo>
                    <a:pt x="1869" y="1347"/>
                  </a:lnTo>
                  <a:lnTo>
                    <a:pt x="1897" y="1332"/>
                  </a:lnTo>
                  <a:lnTo>
                    <a:pt x="1926" y="1318"/>
                  </a:lnTo>
                  <a:lnTo>
                    <a:pt x="1954" y="1305"/>
                  </a:lnTo>
                  <a:lnTo>
                    <a:pt x="1983" y="1293"/>
                  </a:lnTo>
                  <a:lnTo>
                    <a:pt x="2013" y="1281"/>
                  </a:lnTo>
                  <a:lnTo>
                    <a:pt x="2043" y="1270"/>
                  </a:lnTo>
                  <a:lnTo>
                    <a:pt x="2073" y="1259"/>
                  </a:lnTo>
                  <a:lnTo>
                    <a:pt x="2103" y="1249"/>
                  </a:lnTo>
                  <a:lnTo>
                    <a:pt x="2134" y="1240"/>
                  </a:lnTo>
                  <a:lnTo>
                    <a:pt x="2165" y="1232"/>
                  </a:lnTo>
                  <a:lnTo>
                    <a:pt x="2196" y="1225"/>
                  </a:lnTo>
                  <a:lnTo>
                    <a:pt x="2228" y="1218"/>
                  </a:lnTo>
                  <a:lnTo>
                    <a:pt x="2260" y="1212"/>
                  </a:lnTo>
                  <a:lnTo>
                    <a:pt x="2292" y="1207"/>
                  </a:lnTo>
                  <a:lnTo>
                    <a:pt x="2325" y="1202"/>
                  </a:lnTo>
                  <a:lnTo>
                    <a:pt x="2357" y="1199"/>
                  </a:lnTo>
                  <a:lnTo>
                    <a:pt x="2390" y="1196"/>
                  </a:lnTo>
                  <a:lnTo>
                    <a:pt x="2424" y="1194"/>
                  </a:lnTo>
                  <a:lnTo>
                    <a:pt x="2457" y="1193"/>
                  </a:lnTo>
                  <a:lnTo>
                    <a:pt x="2492" y="1192"/>
                  </a:lnTo>
                  <a:lnTo>
                    <a:pt x="2492" y="1192"/>
                  </a:lnTo>
                  <a:lnTo>
                    <a:pt x="2525" y="1193"/>
                  </a:lnTo>
                  <a:lnTo>
                    <a:pt x="2558" y="1194"/>
                  </a:lnTo>
                  <a:lnTo>
                    <a:pt x="2592" y="1197"/>
                  </a:lnTo>
                  <a:lnTo>
                    <a:pt x="2625" y="1200"/>
                  </a:lnTo>
                  <a:lnTo>
                    <a:pt x="2657" y="1204"/>
                  </a:lnTo>
                  <a:lnTo>
                    <a:pt x="2690" y="1208"/>
                  </a:lnTo>
                  <a:lnTo>
                    <a:pt x="2722" y="1214"/>
                  </a:lnTo>
                  <a:lnTo>
                    <a:pt x="2754" y="1220"/>
                  </a:lnTo>
                  <a:lnTo>
                    <a:pt x="2785" y="1227"/>
                  </a:lnTo>
                  <a:lnTo>
                    <a:pt x="2817" y="1235"/>
                  </a:lnTo>
                  <a:lnTo>
                    <a:pt x="2848" y="1243"/>
                  </a:lnTo>
                  <a:lnTo>
                    <a:pt x="2878" y="1252"/>
                  </a:lnTo>
                  <a:lnTo>
                    <a:pt x="2909" y="1262"/>
                  </a:lnTo>
                  <a:lnTo>
                    <a:pt x="2939" y="1273"/>
                  </a:lnTo>
                  <a:lnTo>
                    <a:pt x="2968" y="1285"/>
                  </a:lnTo>
                  <a:lnTo>
                    <a:pt x="2998" y="1297"/>
                  </a:lnTo>
                  <a:lnTo>
                    <a:pt x="3027" y="1309"/>
                  </a:lnTo>
                  <a:lnTo>
                    <a:pt x="3055" y="1323"/>
                  </a:lnTo>
                  <a:lnTo>
                    <a:pt x="3083" y="1337"/>
                  </a:lnTo>
                  <a:lnTo>
                    <a:pt x="3111" y="1352"/>
                  </a:lnTo>
                  <a:lnTo>
                    <a:pt x="3139" y="1367"/>
                  </a:lnTo>
                  <a:lnTo>
                    <a:pt x="3166" y="1383"/>
                  </a:lnTo>
                  <a:lnTo>
                    <a:pt x="3192" y="1400"/>
                  </a:lnTo>
                  <a:lnTo>
                    <a:pt x="3218" y="1418"/>
                  </a:lnTo>
                  <a:lnTo>
                    <a:pt x="3244" y="1435"/>
                  </a:lnTo>
                  <a:lnTo>
                    <a:pt x="3269" y="1454"/>
                  </a:lnTo>
                  <a:lnTo>
                    <a:pt x="3294" y="1473"/>
                  </a:lnTo>
                  <a:lnTo>
                    <a:pt x="3318" y="1493"/>
                  </a:lnTo>
                  <a:lnTo>
                    <a:pt x="3342" y="1513"/>
                  </a:lnTo>
                  <a:lnTo>
                    <a:pt x="3365" y="1534"/>
                  </a:lnTo>
                  <a:lnTo>
                    <a:pt x="3388" y="1555"/>
                  </a:lnTo>
                  <a:lnTo>
                    <a:pt x="3410" y="1577"/>
                  </a:lnTo>
                  <a:lnTo>
                    <a:pt x="3432" y="1600"/>
                  </a:lnTo>
                  <a:lnTo>
                    <a:pt x="3453" y="1623"/>
                  </a:lnTo>
                  <a:lnTo>
                    <a:pt x="3474" y="1646"/>
                  </a:lnTo>
                  <a:lnTo>
                    <a:pt x="3494" y="1670"/>
                  </a:lnTo>
                  <a:lnTo>
                    <a:pt x="3513" y="1694"/>
                  </a:lnTo>
                  <a:lnTo>
                    <a:pt x="3532" y="1719"/>
                  </a:lnTo>
                  <a:lnTo>
                    <a:pt x="3551" y="1745"/>
                  </a:lnTo>
                  <a:lnTo>
                    <a:pt x="3568" y="1770"/>
                  </a:lnTo>
                  <a:lnTo>
                    <a:pt x="3585" y="1797"/>
                  </a:lnTo>
                  <a:lnTo>
                    <a:pt x="3602" y="1823"/>
                  </a:lnTo>
                  <a:lnTo>
                    <a:pt x="3618" y="1850"/>
                  </a:lnTo>
                  <a:lnTo>
                    <a:pt x="3633" y="1878"/>
                  </a:lnTo>
                  <a:lnTo>
                    <a:pt x="3648" y="1906"/>
                  </a:lnTo>
                  <a:lnTo>
                    <a:pt x="3662" y="1934"/>
                  </a:lnTo>
                  <a:lnTo>
                    <a:pt x="3675" y="1963"/>
                  </a:lnTo>
                  <a:lnTo>
                    <a:pt x="3687" y="1992"/>
                  </a:lnTo>
                  <a:lnTo>
                    <a:pt x="3699" y="2021"/>
                  </a:lnTo>
                  <a:lnTo>
                    <a:pt x="3711" y="2051"/>
                  </a:lnTo>
                  <a:lnTo>
                    <a:pt x="3721" y="2081"/>
                  </a:lnTo>
                  <a:lnTo>
                    <a:pt x="3731" y="2112"/>
                  </a:lnTo>
                  <a:lnTo>
                    <a:pt x="3740" y="2142"/>
                  </a:lnTo>
                  <a:lnTo>
                    <a:pt x="3748" y="2173"/>
                  </a:lnTo>
                  <a:lnTo>
                    <a:pt x="3756" y="2205"/>
                  </a:lnTo>
                  <a:lnTo>
                    <a:pt x="3762" y="2236"/>
                  </a:lnTo>
                  <a:lnTo>
                    <a:pt x="3768" y="2268"/>
                  </a:lnTo>
                  <a:lnTo>
                    <a:pt x="3773" y="2301"/>
                  </a:lnTo>
                  <a:lnTo>
                    <a:pt x="3778" y="2333"/>
                  </a:lnTo>
                  <a:lnTo>
                    <a:pt x="3781" y="2366"/>
                  </a:lnTo>
                  <a:lnTo>
                    <a:pt x="3784" y="2399"/>
                  </a:lnTo>
                  <a:lnTo>
                    <a:pt x="3786" y="2432"/>
                  </a:lnTo>
                  <a:lnTo>
                    <a:pt x="3787" y="2466"/>
                  </a:lnTo>
                  <a:lnTo>
                    <a:pt x="3788" y="2500"/>
                  </a:lnTo>
                  <a:lnTo>
                    <a:pt x="3788" y="25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04" name="SAGD, Siemens, healthineers, evolve">
            <a:extLst>
              <a:ext uri="{FF2B5EF4-FFF2-40B4-BE49-F238E27FC236}">
                <a16:creationId xmlns:a16="http://schemas.microsoft.com/office/drawing/2014/main" id="{CF390143-CA29-4DC8-850C-DCEE15EC882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404702" y="2825824"/>
            <a:ext cx="233697" cy="234192"/>
            <a:chOff x="1188" y="1252"/>
            <a:chExt cx="2268" cy="2268"/>
          </a:xfrm>
        </p:grpSpPr>
        <p:sp>
          <p:nvSpPr>
            <p:cNvPr id="205" name="AutoShape 4">
              <a:extLst>
                <a:ext uri="{FF2B5EF4-FFF2-40B4-BE49-F238E27FC236}">
                  <a16:creationId xmlns:a16="http://schemas.microsoft.com/office/drawing/2014/main" id="{863A93E6-02E5-4ADC-83E3-9D57944B29F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1188" y="1252"/>
              <a:ext cx="2268" cy="2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206" name="Freeform 6">
              <a:extLst>
                <a:ext uri="{FF2B5EF4-FFF2-40B4-BE49-F238E27FC236}">
                  <a16:creationId xmlns:a16="http://schemas.microsoft.com/office/drawing/2014/main" id="{B4D8EB59-9187-48EF-BFF8-10446CB1B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8" y="1252"/>
              <a:ext cx="2268" cy="2268"/>
            </a:xfrm>
            <a:custGeom>
              <a:avLst/>
              <a:gdLst/>
              <a:ahLst/>
              <a:cxnLst>
                <a:cxn ang="0">
                  <a:pos x="11317" y="6179"/>
                </a:cxn>
                <a:cxn ang="0">
                  <a:pos x="11224" y="6813"/>
                </a:cxn>
                <a:cxn ang="0">
                  <a:pos x="11064" y="7423"/>
                </a:cxn>
                <a:cxn ang="0">
                  <a:pos x="10839" y="8004"/>
                </a:cxn>
                <a:cxn ang="0">
                  <a:pos x="10554" y="8552"/>
                </a:cxn>
                <a:cxn ang="0">
                  <a:pos x="10213" y="9063"/>
                </a:cxn>
                <a:cxn ang="0">
                  <a:pos x="9821" y="9533"/>
                </a:cxn>
                <a:cxn ang="0">
                  <a:pos x="9380" y="9958"/>
                </a:cxn>
                <a:cxn ang="0">
                  <a:pos x="8896" y="10333"/>
                </a:cxn>
                <a:cxn ang="0">
                  <a:pos x="8373" y="10656"/>
                </a:cxn>
                <a:cxn ang="0">
                  <a:pos x="7813" y="10921"/>
                </a:cxn>
                <a:cxn ang="0">
                  <a:pos x="7222" y="11125"/>
                </a:cxn>
                <a:cxn ang="0">
                  <a:pos x="6604" y="11264"/>
                </a:cxn>
                <a:cxn ang="0">
                  <a:pos x="5962" y="11333"/>
                </a:cxn>
                <a:cxn ang="0">
                  <a:pos x="5378" y="11333"/>
                </a:cxn>
                <a:cxn ang="0">
                  <a:pos x="4736" y="11264"/>
                </a:cxn>
                <a:cxn ang="0">
                  <a:pos x="4117" y="11125"/>
                </a:cxn>
                <a:cxn ang="0">
                  <a:pos x="3526" y="10921"/>
                </a:cxn>
                <a:cxn ang="0">
                  <a:pos x="2967" y="10656"/>
                </a:cxn>
                <a:cxn ang="0">
                  <a:pos x="2443" y="10333"/>
                </a:cxn>
                <a:cxn ang="0">
                  <a:pos x="1959" y="9958"/>
                </a:cxn>
                <a:cxn ang="0">
                  <a:pos x="1519" y="9533"/>
                </a:cxn>
                <a:cxn ang="0">
                  <a:pos x="1126" y="9063"/>
                </a:cxn>
                <a:cxn ang="0">
                  <a:pos x="785" y="8552"/>
                </a:cxn>
                <a:cxn ang="0">
                  <a:pos x="501" y="8004"/>
                </a:cxn>
                <a:cxn ang="0">
                  <a:pos x="276" y="7423"/>
                </a:cxn>
                <a:cxn ang="0">
                  <a:pos x="115" y="6813"/>
                </a:cxn>
                <a:cxn ang="0">
                  <a:pos x="22" y="6179"/>
                </a:cxn>
                <a:cxn ang="0">
                  <a:pos x="0" y="5596"/>
                </a:cxn>
                <a:cxn ang="0">
                  <a:pos x="45" y="4948"/>
                </a:cxn>
                <a:cxn ang="0">
                  <a:pos x="161" y="4321"/>
                </a:cxn>
                <a:cxn ang="0">
                  <a:pos x="344" y="3720"/>
                </a:cxn>
                <a:cxn ang="0">
                  <a:pos x="589" y="3150"/>
                </a:cxn>
                <a:cxn ang="0">
                  <a:pos x="893" y="2614"/>
                </a:cxn>
                <a:cxn ang="0">
                  <a:pos x="1251" y="2116"/>
                </a:cxn>
                <a:cxn ang="0">
                  <a:pos x="1660" y="1661"/>
                </a:cxn>
                <a:cxn ang="0">
                  <a:pos x="2116" y="1252"/>
                </a:cxn>
                <a:cxn ang="0">
                  <a:pos x="2613" y="893"/>
                </a:cxn>
                <a:cxn ang="0">
                  <a:pos x="3150" y="589"/>
                </a:cxn>
                <a:cxn ang="0">
                  <a:pos x="3720" y="344"/>
                </a:cxn>
                <a:cxn ang="0">
                  <a:pos x="4320" y="162"/>
                </a:cxn>
                <a:cxn ang="0">
                  <a:pos x="4947" y="46"/>
                </a:cxn>
                <a:cxn ang="0">
                  <a:pos x="5596" y="1"/>
                </a:cxn>
                <a:cxn ang="0">
                  <a:pos x="6178" y="23"/>
                </a:cxn>
                <a:cxn ang="0">
                  <a:pos x="6813" y="115"/>
                </a:cxn>
                <a:cxn ang="0">
                  <a:pos x="7423" y="276"/>
                </a:cxn>
                <a:cxn ang="0">
                  <a:pos x="8003" y="501"/>
                </a:cxn>
                <a:cxn ang="0">
                  <a:pos x="8551" y="786"/>
                </a:cxn>
                <a:cxn ang="0">
                  <a:pos x="9062" y="1126"/>
                </a:cxn>
                <a:cxn ang="0">
                  <a:pos x="9532" y="1519"/>
                </a:cxn>
                <a:cxn ang="0">
                  <a:pos x="9957" y="1959"/>
                </a:cxn>
                <a:cxn ang="0">
                  <a:pos x="10333" y="2443"/>
                </a:cxn>
                <a:cxn ang="0">
                  <a:pos x="10655" y="2967"/>
                </a:cxn>
                <a:cxn ang="0">
                  <a:pos x="10921" y="3527"/>
                </a:cxn>
                <a:cxn ang="0">
                  <a:pos x="11124" y="4118"/>
                </a:cxn>
                <a:cxn ang="0">
                  <a:pos x="11263" y="4736"/>
                </a:cxn>
                <a:cxn ang="0">
                  <a:pos x="11332" y="5378"/>
                </a:cxn>
              </a:cxnLst>
              <a:rect l="0" t="0" r="r" b="b"/>
              <a:pathLst>
                <a:path w="11340" h="11340">
                  <a:moveTo>
                    <a:pt x="11340" y="5671"/>
                  </a:moveTo>
                  <a:lnTo>
                    <a:pt x="11340" y="5671"/>
                  </a:lnTo>
                  <a:lnTo>
                    <a:pt x="11339" y="5744"/>
                  </a:lnTo>
                  <a:lnTo>
                    <a:pt x="11338" y="5817"/>
                  </a:lnTo>
                  <a:lnTo>
                    <a:pt x="11335" y="5890"/>
                  </a:lnTo>
                  <a:lnTo>
                    <a:pt x="11332" y="5962"/>
                  </a:lnTo>
                  <a:lnTo>
                    <a:pt x="11328" y="6035"/>
                  </a:lnTo>
                  <a:lnTo>
                    <a:pt x="11323" y="6107"/>
                  </a:lnTo>
                  <a:lnTo>
                    <a:pt x="11317" y="6179"/>
                  </a:lnTo>
                  <a:lnTo>
                    <a:pt x="11310" y="6250"/>
                  </a:lnTo>
                  <a:lnTo>
                    <a:pt x="11303" y="6322"/>
                  </a:lnTo>
                  <a:lnTo>
                    <a:pt x="11294" y="6393"/>
                  </a:lnTo>
                  <a:lnTo>
                    <a:pt x="11285" y="6464"/>
                  </a:lnTo>
                  <a:lnTo>
                    <a:pt x="11274" y="6534"/>
                  </a:lnTo>
                  <a:lnTo>
                    <a:pt x="11263" y="6604"/>
                  </a:lnTo>
                  <a:lnTo>
                    <a:pt x="11251" y="6674"/>
                  </a:lnTo>
                  <a:lnTo>
                    <a:pt x="11238" y="6744"/>
                  </a:lnTo>
                  <a:lnTo>
                    <a:pt x="11224" y="6813"/>
                  </a:lnTo>
                  <a:lnTo>
                    <a:pt x="11210" y="6882"/>
                  </a:lnTo>
                  <a:lnTo>
                    <a:pt x="11194" y="6951"/>
                  </a:lnTo>
                  <a:lnTo>
                    <a:pt x="11178" y="7019"/>
                  </a:lnTo>
                  <a:lnTo>
                    <a:pt x="11161" y="7088"/>
                  </a:lnTo>
                  <a:lnTo>
                    <a:pt x="11143" y="7155"/>
                  </a:lnTo>
                  <a:lnTo>
                    <a:pt x="11124" y="7223"/>
                  </a:lnTo>
                  <a:lnTo>
                    <a:pt x="11105" y="7290"/>
                  </a:lnTo>
                  <a:lnTo>
                    <a:pt x="11085" y="7357"/>
                  </a:lnTo>
                  <a:lnTo>
                    <a:pt x="11064" y="7423"/>
                  </a:lnTo>
                  <a:lnTo>
                    <a:pt x="11042" y="7489"/>
                  </a:lnTo>
                  <a:lnTo>
                    <a:pt x="11019" y="7555"/>
                  </a:lnTo>
                  <a:lnTo>
                    <a:pt x="10996" y="7620"/>
                  </a:lnTo>
                  <a:lnTo>
                    <a:pt x="10971" y="7685"/>
                  </a:lnTo>
                  <a:lnTo>
                    <a:pt x="10946" y="7749"/>
                  </a:lnTo>
                  <a:lnTo>
                    <a:pt x="10921" y="7814"/>
                  </a:lnTo>
                  <a:lnTo>
                    <a:pt x="10894" y="7877"/>
                  </a:lnTo>
                  <a:lnTo>
                    <a:pt x="10867" y="7941"/>
                  </a:lnTo>
                  <a:lnTo>
                    <a:pt x="10839" y="8004"/>
                  </a:lnTo>
                  <a:lnTo>
                    <a:pt x="10810" y="8066"/>
                  </a:lnTo>
                  <a:lnTo>
                    <a:pt x="10780" y="8129"/>
                  </a:lnTo>
                  <a:lnTo>
                    <a:pt x="10750" y="8190"/>
                  </a:lnTo>
                  <a:lnTo>
                    <a:pt x="10719" y="8252"/>
                  </a:lnTo>
                  <a:lnTo>
                    <a:pt x="10688" y="8313"/>
                  </a:lnTo>
                  <a:lnTo>
                    <a:pt x="10655" y="8373"/>
                  </a:lnTo>
                  <a:lnTo>
                    <a:pt x="10622" y="8433"/>
                  </a:lnTo>
                  <a:lnTo>
                    <a:pt x="10588" y="8493"/>
                  </a:lnTo>
                  <a:lnTo>
                    <a:pt x="10554" y="8552"/>
                  </a:lnTo>
                  <a:lnTo>
                    <a:pt x="10519" y="8610"/>
                  </a:lnTo>
                  <a:lnTo>
                    <a:pt x="10483" y="8669"/>
                  </a:lnTo>
                  <a:lnTo>
                    <a:pt x="10446" y="8726"/>
                  </a:lnTo>
                  <a:lnTo>
                    <a:pt x="10409" y="8784"/>
                  </a:lnTo>
                  <a:lnTo>
                    <a:pt x="10371" y="8840"/>
                  </a:lnTo>
                  <a:lnTo>
                    <a:pt x="10333" y="8897"/>
                  </a:lnTo>
                  <a:lnTo>
                    <a:pt x="10294" y="8953"/>
                  </a:lnTo>
                  <a:lnTo>
                    <a:pt x="10254" y="9008"/>
                  </a:lnTo>
                  <a:lnTo>
                    <a:pt x="10213" y="9063"/>
                  </a:lnTo>
                  <a:lnTo>
                    <a:pt x="10172" y="9117"/>
                  </a:lnTo>
                  <a:lnTo>
                    <a:pt x="10130" y="9171"/>
                  </a:lnTo>
                  <a:lnTo>
                    <a:pt x="10088" y="9224"/>
                  </a:lnTo>
                  <a:lnTo>
                    <a:pt x="10045" y="9277"/>
                  </a:lnTo>
                  <a:lnTo>
                    <a:pt x="10001" y="9329"/>
                  </a:lnTo>
                  <a:lnTo>
                    <a:pt x="9957" y="9381"/>
                  </a:lnTo>
                  <a:lnTo>
                    <a:pt x="9912" y="9432"/>
                  </a:lnTo>
                  <a:lnTo>
                    <a:pt x="9867" y="9483"/>
                  </a:lnTo>
                  <a:lnTo>
                    <a:pt x="9821" y="9533"/>
                  </a:lnTo>
                  <a:lnTo>
                    <a:pt x="9774" y="9582"/>
                  </a:lnTo>
                  <a:lnTo>
                    <a:pt x="9727" y="9631"/>
                  </a:lnTo>
                  <a:lnTo>
                    <a:pt x="9679" y="9680"/>
                  </a:lnTo>
                  <a:lnTo>
                    <a:pt x="9631" y="9727"/>
                  </a:lnTo>
                  <a:lnTo>
                    <a:pt x="9582" y="9775"/>
                  </a:lnTo>
                  <a:lnTo>
                    <a:pt x="9532" y="9821"/>
                  </a:lnTo>
                  <a:lnTo>
                    <a:pt x="9482" y="9867"/>
                  </a:lnTo>
                  <a:lnTo>
                    <a:pt x="9432" y="9913"/>
                  </a:lnTo>
                  <a:lnTo>
                    <a:pt x="9380" y="9958"/>
                  </a:lnTo>
                  <a:lnTo>
                    <a:pt x="9329" y="10002"/>
                  </a:lnTo>
                  <a:lnTo>
                    <a:pt x="9277" y="10046"/>
                  </a:lnTo>
                  <a:lnTo>
                    <a:pt x="9224" y="10089"/>
                  </a:lnTo>
                  <a:lnTo>
                    <a:pt x="9170" y="10131"/>
                  </a:lnTo>
                  <a:lnTo>
                    <a:pt x="9117" y="10173"/>
                  </a:lnTo>
                  <a:lnTo>
                    <a:pt x="9062" y="10214"/>
                  </a:lnTo>
                  <a:lnTo>
                    <a:pt x="9008" y="10254"/>
                  </a:lnTo>
                  <a:lnTo>
                    <a:pt x="8952" y="10294"/>
                  </a:lnTo>
                  <a:lnTo>
                    <a:pt x="8896" y="10333"/>
                  </a:lnTo>
                  <a:lnTo>
                    <a:pt x="8840" y="10372"/>
                  </a:lnTo>
                  <a:lnTo>
                    <a:pt x="8783" y="10410"/>
                  </a:lnTo>
                  <a:lnTo>
                    <a:pt x="8726" y="10447"/>
                  </a:lnTo>
                  <a:lnTo>
                    <a:pt x="8668" y="10484"/>
                  </a:lnTo>
                  <a:lnTo>
                    <a:pt x="8610" y="10519"/>
                  </a:lnTo>
                  <a:lnTo>
                    <a:pt x="8551" y="10555"/>
                  </a:lnTo>
                  <a:lnTo>
                    <a:pt x="8492" y="10589"/>
                  </a:lnTo>
                  <a:lnTo>
                    <a:pt x="8433" y="10623"/>
                  </a:lnTo>
                  <a:lnTo>
                    <a:pt x="8373" y="10656"/>
                  </a:lnTo>
                  <a:lnTo>
                    <a:pt x="8312" y="10688"/>
                  </a:lnTo>
                  <a:lnTo>
                    <a:pt x="8251" y="10720"/>
                  </a:lnTo>
                  <a:lnTo>
                    <a:pt x="8190" y="10751"/>
                  </a:lnTo>
                  <a:lnTo>
                    <a:pt x="8128" y="10781"/>
                  </a:lnTo>
                  <a:lnTo>
                    <a:pt x="8066" y="10811"/>
                  </a:lnTo>
                  <a:lnTo>
                    <a:pt x="8003" y="10839"/>
                  </a:lnTo>
                  <a:lnTo>
                    <a:pt x="7940" y="10867"/>
                  </a:lnTo>
                  <a:lnTo>
                    <a:pt x="7877" y="10895"/>
                  </a:lnTo>
                  <a:lnTo>
                    <a:pt x="7813" y="10921"/>
                  </a:lnTo>
                  <a:lnTo>
                    <a:pt x="7749" y="10947"/>
                  </a:lnTo>
                  <a:lnTo>
                    <a:pt x="7685" y="10972"/>
                  </a:lnTo>
                  <a:lnTo>
                    <a:pt x="7620" y="10996"/>
                  </a:lnTo>
                  <a:lnTo>
                    <a:pt x="7554" y="11020"/>
                  </a:lnTo>
                  <a:lnTo>
                    <a:pt x="7489" y="11042"/>
                  </a:lnTo>
                  <a:lnTo>
                    <a:pt x="7423" y="11064"/>
                  </a:lnTo>
                  <a:lnTo>
                    <a:pt x="7356" y="11085"/>
                  </a:lnTo>
                  <a:lnTo>
                    <a:pt x="7289" y="11106"/>
                  </a:lnTo>
                  <a:lnTo>
                    <a:pt x="7222" y="11125"/>
                  </a:lnTo>
                  <a:lnTo>
                    <a:pt x="7155" y="11144"/>
                  </a:lnTo>
                  <a:lnTo>
                    <a:pt x="7087" y="11162"/>
                  </a:lnTo>
                  <a:lnTo>
                    <a:pt x="7019" y="11179"/>
                  </a:lnTo>
                  <a:lnTo>
                    <a:pt x="6951" y="11195"/>
                  </a:lnTo>
                  <a:lnTo>
                    <a:pt x="6882" y="11210"/>
                  </a:lnTo>
                  <a:lnTo>
                    <a:pt x="6813" y="11225"/>
                  </a:lnTo>
                  <a:lnTo>
                    <a:pt x="6744" y="11239"/>
                  </a:lnTo>
                  <a:lnTo>
                    <a:pt x="6674" y="11252"/>
                  </a:lnTo>
                  <a:lnTo>
                    <a:pt x="6604" y="11264"/>
                  </a:lnTo>
                  <a:lnTo>
                    <a:pt x="6534" y="11275"/>
                  </a:lnTo>
                  <a:lnTo>
                    <a:pt x="6463" y="11285"/>
                  </a:lnTo>
                  <a:lnTo>
                    <a:pt x="6392" y="11295"/>
                  </a:lnTo>
                  <a:lnTo>
                    <a:pt x="6321" y="11303"/>
                  </a:lnTo>
                  <a:lnTo>
                    <a:pt x="6250" y="11311"/>
                  </a:lnTo>
                  <a:lnTo>
                    <a:pt x="6178" y="11318"/>
                  </a:lnTo>
                  <a:lnTo>
                    <a:pt x="6107" y="11324"/>
                  </a:lnTo>
                  <a:lnTo>
                    <a:pt x="6034" y="11329"/>
                  </a:lnTo>
                  <a:lnTo>
                    <a:pt x="5962" y="11333"/>
                  </a:lnTo>
                  <a:lnTo>
                    <a:pt x="5890" y="11336"/>
                  </a:lnTo>
                  <a:lnTo>
                    <a:pt x="5817" y="11338"/>
                  </a:lnTo>
                  <a:lnTo>
                    <a:pt x="5744" y="11340"/>
                  </a:lnTo>
                  <a:lnTo>
                    <a:pt x="5669" y="11340"/>
                  </a:lnTo>
                  <a:lnTo>
                    <a:pt x="5669" y="11340"/>
                  </a:lnTo>
                  <a:lnTo>
                    <a:pt x="5596" y="11340"/>
                  </a:lnTo>
                  <a:lnTo>
                    <a:pt x="5523" y="11338"/>
                  </a:lnTo>
                  <a:lnTo>
                    <a:pt x="5450" y="11336"/>
                  </a:lnTo>
                  <a:lnTo>
                    <a:pt x="5378" y="11333"/>
                  </a:lnTo>
                  <a:lnTo>
                    <a:pt x="5305" y="11329"/>
                  </a:lnTo>
                  <a:lnTo>
                    <a:pt x="5233" y="11324"/>
                  </a:lnTo>
                  <a:lnTo>
                    <a:pt x="5161" y="11318"/>
                  </a:lnTo>
                  <a:lnTo>
                    <a:pt x="5090" y="11311"/>
                  </a:lnTo>
                  <a:lnTo>
                    <a:pt x="5018" y="11303"/>
                  </a:lnTo>
                  <a:lnTo>
                    <a:pt x="4947" y="11295"/>
                  </a:lnTo>
                  <a:lnTo>
                    <a:pt x="4876" y="11285"/>
                  </a:lnTo>
                  <a:lnTo>
                    <a:pt x="4806" y="11275"/>
                  </a:lnTo>
                  <a:lnTo>
                    <a:pt x="4736" y="11264"/>
                  </a:lnTo>
                  <a:lnTo>
                    <a:pt x="4666" y="11252"/>
                  </a:lnTo>
                  <a:lnTo>
                    <a:pt x="4596" y="11239"/>
                  </a:lnTo>
                  <a:lnTo>
                    <a:pt x="4527" y="11225"/>
                  </a:lnTo>
                  <a:lnTo>
                    <a:pt x="4458" y="11210"/>
                  </a:lnTo>
                  <a:lnTo>
                    <a:pt x="4389" y="11195"/>
                  </a:lnTo>
                  <a:lnTo>
                    <a:pt x="4320" y="11179"/>
                  </a:lnTo>
                  <a:lnTo>
                    <a:pt x="4252" y="11162"/>
                  </a:lnTo>
                  <a:lnTo>
                    <a:pt x="4185" y="11144"/>
                  </a:lnTo>
                  <a:lnTo>
                    <a:pt x="4117" y="11125"/>
                  </a:lnTo>
                  <a:lnTo>
                    <a:pt x="4050" y="11106"/>
                  </a:lnTo>
                  <a:lnTo>
                    <a:pt x="3983" y="11085"/>
                  </a:lnTo>
                  <a:lnTo>
                    <a:pt x="3917" y="11064"/>
                  </a:lnTo>
                  <a:lnTo>
                    <a:pt x="3851" y="11042"/>
                  </a:lnTo>
                  <a:lnTo>
                    <a:pt x="3785" y="11020"/>
                  </a:lnTo>
                  <a:lnTo>
                    <a:pt x="3720" y="10996"/>
                  </a:lnTo>
                  <a:lnTo>
                    <a:pt x="3655" y="10972"/>
                  </a:lnTo>
                  <a:lnTo>
                    <a:pt x="3590" y="10947"/>
                  </a:lnTo>
                  <a:lnTo>
                    <a:pt x="3526" y="10921"/>
                  </a:lnTo>
                  <a:lnTo>
                    <a:pt x="3462" y="10895"/>
                  </a:lnTo>
                  <a:lnTo>
                    <a:pt x="3399" y="10867"/>
                  </a:lnTo>
                  <a:lnTo>
                    <a:pt x="3336" y="10839"/>
                  </a:lnTo>
                  <a:lnTo>
                    <a:pt x="3273" y="10811"/>
                  </a:lnTo>
                  <a:lnTo>
                    <a:pt x="3211" y="10781"/>
                  </a:lnTo>
                  <a:lnTo>
                    <a:pt x="3150" y="10751"/>
                  </a:lnTo>
                  <a:lnTo>
                    <a:pt x="3088" y="10720"/>
                  </a:lnTo>
                  <a:lnTo>
                    <a:pt x="3027" y="10688"/>
                  </a:lnTo>
                  <a:lnTo>
                    <a:pt x="2967" y="10656"/>
                  </a:lnTo>
                  <a:lnTo>
                    <a:pt x="2907" y="10623"/>
                  </a:lnTo>
                  <a:lnTo>
                    <a:pt x="2847" y="10589"/>
                  </a:lnTo>
                  <a:lnTo>
                    <a:pt x="2788" y="10555"/>
                  </a:lnTo>
                  <a:lnTo>
                    <a:pt x="2729" y="10519"/>
                  </a:lnTo>
                  <a:lnTo>
                    <a:pt x="2671" y="10484"/>
                  </a:lnTo>
                  <a:lnTo>
                    <a:pt x="2613" y="10447"/>
                  </a:lnTo>
                  <a:lnTo>
                    <a:pt x="2556" y="10410"/>
                  </a:lnTo>
                  <a:lnTo>
                    <a:pt x="2499" y="10372"/>
                  </a:lnTo>
                  <a:lnTo>
                    <a:pt x="2443" y="10333"/>
                  </a:lnTo>
                  <a:lnTo>
                    <a:pt x="2387" y="10294"/>
                  </a:lnTo>
                  <a:lnTo>
                    <a:pt x="2332" y="10254"/>
                  </a:lnTo>
                  <a:lnTo>
                    <a:pt x="2277" y="10214"/>
                  </a:lnTo>
                  <a:lnTo>
                    <a:pt x="2223" y="10173"/>
                  </a:lnTo>
                  <a:lnTo>
                    <a:pt x="2169" y="10131"/>
                  </a:lnTo>
                  <a:lnTo>
                    <a:pt x="2116" y="10089"/>
                  </a:lnTo>
                  <a:lnTo>
                    <a:pt x="2063" y="10046"/>
                  </a:lnTo>
                  <a:lnTo>
                    <a:pt x="2011" y="10002"/>
                  </a:lnTo>
                  <a:lnTo>
                    <a:pt x="1959" y="9958"/>
                  </a:lnTo>
                  <a:lnTo>
                    <a:pt x="1908" y="9913"/>
                  </a:lnTo>
                  <a:lnTo>
                    <a:pt x="1857" y="9867"/>
                  </a:lnTo>
                  <a:lnTo>
                    <a:pt x="1807" y="9821"/>
                  </a:lnTo>
                  <a:lnTo>
                    <a:pt x="1758" y="9775"/>
                  </a:lnTo>
                  <a:lnTo>
                    <a:pt x="1709" y="9727"/>
                  </a:lnTo>
                  <a:lnTo>
                    <a:pt x="1660" y="9680"/>
                  </a:lnTo>
                  <a:lnTo>
                    <a:pt x="1613" y="9631"/>
                  </a:lnTo>
                  <a:lnTo>
                    <a:pt x="1565" y="9582"/>
                  </a:lnTo>
                  <a:lnTo>
                    <a:pt x="1519" y="9533"/>
                  </a:lnTo>
                  <a:lnTo>
                    <a:pt x="1473" y="9483"/>
                  </a:lnTo>
                  <a:lnTo>
                    <a:pt x="1427" y="9432"/>
                  </a:lnTo>
                  <a:lnTo>
                    <a:pt x="1382" y="9381"/>
                  </a:lnTo>
                  <a:lnTo>
                    <a:pt x="1338" y="9329"/>
                  </a:lnTo>
                  <a:lnTo>
                    <a:pt x="1294" y="9277"/>
                  </a:lnTo>
                  <a:lnTo>
                    <a:pt x="1251" y="9224"/>
                  </a:lnTo>
                  <a:lnTo>
                    <a:pt x="1209" y="9171"/>
                  </a:lnTo>
                  <a:lnTo>
                    <a:pt x="1167" y="9117"/>
                  </a:lnTo>
                  <a:lnTo>
                    <a:pt x="1126" y="9063"/>
                  </a:lnTo>
                  <a:lnTo>
                    <a:pt x="1086" y="9008"/>
                  </a:lnTo>
                  <a:lnTo>
                    <a:pt x="1046" y="8953"/>
                  </a:lnTo>
                  <a:lnTo>
                    <a:pt x="1007" y="8897"/>
                  </a:lnTo>
                  <a:lnTo>
                    <a:pt x="968" y="8840"/>
                  </a:lnTo>
                  <a:lnTo>
                    <a:pt x="930" y="8784"/>
                  </a:lnTo>
                  <a:lnTo>
                    <a:pt x="893" y="8726"/>
                  </a:lnTo>
                  <a:lnTo>
                    <a:pt x="856" y="8669"/>
                  </a:lnTo>
                  <a:lnTo>
                    <a:pt x="821" y="8610"/>
                  </a:lnTo>
                  <a:lnTo>
                    <a:pt x="785" y="8552"/>
                  </a:lnTo>
                  <a:lnTo>
                    <a:pt x="751" y="8493"/>
                  </a:lnTo>
                  <a:lnTo>
                    <a:pt x="717" y="8433"/>
                  </a:lnTo>
                  <a:lnTo>
                    <a:pt x="684" y="8373"/>
                  </a:lnTo>
                  <a:lnTo>
                    <a:pt x="652" y="8313"/>
                  </a:lnTo>
                  <a:lnTo>
                    <a:pt x="620" y="8252"/>
                  </a:lnTo>
                  <a:lnTo>
                    <a:pt x="589" y="8190"/>
                  </a:lnTo>
                  <a:lnTo>
                    <a:pt x="559" y="8129"/>
                  </a:lnTo>
                  <a:lnTo>
                    <a:pt x="529" y="8066"/>
                  </a:lnTo>
                  <a:lnTo>
                    <a:pt x="501" y="8004"/>
                  </a:lnTo>
                  <a:lnTo>
                    <a:pt x="473" y="7941"/>
                  </a:lnTo>
                  <a:lnTo>
                    <a:pt x="445" y="7877"/>
                  </a:lnTo>
                  <a:lnTo>
                    <a:pt x="419" y="7814"/>
                  </a:lnTo>
                  <a:lnTo>
                    <a:pt x="393" y="7749"/>
                  </a:lnTo>
                  <a:lnTo>
                    <a:pt x="368" y="7685"/>
                  </a:lnTo>
                  <a:lnTo>
                    <a:pt x="344" y="7620"/>
                  </a:lnTo>
                  <a:lnTo>
                    <a:pt x="320" y="7555"/>
                  </a:lnTo>
                  <a:lnTo>
                    <a:pt x="298" y="7489"/>
                  </a:lnTo>
                  <a:lnTo>
                    <a:pt x="276" y="7423"/>
                  </a:lnTo>
                  <a:lnTo>
                    <a:pt x="255" y="7357"/>
                  </a:lnTo>
                  <a:lnTo>
                    <a:pt x="234" y="7290"/>
                  </a:lnTo>
                  <a:lnTo>
                    <a:pt x="215" y="7223"/>
                  </a:lnTo>
                  <a:lnTo>
                    <a:pt x="196" y="7155"/>
                  </a:lnTo>
                  <a:lnTo>
                    <a:pt x="178" y="7088"/>
                  </a:lnTo>
                  <a:lnTo>
                    <a:pt x="161" y="7019"/>
                  </a:lnTo>
                  <a:lnTo>
                    <a:pt x="145" y="6951"/>
                  </a:lnTo>
                  <a:lnTo>
                    <a:pt x="130" y="6882"/>
                  </a:lnTo>
                  <a:lnTo>
                    <a:pt x="115" y="6813"/>
                  </a:lnTo>
                  <a:lnTo>
                    <a:pt x="101" y="6744"/>
                  </a:lnTo>
                  <a:lnTo>
                    <a:pt x="88" y="6674"/>
                  </a:lnTo>
                  <a:lnTo>
                    <a:pt x="76" y="6604"/>
                  </a:lnTo>
                  <a:lnTo>
                    <a:pt x="65" y="6534"/>
                  </a:lnTo>
                  <a:lnTo>
                    <a:pt x="55" y="6464"/>
                  </a:lnTo>
                  <a:lnTo>
                    <a:pt x="45" y="6393"/>
                  </a:lnTo>
                  <a:lnTo>
                    <a:pt x="37" y="6322"/>
                  </a:lnTo>
                  <a:lnTo>
                    <a:pt x="29" y="6250"/>
                  </a:lnTo>
                  <a:lnTo>
                    <a:pt x="22" y="6179"/>
                  </a:lnTo>
                  <a:lnTo>
                    <a:pt x="16" y="6107"/>
                  </a:lnTo>
                  <a:lnTo>
                    <a:pt x="11" y="6035"/>
                  </a:lnTo>
                  <a:lnTo>
                    <a:pt x="7" y="5962"/>
                  </a:lnTo>
                  <a:lnTo>
                    <a:pt x="4" y="5890"/>
                  </a:lnTo>
                  <a:lnTo>
                    <a:pt x="2" y="5817"/>
                  </a:lnTo>
                  <a:lnTo>
                    <a:pt x="0" y="5744"/>
                  </a:lnTo>
                  <a:lnTo>
                    <a:pt x="0" y="5671"/>
                  </a:lnTo>
                  <a:lnTo>
                    <a:pt x="0" y="5671"/>
                  </a:lnTo>
                  <a:lnTo>
                    <a:pt x="0" y="5596"/>
                  </a:lnTo>
                  <a:lnTo>
                    <a:pt x="2" y="5523"/>
                  </a:lnTo>
                  <a:lnTo>
                    <a:pt x="4" y="5451"/>
                  </a:lnTo>
                  <a:lnTo>
                    <a:pt x="7" y="5378"/>
                  </a:lnTo>
                  <a:lnTo>
                    <a:pt x="11" y="5306"/>
                  </a:lnTo>
                  <a:lnTo>
                    <a:pt x="16" y="5233"/>
                  </a:lnTo>
                  <a:lnTo>
                    <a:pt x="22" y="5162"/>
                  </a:lnTo>
                  <a:lnTo>
                    <a:pt x="29" y="5090"/>
                  </a:lnTo>
                  <a:lnTo>
                    <a:pt x="37" y="5019"/>
                  </a:lnTo>
                  <a:lnTo>
                    <a:pt x="45" y="4948"/>
                  </a:lnTo>
                  <a:lnTo>
                    <a:pt x="55" y="4877"/>
                  </a:lnTo>
                  <a:lnTo>
                    <a:pt x="65" y="4806"/>
                  </a:lnTo>
                  <a:lnTo>
                    <a:pt x="76" y="4736"/>
                  </a:lnTo>
                  <a:lnTo>
                    <a:pt x="88" y="4666"/>
                  </a:lnTo>
                  <a:lnTo>
                    <a:pt x="101" y="4596"/>
                  </a:lnTo>
                  <a:lnTo>
                    <a:pt x="115" y="4527"/>
                  </a:lnTo>
                  <a:lnTo>
                    <a:pt x="130" y="4458"/>
                  </a:lnTo>
                  <a:lnTo>
                    <a:pt x="145" y="4389"/>
                  </a:lnTo>
                  <a:lnTo>
                    <a:pt x="161" y="4321"/>
                  </a:lnTo>
                  <a:lnTo>
                    <a:pt x="178" y="4253"/>
                  </a:lnTo>
                  <a:lnTo>
                    <a:pt x="196" y="4185"/>
                  </a:lnTo>
                  <a:lnTo>
                    <a:pt x="215" y="4118"/>
                  </a:lnTo>
                  <a:lnTo>
                    <a:pt x="234" y="4050"/>
                  </a:lnTo>
                  <a:lnTo>
                    <a:pt x="255" y="3984"/>
                  </a:lnTo>
                  <a:lnTo>
                    <a:pt x="276" y="3917"/>
                  </a:lnTo>
                  <a:lnTo>
                    <a:pt x="298" y="3851"/>
                  </a:lnTo>
                  <a:lnTo>
                    <a:pt x="320" y="3786"/>
                  </a:lnTo>
                  <a:lnTo>
                    <a:pt x="344" y="3720"/>
                  </a:lnTo>
                  <a:lnTo>
                    <a:pt x="368" y="3655"/>
                  </a:lnTo>
                  <a:lnTo>
                    <a:pt x="393" y="3591"/>
                  </a:lnTo>
                  <a:lnTo>
                    <a:pt x="419" y="3527"/>
                  </a:lnTo>
                  <a:lnTo>
                    <a:pt x="445" y="3463"/>
                  </a:lnTo>
                  <a:lnTo>
                    <a:pt x="473" y="3399"/>
                  </a:lnTo>
                  <a:lnTo>
                    <a:pt x="501" y="3336"/>
                  </a:lnTo>
                  <a:lnTo>
                    <a:pt x="529" y="3274"/>
                  </a:lnTo>
                  <a:lnTo>
                    <a:pt x="559" y="3212"/>
                  </a:lnTo>
                  <a:lnTo>
                    <a:pt x="589" y="3150"/>
                  </a:lnTo>
                  <a:lnTo>
                    <a:pt x="620" y="3089"/>
                  </a:lnTo>
                  <a:lnTo>
                    <a:pt x="652" y="3028"/>
                  </a:lnTo>
                  <a:lnTo>
                    <a:pt x="684" y="2967"/>
                  </a:lnTo>
                  <a:lnTo>
                    <a:pt x="717" y="2907"/>
                  </a:lnTo>
                  <a:lnTo>
                    <a:pt x="751" y="2848"/>
                  </a:lnTo>
                  <a:lnTo>
                    <a:pt x="785" y="2788"/>
                  </a:lnTo>
                  <a:lnTo>
                    <a:pt x="821" y="2730"/>
                  </a:lnTo>
                  <a:lnTo>
                    <a:pt x="856" y="2672"/>
                  </a:lnTo>
                  <a:lnTo>
                    <a:pt x="893" y="2614"/>
                  </a:lnTo>
                  <a:lnTo>
                    <a:pt x="930" y="2557"/>
                  </a:lnTo>
                  <a:lnTo>
                    <a:pt x="968" y="2500"/>
                  </a:lnTo>
                  <a:lnTo>
                    <a:pt x="1007" y="2443"/>
                  </a:lnTo>
                  <a:lnTo>
                    <a:pt x="1046" y="2388"/>
                  </a:lnTo>
                  <a:lnTo>
                    <a:pt x="1086" y="2332"/>
                  </a:lnTo>
                  <a:lnTo>
                    <a:pt x="1126" y="2277"/>
                  </a:lnTo>
                  <a:lnTo>
                    <a:pt x="1167" y="2223"/>
                  </a:lnTo>
                  <a:lnTo>
                    <a:pt x="1209" y="2169"/>
                  </a:lnTo>
                  <a:lnTo>
                    <a:pt x="1251" y="2116"/>
                  </a:lnTo>
                  <a:lnTo>
                    <a:pt x="1294" y="2063"/>
                  </a:lnTo>
                  <a:lnTo>
                    <a:pt x="1338" y="2011"/>
                  </a:lnTo>
                  <a:lnTo>
                    <a:pt x="1382" y="1959"/>
                  </a:lnTo>
                  <a:lnTo>
                    <a:pt x="1427" y="1908"/>
                  </a:lnTo>
                  <a:lnTo>
                    <a:pt x="1473" y="1858"/>
                  </a:lnTo>
                  <a:lnTo>
                    <a:pt x="1519" y="1807"/>
                  </a:lnTo>
                  <a:lnTo>
                    <a:pt x="1565" y="1758"/>
                  </a:lnTo>
                  <a:lnTo>
                    <a:pt x="1613" y="1709"/>
                  </a:lnTo>
                  <a:lnTo>
                    <a:pt x="1660" y="1661"/>
                  </a:lnTo>
                  <a:lnTo>
                    <a:pt x="1709" y="1613"/>
                  </a:lnTo>
                  <a:lnTo>
                    <a:pt x="1758" y="1566"/>
                  </a:lnTo>
                  <a:lnTo>
                    <a:pt x="1807" y="1519"/>
                  </a:lnTo>
                  <a:lnTo>
                    <a:pt x="1857" y="1473"/>
                  </a:lnTo>
                  <a:lnTo>
                    <a:pt x="1908" y="1427"/>
                  </a:lnTo>
                  <a:lnTo>
                    <a:pt x="1959" y="1383"/>
                  </a:lnTo>
                  <a:lnTo>
                    <a:pt x="2011" y="1338"/>
                  </a:lnTo>
                  <a:lnTo>
                    <a:pt x="2063" y="1295"/>
                  </a:lnTo>
                  <a:lnTo>
                    <a:pt x="2116" y="1252"/>
                  </a:lnTo>
                  <a:lnTo>
                    <a:pt x="2169" y="1209"/>
                  </a:lnTo>
                  <a:lnTo>
                    <a:pt x="2223" y="1168"/>
                  </a:lnTo>
                  <a:lnTo>
                    <a:pt x="2277" y="1126"/>
                  </a:lnTo>
                  <a:lnTo>
                    <a:pt x="2332" y="1086"/>
                  </a:lnTo>
                  <a:lnTo>
                    <a:pt x="2387" y="1046"/>
                  </a:lnTo>
                  <a:lnTo>
                    <a:pt x="2443" y="1007"/>
                  </a:lnTo>
                  <a:lnTo>
                    <a:pt x="2499" y="968"/>
                  </a:lnTo>
                  <a:lnTo>
                    <a:pt x="2556" y="930"/>
                  </a:lnTo>
                  <a:lnTo>
                    <a:pt x="2613" y="893"/>
                  </a:lnTo>
                  <a:lnTo>
                    <a:pt x="2671" y="857"/>
                  </a:lnTo>
                  <a:lnTo>
                    <a:pt x="2729" y="821"/>
                  </a:lnTo>
                  <a:lnTo>
                    <a:pt x="2788" y="786"/>
                  </a:lnTo>
                  <a:lnTo>
                    <a:pt x="2847" y="751"/>
                  </a:lnTo>
                  <a:lnTo>
                    <a:pt x="2907" y="717"/>
                  </a:lnTo>
                  <a:lnTo>
                    <a:pt x="2967" y="684"/>
                  </a:lnTo>
                  <a:lnTo>
                    <a:pt x="3027" y="652"/>
                  </a:lnTo>
                  <a:lnTo>
                    <a:pt x="3088" y="620"/>
                  </a:lnTo>
                  <a:lnTo>
                    <a:pt x="3150" y="589"/>
                  </a:lnTo>
                  <a:lnTo>
                    <a:pt x="3211" y="559"/>
                  </a:lnTo>
                  <a:lnTo>
                    <a:pt x="3273" y="530"/>
                  </a:lnTo>
                  <a:lnTo>
                    <a:pt x="3336" y="501"/>
                  </a:lnTo>
                  <a:lnTo>
                    <a:pt x="3399" y="473"/>
                  </a:lnTo>
                  <a:lnTo>
                    <a:pt x="3462" y="446"/>
                  </a:lnTo>
                  <a:lnTo>
                    <a:pt x="3526" y="419"/>
                  </a:lnTo>
                  <a:lnTo>
                    <a:pt x="3590" y="393"/>
                  </a:lnTo>
                  <a:lnTo>
                    <a:pt x="3655" y="368"/>
                  </a:lnTo>
                  <a:lnTo>
                    <a:pt x="3720" y="344"/>
                  </a:lnTo>
                  <a:lnTo>
                    <a:pt x="3785" y="321"/>
                  </a:lnTo>
                  <a:lnTo>
                    <a:pt x="3851" y="298"/>
                  </a:lnTo>
                  <a:lnTo>
                    <a:pt x="3917" y="276"/>
                  </a:lnTo>
                  <a:lnTo>
                    <a:pt x="3983" y="255"/>
                  </a:lnTo>
                  <a:lnTo>
                    <a:pt x="4050" y="235"/>
                  </a:lnTo>
                  <a:lnTo>
                    <a:pt x="4117" y="215"/>
                  </a:lnTo>
                  <a:lnTo>
                    <a:pt x="4185" y="197"/>
                  </a:lnTo>
                  <a:lnTo>
                    <a:pt x="4252" y="179"/>
                  </a:lnTo>
                  <a:lnTo>
                    <a:pt x="4320" y="162"/>
                  </a:lnTo>
                  <a:lnTo>
                    <a:pt x="4389" y="145"/>
                  </a:lnTo>
                  <a:lnTo>
                    <a:pt x="4458" y="130"/>
                  </a:lnTo>
                  <a:lnTo>
                    <a:pt x="4527" y="115"/>
                  </a:lnTo>
                  <a:lnTo>
                    <a:pt x="4596" y="102"/>
                  </a:lnTo>
                  <a:lnTo>
                    <a:pt x="4666" y="89"/>
                  </a:lnTo>
                  <a:lnTo>
                    <a:pt x="4736" y="77"/>
                  </a:lnTo>
                  <a:lnTo>
                    <a:pt x="4806" y="65"/>
                  </a:lnTo>
                  <a:lnTo>
                    <a:pt x="4876" y="55"/>
                  </a:lnTo>
                  <a:lnTo>
                    <a:pt x="4947" y="46"/>
                  </a:lnTo>
                  <a:lnTo>
                    <a:pt x="5018" y="37"/>
                  </a:lnTo>
                  <a:lnTo>
                    <a:pt x="5090" y="29"/>
                  </a:lnTo>
                  <a:lnTo>
                    <a:pt x="5161" y="23"/>
                  </a:lnTo>
                  <a:lnTo>
                    <a:pt x="5233" y="17"/>
                  </a:lnTo>
                  <a:lnTo>
                    <a:pt x="5305" y="12"/>
                  </a:lnTo>
                  <a:lnTo>
                    <a:pt x="5378" y="8"/>
                  </a:lnTo>
                  <a:lnTo>
                    <a:pt x="5450" y="4"/>
                  </a:lnTo>
                  <a:lnTo>
                    <a:pt x="5523" y="2"/>
                  </a:lnTo>
                  <a:lnTo>
                    <a:pt x="5596" y="1"/>
                  </a:lnTo>
                  <a:lnTo>
                    <a:pt x="5669" y="0"/>
                  </a:lnTo>
                  <a:lnTo>
                    <a:pt x="5669" y="0"/>
                  </a:lnTo>
                  <a:lnTo>
                    <a:pt x="5744" y="1"/>
                  </a:lnTo>
                  <a:lnTo>
                    <a:pt x="5817" y="2"/>
                  </a:lnTo>
                  <a:lnTo>
                    <a:pt x="5890" y="4"/>
                  </a:lnTo>
                  <a:lnTo>
                    <a:pt x="5962" y="8"/>
                  </a:lnTo>
                  <a:lnTo>
                    <a:pt x="6034" y="12"/>
                  </a:lnTo>
                  <a:lnTo>
                    <a:pt x="6107" y="17"/>
                  </a:lnTo>
                  <a:lnTo>
                    <a:pt x="6178" y="23"/>
                  </a:lnTo>
                  <a:lnTo>
                    <a:pt x="6250" y="29"/>
                  </a:lnTo>
                  <a:lnTo>
                    <a:pt x="6321" y="37"/>
                  </a:lnTo>
                  <a:lnTo>
                    <a:pt x="6392" y="46"/>
                  </a:lnTo>
                  <a:lnTo>
                    <a:pt x="6463" y="55"/>
                  </a:lnTo>
                  <a:lnTo>
                    <a:pt x="6534" y="65"/>
                  </a:lnTo>
                  <a:lnTo>
                    <a:pt x="6604" y="77"/>
                  </a:lnTo>
                  <a:lnTo>
                    <a:pt x="6674" y="89"/>
                  </a:lnTo>
                  <a:lnTo>
                    <a:pt x="6744" y="102"/>
                  </a:lnTo>
                  <a:lnTo>
                    <a:pt x="6813" y="115"/>
                  </a:lnTo>
                  <a:lnTo>
                    <a:pt x="6882" y="130"/>
                  </a:lnTo>
                  <a:lnTo>
                    <a:pt x="6951" y="145"/>
                  </a:lnTo>
                  <a:lnTo>
                    <a:pt x="7019" y="162"/>
                  </a:lnTo>
                  <a:lnTo>
                    <a:pt x="7087" y="179"/>
                  </a:lnTo>
                  <a:lnTo>
                    <a:pt x="7155" y="197"/>
                  </a:lnTo>
                  <a:lnTo>
                    <a:pt x="7222" y="215"/>
                  </a:lnTo>
                  <a:lnTo>
                    <a:pt x="7289" y="235"/>
                  </a:lnTo>
                  <a:lnTo>
                    <a:pt x="7356" y="255"/>
                  </a:lnTo>
                  <a:lnTo>
                    <a:pt x="7423" y="276"/>
                  </a:lnTo>
                  <a:lnTo>
                    <a:pt x="7489" y="298"/>
                  </a:lnTo>
                  <a:lnTo>
                    <a:pt x="7554" y="321"/>
                  </a:lnTo>
                  <a:lnTo>
                    <a:pt x="7620" y="344"/>
                  </a:lnTo>
                  <a:lnTo>
                    <a:pt x="7685" y="368"/>
                  </a:lnTo>
                  <a:lnTo>
                    <a:pt x="7749" y="393"/>
                  </a:lnTo>
                  <a:lnTo>
                    <a:pt x="7813" y="419"/>
                  </a:lnTo>
                  <a:lnTo>
                    <a:pt x="7877" y="446"/>
                  </a:lnTo>
                  <a:lnTo>
                    <a:pt x="7940" y="473"/>
                  </a:lnTo>
                  <a:lnTo>
                    <a:pt x="8003" y="501"/>
                  </a:lnTo>
                  <a:lnTo>
                    <a:pt x="8066" y="530"/>
                  </a:lnTo>
                  <a:lnTo>
                    <a:pt x="8128" y="559"/>
                  </a:lnTo>
                  <a:lnTo>
                    <a:pt x="8190" y="589"/>
                  </a:lnTo>
                  <a:lnTo>
                    <a:pt x="8251" y="620"/>
                  </a:lnTo>
                  <a:lnTo>
                    <a:pt x="8312" y="652"/>
                  </a:lnTo>
                  <a:lnTo>
                    <a:pt x="8373" y="684"/>
                  </a:lnTo>
                  <a:lnTo>
                    <a:pt x="8433" y="717"/>
                  </a:lnTo>
                  <a:lnTo>
                    <a:pt x="8492" y="751"/>
                  </a:lnTo>
                  <a:lnTo>
                    <a:pt x="8551" y="786"/>
                  </a:lnTo>
                  <a:lnTo>
                    <a:pt x="8610" y="821"/>
                  </a:lnTo>
                  <a:lnTo>
                    <a:pt x="8668" y="857"/>
                  </a:lnTo>
                  <a:lnTo>
                    <a:pt x="8726" y="893"/>
                  </a:lnTo>
                  <a:lnTo>
                    <a:pt x="8783" y="930"/>
                  </a:lnTo>
                  <a:lnTo>
                    <a:pt x="8840" y="968"/>
                  </a:lnTo>
                  <a:lnTo>
                    <a:pt x="8896" y="1007"/>
                  </a:lnTo>
                  <a:lnTo>
                    <a:pt x="8952" y="1046"/>
                  </a:lnTo>
                  <a:lnTo>
                    <a:pt x="9008" y="1086"/>
                  </a:lnTo>
                  <a:lnTo>
                    <a:pt x="9062" y="1126"/>
                  </a:lnTo>
                  <a:lnTo>
                    <a:pt x="9117" y="1168"/>
                  </a:lnTo>
                  <a:lnTo>
                    <a:pt x="9170" y="1209"/>
                  </a:lnTo>
                  <a:lnTo>
                    <a:pt x="9224" y="1252"/>
                  </a:lnTo>
                  <a:lnTo>
                    <a:pt x="9277" y="1295"/>
                  </a:lnTo>
                  <a:lnTo>
                    <a:pt x="9329" y="1338"/>
                  </a:lnTo>
                  <a:lnTo>
                    <a:pt x="9380" y="1383"/>
                  </a:lnTo>
                  <a:lnTo>
                    <a:pt x="9432" y="1427"/>
                  </a:lnTo>
                  <a:lnTo>
                    <a:pt x="9482" y="1473"/>
                  </a:lnTo>
                  <a:lnTo>
                    <a:pt x="9532" y="1519"/>
                  </a:lnTo>
                  <a:lnTo>
                    <a:pt x="9582" y="1566"/>
                  </a:lnTo>
                  <a:lnTo>
                    <a:pt x="9631" y="1613"/>
                  </a:lnTo>
                  <a:lnTo>
                    <a:pt x="9679" y="1661"/>
                  </a:lnTo>
                  <a:lnTo>
                    <a:pt x="9727" y="1709"/>
                  </a:lnTo>
                  <a:lnTo>
                    <a:pt x="9774" y="1758"/>
                  </a:lnTo>
                  <a:lnTo>
                    <a:pt x="9821" y="1807"/>
                  </a:lnTo>
                  <a:lnTo>
                    <a:pt x="9867" y="1858"/>
                  </a:lnTo>
                  <a:lnTo>
                    <a:pt x="9912" y="1908"/>
                  </a:lnTo>
                  <a:lnTo>
                    <a:pt x="9957" y="1959"/>
                  </a:lnTo>
                  <a:lnTo>
                    <a:pt x="10001" y="2011"/>
                  </a:lnTo>
                  <a:lnTo>
                    <a:pt x="10045" y="2063"/>
                  </a:lnTo>
                  <a:lnTo>
                    <a:pt x="10088" y="2116"/>
                  </a:lnTo>
                  <a:lnTo>
                    <a:pt x="10130" y="2169"/>
                  </a:lnTo>
                  <a:lnTo>
                    <a:pt x="10172" y="2223"/>
                  </a:lnTo>
                  <a:lnTo>
                    <a:pt x="10213" y="2277"/>
                  </a:lnTo>
                  <a:lnTo>
                    <a:pt x="10254" y="2332"/>
                  </a:lnTo>
                  <a:lnTo>
                    <a:pt x="10294" y="2388"/>
                  </a:lnTo>
                  <a:lnTo>
                    <a:pt x="10333" y="2443"/>
                  </a:lnTo>
                  <a:lnTo>
                    <a:pt x="10371" y="2500"/>
                  </a:lnTo>
                  <a:lnTo>
                    <a:pt x="10409" y="2557"/>
                  </a:lnTo>
                  <a:lnTo>
                    <a:pt x="10446" y="2614"/>
                  </a:lnTo>
                  <a:lnTo>
                    <a:pt x="10483" y="2672"/>
                  </a:lnTo>
                  <a:lnTo>
                    <a:pt x="10519" y="2730"/>
                  </a:lnTo>
                  <a:lnTo>
                    <a:pt x="10554" y="2788"/>
                  </a:lnTo>
                  <a:lnTo>
                    <a:pt x="10588" y="2848"/>
                  </a:lnTo>
                  <a:lnTo>
                    <a:pt x="10622" y="2907"/>
                  </a:lnTo>
                  <a:lnTo>
                    <a:pt x="10655" y="2967"/>
                  </a:lnTo>
                  <a:lnTo>
                    <a:pt x="10688" y="3028"/>
                  </a:lnTo>
                  <a:lnTo>
                    <a:pt x="10719" y="3089"/>
                  </a:lnTo>
                  <a:lnTo>
                    <a:pt x="10750" y="3150"/>
                  </a:lnTo>
                  <a:lnTo>
                    <a:pt x="10780" y="3212"/>
                  </a:lnTo>
                  <a:lnTo>
                    <a:pt x="10810" y="3274"/>
                  </a:lnTo>
                  <a:lnTo>
                    <a:pt x="10839" y="3336"/>
                  </a:lnTo>
                  <a:lnTo>
                    <a:pt x="10867" y="3399"/>
                  </a:lnTo>
                  <a:lnTo>
                    <a:pt x="10894" y="3463"/>
                  </a:lnTo>
                  <a:lnTo>
                    <a:pt x="10921" y="3527"/>
                  </a:lnTo>
                  <a:lnTo>
                    <a:pt x="10946" y="3591"/>
                  </a:lnTo>
                  <a:lnTo>
                    <a:pt x="10971" y="3655"/>
                  </a:lnTo>
                  <a:lnTo>
                    <a:pt x="10996" y="3720"/>
                  </a:lnTo>
                  <a:lnTo>
                    <a:pt x="11019" y="3786"/>
                  </a:lnTo>
                  <a:lnTo>
                    <a:pt x="11042" y="3851"/>
                  </a:lnTo>
                  <a:lnTo>
                    <a:pt x="11064" y="3917"/>
                  </a:lnTo>
                  <a:lnTo>
                    <a:pt x="11085" y="3984"/>
                  </a:lnTo>
                  <a:lnTo>
                    <a:pt x="11105" y="4050"/>
                  </a:lnTo>
                  <a:lnTo>
                    <a:pt x="11124" y="4118"/>
                  </a:lnTo>
                  <a:lnTo>
                    <a:pt x="11143" y="4185"/>
                  </a:lnTo>
                  <a:lnTo>
                    <a:pt x="11161" y="4253"/>
                  </a:lnTo>
                  <a:lnTo>
                    <a:pt x="11178" y="4321"/>
                  </a:lnTo>
                  <a:lnTo>
                    <a:pt x="11194" y="4389"/>
                  </a:lnTo>
                  <a:lnTo>
                    <a:pt x="11210" y="4458"/>
                  </a:lnTo>
                  <a:lnTo>
                    <a:pt x="11224" y="4527"/>
                  </a:lnTo>
                  <a:lnTo>
                    <a:pt x="11238" y="4596"/>
                  </a:lnTo>
                  <a:lnTo>
                    <a:pt x="11251" y="4666"/>
                  </a:lnTo>
                  <a:lnTo>
                    <a:pt x="11263" y="4736"/>
                  </a:lnTo>
                  <a:lnTo>
                    <a:pt x="11274" y="4806"/>
                  </a:lnTo>
                  <a:lnTo>
                    <a:pt x="11285" y="4877"/>
                  </a:lnTo>
                  <a:lnTo>
                    <a:pt x="11294" y="4948"/>
                  </a:lnTo>
                  <a:lnTo>
                    <a:pt x="11303" y="5019"/>
                  </a:lnTo>
                  <a:lnTo>
                    <a:pt x="11310" y="5090"/>
                  </a:lnTo>
                  <a:lnTo>
                    <a:pt x="11317" y="5162"/>
                  </a:lnTo>
                  <a:lnTo>
                    <a:pt x="11323" y="5233"/>
                  </a:lnTo>
                  <a:lnTo>
                    <a:pt x="11328" y="5306"/>
                  </a:lnTo>
                  <a:lnTo>
                    <a:pt x="11332" y="5378"/>
                  </a:lnTo>
                  <a:lnTo>
                    <a:pt x="11335" y="5451"/>
                  </a:lnTo>
                  <a:lnTo>
                    <a:pt x="11338" y="5523"/>
                  </a:lnTo>
                  <a:lnTo>
                    <a:pt x="11339" y="5596"/>
                  </a:lnTo>
                  <a:lnTo>
                    <a:pt x="11340" y="5671"/>
                  </a:lnTo>
                  <a:close/>
                </a:path>
              </a:pathLst>
            </a:custGeom>
            <a:solidFill>
              <a:srgbClr val="EC66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207" name="Freeform 7">
              <a:extLst>
                <a:ext uri="{FF2B5EF4-FFF2-40B4-BE49-F238E27FC236}">
                  <a16:creationId xmlns:a16="http://schemas.microsoft.com/office/drawing/2014/main" id="{4F39F80A-85AE-4E9E-9E03-1BBC84B0460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8" y="1252"/>
              <a:ext cx="2268" cy="2268"/>
            </a:xfrm>
            <a:custGeom>
              <a:avLst/>
              <a:gdLst/>
              <a:ahLst/>
              <a:cxnLst>
                <a:cxn ang="0">
                  <a:pos x="11317" y="6179"/>
                </a:cxn>
                <a:cxn ang="0">
                  <a:pos x="11224" y="6813"/>
                </a:cxn>
                <a:cxn ang="0">
                  <a:pos x="11064" y="7423"/>
                </a:cxn>
                <a:cxn ang="0">
                  <a:pos x="10839" y="8004"/>
                </a:cxn>
                <a:cxn ang="0">
                  <a:pos x="10554" y="8552"/>
                </a:cxn>
                <a:cxn ang="0">
                  <a:pos x="10213" y="9063"/>
                </a:cxn>
                <a:cxn ang="0">
                  <a:pos x="9821" y="9533"/>
                </a:cxn>
                <a:cxn ang="0">
                  <a:pos x="9380" y="9958"/>
                </a:cxn>
                <a:cxn ang="0">
                  <a:pos x="8896" y="10333"/>
                </a:cxn>
                <a:cxn ang="0">
                  <a:pos x="8373" y="10656"/>
                </a:cxn>
                <a:cxn ang="0">
                  <a:pos x="7813" y="10921"/>
                </a:cxn>
                <a:cxn ang="0">
                  <a:pos x="7222" y="11125"/>
                </a:cxn>
                <a:cxn ang="0">
                  <a:pos x="6604" y="11264"/>
                </a:cxn>
                <a:cxn ang="0">
                  <a:pos x="5962" y="11333"/>
                </a:cxn>
                <a:cxn ang="0">
                  <a:pos x="5378" y="11333"/>
                </a:cxn>
                <a:cxn ang="0">
                  <a:pos x="4736" y="11264"/>
                </a:cxn>
                <a:cxn ang="0">
                  <a:pos x="4117" y="11125"/>
                </a:cxn>
                <a:cxn ang="0">
                  <a:pos x="3526" y="10921"/>
                </a:cxn>
                <a:cxn ang="0">
                  <a:pos x="2967" y="10656"/>
                </a:cxn>
                <a:cxn ang="0">
                  <a:pos x="2443" y="10333"/>
                </a:cxn>
                <a:cxn ang="0">
                  <a:pos x="1959" y="9958"/>
                </a:cxn>
                <a:cxn ang="0">
                  <a:pos x="1519" y="9533"/>
                </a:cxn>
                <a:cxn ang="0">
                  <a:pos x="1126" y="9063"/>
                </a:cxn>
                <a:cxn ang="0">
                  <a:pos x="785" y="8552"/>
                </a:cxn>
                <a:cxn ang="0">
                  <a:pos x="501" y="8004"/>
                </a:cxn>
                <a:cxn ang="0">
                  <a:pos x="276" y="7423"/>
                </a:cxn>
                <a:cxn ang="0">
                  <a:pos x="115" y="6813"/>
                </a:cxn>
                <a:cxn ang="0">
                  <a:pos x="22" y="6179"/>
                </a:cxn>
                <a:cxn ang="0">
                  <a:pos x="0" y="5596"/>
                </a:cxn>
                <a:cxn ang="0">
                  <a:pos x="45" y="4948"/>
                </a:cxn>
                <a:cxn ang="0">
                  <a:pos x="161" y="4321"/>
                </a:cxn>
                <a:cxn ang="0">
                  <a:pos x="344" y="3720"/>
                </a:cxn>
                <a:cxn ang="0">
                  <a:pos x="589" y="3150"/>
                </a:cxn>
                <a:cxn ang="0">
                  <a:pos x="893" y="2614"/>
                </a:cxn>
                <a:cxn ang="0">
                  <a:pos x="1251" y="2116"/>
                </a:cxn>
                <a:cxn ang="0">
                  <a:pos x="1660" y="1661"/>
                </a:cxn>
                <a:cxn ang="0">
                  <a:pos x="2116" y="1252"/>
                </a:cxn>
                <a:cxn ang="0">
                  <a:pos x="2613" y="893"/>
                </a:cxn>
                <a:cxn ang="0">
                  <a:pos x="3150" y="589"/>
                </a:cxn>
                <a:cxn ang="0">
                  <a:pos x="3720" y="344"/>
                </a:cxn>
                <a:cxn ang="0">
                  <a:pos x="4320" y="162"/>
                </a:cxn>
                <a:cxn ang="0">
                  <a:pos x="4947" y="46"/>
                </a:cxn>
                <a:cxn ang="0">
                  <a:pos x="5596" y="1"/>
                </a:cxn>
                <a:cxn ang="0">
                  <a:pos x="6178" y="23"/>
                </a:cxn>
                <a:cxn ang="0">
                  <a:pos x="6813" y="115"/>
                </a:cxn>
                <a:cxn ang="0">
                  <a:pos x="7423" y="276"/>
                </a:cxn>
                <a:cxn ang="0">
                  <a:pos x="8003" y="501"/>
                </a:cxn>
                <a:cxn ang="0">
                  <a:pos x="8551" y="786"/>
                </a:cxn>
                <a:cxn ang="0">
                  <a:pos x="9062" y="1126"/>
                </a:cxn>
                <a:cxn ang="0">
                  <a:pos x="9532" y="1519"/>
                </a:cxn>
                <a:cxn ang="0">
                  <a:pos x="9957" y="1959"/>
                </a:cxn>
                <a:cxn ang="0">
                  <a:pos x="10333" y="2443"/>
                </a:cxn>
                <a:cxn ang="0">
                  <a:pos x="10655" y="2967"/>
                </a:cxn>
                <a:cxn ang="0">
                  <a:pos x="10921" y="3527"/>
                </a:cxn>
                <a:cxn ang="0">
                  <a:pos x="11124" y="4118"/>
                </a:cxn>
                <a:cxn ang="0">
                  <a:pos x="11263" y="4736"/>
                </a:cxn>
                <a:cxn ang="0">
                  <a:pos x="11332" y="5378"/>
                </a:cxn>
              </a:cxnLst>
              <a:rect l="0" t="0" r="r" b="b"/>
              <a:pathLst>
                <a:path w="11340" h="11340">
                  <a:moveTo>
                    <a:pt x="11340" y="5671"/>
                  </a:moveTo>
                  <a:lnTo>
                    <a:pt x="11340" y="5671"/>
                  </a:lnTo>
                  <a:lnTo>
                    <a:pt x="11339" y="5744"/>
                  </a:lnTo>
                  <a:lnTo>
                    <a:pt x="11338" y="5817"/>
                  </a:lnTo>
                  <a:lnTo>
                    <a:pt x="11335" y="5890"/>
                  </a:lnTo>
                  <a:lnTo>
                    <a:pt x="11332" y="5962"/>
                  </a:lnTo>
                  <a:lnTo>
                    <a:pt x="11328" y="6035"/>
                  </a:lnTo>
                  <a:lnTo>
                    <a:pt x="11323" y="6107"/>
                  </a:lnTo>
                  <a:lnTo>
                    <a:pt x="11317" y="6179"/>
                  </a:lnTo>
                  <a:lnTo>
                    <a:pt x="11310" y="6250"/>
                  </a:lnTo>
                  <a:lnTo>
                    <a:pt x="11303" y="6322"/>
                  </a:lnTo>
                  <a:lnTo>
                    <a:pt x="11294" y="6393"/>
                  </a:lnTo>
                  <a:lnTo>
                    <a:pt x="11285" y="6464"/>
                  </a:lnTo>
                  <a:lnTo>
                    <a:pt x="11274" y="6534"/>
                  </a:lnTo>
                  <a:lnTo>
                    <a:pt x="11263" y="6604"/>
                  </a:lnTo>
                  <a:lnTo>
                    <a:pt x="11251" y="6674"/>
                  </a:lnTo>
                  <a:lnTo>
                    <a:pt x="11238" y="6744"/>
                  </a:lnTo>
                  <a:lnTo>
                    <a:pt x="11224" y="6813"/>
                  </a:lnTo>
                  <a:lnTo>
                    <a:pt x="11210" y="6882"/>
                  </a:lnTo>
                  <a:lnTo>
                    <a:pt x="11194" y="6951"/>
                  </a:lnTo>
                  <a:lnTo>
                    <a:pt x="11178" y="7019"/>
                  </a:lnTo>
                  <a:lnTo>
                    <a:pt x="11161" y="7088"/>
                  </a:lnTo>
                  <a:lnTo>
                    <a:pt x="11143" y="7155"/>
                  </a:lnTo>
                  <a:lnTo>
                    <a:pt x="11124" y="7223"/>
                  </a:lnTo>
                  <a:lnTo>
                    <a:pt x="11105" y="7290"/>
                  </a:lnTo>
                  <a:lnTo>
                    <a:pt x="11085" y="7357"/>
                  </a:lnTo>
                  <a:lnTo>
                    <a:pt x="11064" y="7423"/>
                  </a:lnTo>
                  <a:lnTo>
                    <a:pt x="11042" y="7489"/>
                  </a:lnTo>
                  <a:lnTo>
                    <a:pt x="11019" y="7555"/>
                  </a:lnTo>
                  <a:lnTo>
                    <a:pt x="10996" y="7620"/>
                  </a:lnTo>
                  <a:lnTo>
                    <a:pt x="10971" y="7685"/>
                  </a:lnTo>
                  <a:lnTo>
                    <a:pt x="10946" y="7749"/>
                  </a:lnTo>
                  <a:lnTo>
                    <a:pt x="10921" y="7814"/>
                  </a:lnTo>
                  <a:lnTo>
                    <a:pt x="10894" y="7877"/>
                  </a:lnTo>
                  <a:lnTo>
                    <a:pt x="10867" y="7941"/>
                  </a:lnTo>
                  <a:lnTo>
                    <a:pt x="10839" y="8004"/>
                  </a:lnTo>
                  <a:lnTo>
                    <a:pt x="10810" y="8066"/>
                  </a:lnTo>
                  <a:lnTo>
                    <a:pt x="10780" y="8129"/>
                  </a:lnTo>
                  <a:lnTo>
                    <a:pt x="10750" y="8190"/>
                  </a:lnTo>
                  <a:lnTo>
                    <a:pt x="10719" y="8252"/>
                  </a:lnTo>
                  <a:lnTo>
                    <a:pt x="10688" y="8313"/>
                  </a:lnTo>
                  <a:lnTo>
                    <a:pt x="10655" y="8373"/>
                  </a:lnTo>
                  <a:lnTo>
                    <a:pt x="10622" y="8433"/>
                  </a:lnTo>
                  <a:lnTo>
                    <a:pt x="10588" y="8493"/>
                  </a:lnTo>
                  <a:lnTo>
                    <a:pt x="10554" y="8552"/>
                  </a:lnTo>
                  <a:lnTo>
                    <a:pt x="10519" y="8610"/>
                  </a:lnTo>
                  <a:lnTo>
                    <a:pt x="10483" y="8669"/>
                  </a:lnTo>
                  <a:lnTo>
                    <a:pt x="10446" y="8726"/>
                  </a:lnTo>
                  <a:lnTo>
                    <a:pt x="10409" y="8784"/>
                  </a:lnTo>
                  <a:lnTo>
                    <a:pt x="10371" y="8840"/>
                  </a:lnTo>
                  <a:lnTo>
                    <a:pt x="10333" y="8897"/>
                  </a:lnTo>
                  <a:lnTo>
                    <a:pt x="10294" y="8953"/>
                  </a:lnTo>
                  <a:lnTo>
                    <a:pt x="10254" y="9008"/>
                  </a:lnTo>
                  <a:lnTo>
                    <a:pt x="10213" y="9063"/>
                  </a:lnTo>
                  <a:lnTo>
                    <a:pt x="10172" y="9117"/>
                  </a:lnTo>
                  <a:lnTo>
                    <a:pt x="10130" y="9171"/>
                  </a:lnTo>
                  <a:lnTo>
                    <a:pt x="10088" y="9224"/>
                  </a:lnTo>
                  <a:lnTo>
                    <a:pt x="10045" y="9277"/>
                  </a:lnTo>
                  <a:lnTo>
                    <a:pt x="10001" y="9329"/>
                  </a:lnTo>
                  <a:lnTo>
                    <a:pt x="9957" y="9381"/>
                  </a:lnTo>
                  <a:lnTo>
                    <a:pt x="9912" y="9432"/>
                  </a:lnTo>
                  <a:lnTo>
                    <a:pt x="9867" y="9483"/>
                  </a:lnTo>
                  <a:lnTo>
                    <a:pt x="9821" y="9533"/>
                  </a:lnTo>
                  <a:lnTo>
                    <a:pt x="9774" y="9582"/>
                  </a:lnTo>
                  <a:lnTo>
                    <a:pt x="9727" y="9631"/>
                  </a:lnTo>
                  <a:lnTo>
                    <a:pt x="9679" y="9680"/>
                  </a:lnTo>
                  <a:lnTo>
                    <a:pt x="9631" y="9727"/>
                  </a:lnTo>
                  <a:lnTo>
                    <a:pt x="9582" y="9775"/>
                  </a:lnTo>
                  <a:lnTo>
                    <a:pt x="9532" y="9821"/>
                  </a:lnTo>
                  <a:lnTo>
                    <a:pt x="9482" y="9867"/>
                  </a:lnTo>
                  <a:lnTo>
                    <a:pt x="9432" y="9913"/>
                  </a:lnTo>
                  <a:lnTo>
                    <a:pt x="9380" y="9958"/>
                  </a:lnTo>
                  <a:lnTo>
                    <a:pt x="9329" y="10002"/>
                  </a:lnTo>
                  <a:lnTo>
                    <a:pt x="9277" y="10046"/>
                  </a:lnTo>
                  <a:lnTo>
                    <a:pt x="9224" y="10089"/>
                  </a:lnTo>
                  <a:lnTo>
                    <a:pt x="9170" y="10131"/>
                  </a:lnTo>
                  <a:lnTo>
                    <a:pt x="9117" y="10173"/>
                  </a:lnTo>
                  <a:lnTo>
                    <a:pt x="9062" y="10214"/>
                  </a:lnTo>
                  <a:lnTo>
                    <a:pt x="9008" y="10254"/>
                  </a:lnTo>
                  <a:lnTo>
                    <a:pt x="8952" y="10294"/>
                  </a:lnTo>
                  <a:lnTo>
                    <a:pt x="8896" y="10333"/>
                  </a:lnTo>
                  <a:lnTo>
                    <a:pt x="8840" y="10372"/>
                  </a:lnTo>
                  <a:lnTo>
                    <a:pt x="8783" y="10410"/>
                  </a:lnTo>
                  <a:lnTo>
                    <a:pt x="8726" y="10447"/>
                  </a:lnTo>
                  <a:lnTo>
                    <a:pt x="8668" y="10484"/>
                  </a:lnTo>
                  <a:lnTo>
                    <a:pt x="8610" y="10519"/>
                  </a:lnTo>
                  <a:lnTo>
                    <a:pt x="8551" y="10555"/>
                  </a:lnTo>
                  <a:lnTo>
                    <a:pt x="8492" y="10589"/>
                  </a:lnTo>
                  <a:lnTo>
                    <a:pt x="8433" y="10623"/>
                  </a:lnTo>
                  <a:lnTo>
                    <a:pt x="8373" y="10656"/>
                  </a:lnTo>
                  <a:lnTo>
                    <a:pt x="8312" y="10688"/>
                  </a:lnTo>
                  <a:lnTo>
                    <a:pt x="8251" y="10720"/>
                  </a:lnTo>
                  <a:lnTo>
                    <a:pt x="8190" y="10751"/>
                  </a:lnTo>
                  <a:lnTo>
                    <a:pt x="8128" y="10781"/>
                  </a:lnTo>
                  <a:lnTo>
                    <a:pt x="8066" y="10811"/>
                  </a:lnTo>
                  <a:lnTo>
                    <a:pt x="8003" y="10839"/>
                  </a:lnTo>
                  <a:lnTo>
                    <a:pt x="7940" y="10867"/>
                  </a:lnTo>
                  <a:lnTo>
                    <a:pt x="7877" y="10895"/>
                  </a:lnTo>
                  <a:lnTo>
                    <a:pt x="7813" y="10921"/>
                  </a:lnTo>
                  <a:lnTo>
                    <a:pt x="7749" y="10947"/>
                  </a:lnTo>
                  <a:lnTo>
                    <a:pt x="7685" y="10972"/>
                  </a:lnTo>
                  <a:lnTo>
                    <a:pt x="7620" y="10996"/>
                  </a:lnTo>
                  <a:lnTo>
                    <a:pt x="7554" y="11020"/>
                  </a:lnTo>
                  <a:lnTo>
                    <a:pt x="7489" y="11042"/>
                  </a:lnTo>
                  <a:lnTo>
                    <a:pt x="7423" y="11064"/>
                  </a:lnTo>
                  <a:lnTo>
                    <a:pt x="7356" y="11085"/>
                  </a:lnTo>
                  <a:lnTo>
                    <a:pt x="7289" y="11106"/>
                  </a:lnTo>
                  <a:lnTo>
                    <a:pt x="7222" y="11125"/>
                  </a:lnTo>
                  <a:lnTo>
                    <a:pt x="7155" y="11144"/>
                  </a:lnTo>
                  <a:lnTo>
                    <a:pt x="7087" y="11162"/>
                  </a:lnTo>
                  <a:lnTo>
                    <a:pt x="7019" y="11179"/>
                  </a:lnTo>
                  <a:lnTo>
                    <a:pt x="6951" y="11195"/>
                  </a:lnTo>
                  <a:lnTo>
                    <a:pt x="6882" y="11210"/>
                  </a:lnTo>
                  <a:lnTo>
                    <a:pt x="6813" y="11225"/>
                  </a:lnTo>
                  <a:lnTo>
                    <a:pt x="6744" y="11239"/>
                  </a:lnTo>
                  <a:lnTo>
                    <a:pt x="6674" y="11252"/>
                  </a:lnTo>
                  <a:lnTo>
                    <a:pt x="6604" y="11264"/>
                  </a:lnTo>
                  <a:lnTo>
                    <a:pt x="6534" y="11275"/>
                  </a:lnTo>
                  <a:lnTo>
                    <a:pt x="6463" y="11285"/>
                  </a:lnTo>
                  <a:lnTo>
                    <a:pt x="6392" y="11295"/>
                  </a:lnTo>
                  <a:lnTo>
                    <a:pt x="6321" y="11303"/>
                  </a:lnTo>
                  <a:lnTo>
                    <a:pt x="6250" y="11311"/>
                  </a:lnTo>
                  <a:lnTo>
                    <a:pt x="6178" y="11318"/>
                  </a:lnTo>
                  <a:lnTo>
                    <a:pt x="6107" y="11324"/>
                  </a:lnTo>
                  <a:lnTo>
                    <a:pt x="6034" y="11329"/>
                  </a:lnTo>
                  <a:lnTo>
                    <a:pt x="5962" y="11333"/>
                  </a:lnTo>
                  <a:lnTo>
                    <a:pt x="5890" y="11336"/>
                  </a:lnTo>
                  <a:lnTo>
                    <a:pt x="5817" y="11338"/>
                  </a:lnTo>
                  <a:lnTo>
                    <a:pt x="5744" y="11340"/>
                  </a:lnTo>
                  <a:lnTo>
                    <a:pt x="5669" y="11340"/>
                  </a:lnTo>
                  <a:lnTo>
                    <a:pt x="5669" y="11340"/>
                  </a:lnTo>
                  <a:lnTo>
                    <a:pt x="5596" y="11340"/>
                  </a:lnTo>
                  <a:lnTo>
                    <a:pt x="5523" y="11338"/>
                  </a:lnTo>
                  <a:lnTo>
                    <a:pt x="5450" y="11336"/>
                  </a:lnTo>
                  <a:lnTo>
                    <a:pt x="5378" y="11333"/>
                  </a:lnTo>
                  <a:lnTo>
                    <a:pt x="5305" y="11329"/>
                  </a:lnTo>
                  <a:lnTo>
                    <a:pt x="5233" y="11324"/>
                  </a:lnTo>
                  <a:lnTo>
                    <a:pt x="5161" y="11318"/>
                  </a:lnTo>
                  <a:lnTo>
                    <a:pt x="5090" y="11311"/>
                  </a:lnTo>
                  <a:lnTo>
                    <a:pt x="5018" y="11303"/>
                  </a:lnTo>
                  <a:lnTo>
                    <a:pt x="4947" y="11295"/>
                  </a:lnTo>
                  <a:lnTo>
                    <a:pt x="4876" y="11285"/>
                  </a:lnTo>
                  <a:lnTo>
                    <a:pt x="4806" y="11275"/>
                  </a:lnTo>
                  <a:lnTo>
                    <a:pt x="4736" y="11264"/>
                  </a:lnTo>
                  <a:lnTo>
                    <a:pt x="4666" y="11252"/>
                  </a:lnTo>
                  <a:lnTo>
                    <a:pt x="4596" y="11239"/>
                  </a:lnTo>
                  <a:lnTo>
                    <a:pt x="4527" y="11225"/>
                  </a:lnTo>
                  <a:lnTo>
                    <a:pt x="4458" y="11210"/>
                  </a:lnTo>
                  <a:lnTo>
                    <a:pt x="4389" y="11195"/>
                  </a:lnTo>
                  <a:lnTo>
                    <a:pt x="4320" y="11179"/>
                  </a:lnTo>
                  <a:lnTo>
                    <a:pt x="4252" y="11162"/>
                  </a:lnTo>
                  <a:lnTo>
                    <a:pt x="4185" y="11144"/>
                  </a:lnTo>
                  <a:lnTo>
                    <a:pt x="4117" y="11125"/>
                  </a:lnTo>
                  <a:lnTo>
                    <a:pt x="4050" y="11106"/>
                  </a:lnTo>
                  <a:lnTo>
                    <a:pt x="3983" y="11085"/>
                  </a:lnTo>
                  <a:lnTo>
                    <a:pt x="3917" y="11064"/>
                  </a:lnTo>
                  <a:lnTo>
                    <a:pt x="3851" y="11042"/>
                  </a:lnTo>
                  <a:lnTo>
                    <a:pt x="3785" y="11020"/>
                  </a:lnTo>
                  <a:lnTo>
                    <a:pt x="3720" y="10996"/>
                  </a:lnTo>
                  <a:lnTo>
                    <a:pt x="3655" y="10972"/>
                  </a:lnTo>
                  <a:lnTo>
                    <a:pt x="3590" y="10947"/>
                  </a:lnTo>
                  <a:lnTo>
                    <a:pt x="3526" y="10921"/>
                  </a:lnTo>
                  <a:lnTo>
                    <a:pt x="3462" y="10895"/>
                  </a:lnTo>
                  <a:lnTo>
                    <a:pt x="3399" y="10867"/>
                  </a:lnTo>
                  <a:lnTo>
                    <a:pt x="3336" y="10839"/>
                  </a:lnTo>
                  <a:lnTo>
                    <a:pt x="3273" y="10811"/>
                  </a:lnTo>
                  <a:lnTo>
                    <a:pt x="3211" y="10781"/>
                  </a:lnTo>
                  <a:lnTo>
                    <a:pt x="3150" y="10751"/>
                  </a:lnTo>
                  <a:lnTo>
                    <a:pt x="3088" y="10720"/>
                  </a:lnTo>
                  <a:lnTo>
                    <a:pt x="3027" y="10688"/>
                  </a:lnTo>
                  <a:lnTo>
                    <a:pt x="2967" y="10656"/>
                  </a:lnTo>
                  <a:lnTo>
                    <a:pt x="2907" y="10623"/>
                  </a:lnTo>
                  <a:lnTo>
                    <a:pt x="2847" y="10589"/>
                  </a:lnTo>
                  <a:lnTo>
                    <a:pt x="2788" y="10555"/>
                  </a:lnTo>
                  <a:lnTo>
                    <a:pt x="2729" y="10519"/>
                  </a:lnTo>
                  <a:lnTo>
                    <a:pt x="2671" y="10484"/>
                  </a:lnTo>
                  <a:lnTo>
                    <a:pt x="2613" y="10447"/>
                  </a:lnTo>
                  <a:lnTo>
                    <a:pt x="2556" y="10410"/>
                  </a:lnTo>
                  <a:lnTo>
                    <a:pt x="2499" y="10372"/>
                  </a:lnTo>
                  <a:lnTo>
                    <a:pt x="2443" y="10333"/>
                  </a:lnTo>
                  <a:lnTo>
                    <a:pt x="2387" y="10294"/>
                  </a:lnTo>
                  <a:lnTo>
                    <a:pt x="2332" y="10254"/>
                  </a:lnTo>
                  <a:lnTo>
                    <a:pt x="2277" y="10214"/>
                  </a:lnTo>
                  <a:lnTo>
                    <a:pt x="2223" y="10173"/>
                  </a:lnTo>
                  <a:lnTo>
                    <a:pt x="2169" y="10131"/>
                  </a:lnTo>
                  <a:lnTo>
                    <a:pt x="2116" y="10089"/>
                  </a:lnTo>
                  <a:lnTo>
                    <a:pt x="2063" y="10046"/>
                  </a:lnTo>
                  <a:lnTo>
                    <a:pt x="2011" y="10002"/>
                  </a:lnTo>
                  <a:lnTo>
                    <a:pt x="1959" y="9958"/>
                  </a:lnTo>
                  <a:lnTo>
                    <a:pt x="1908" y="9913"/>
                  </a:lnTo>
                  <a:lnTo>
                    <a:pt x="1857" y="9867"/>
                  </a:lnTo>
                  <a:lnTo>
                    <a:pt x="1807" y="9821"/>
                  </a:lnTo>
                  <a:lnTo>
                    <a:pt x="1758" y="9775"/>
                  </a:lnTo>
                  <a:lnTo>
                    <a:pt x="1709" y="9727"/>
                  </a:lnTo>
                  <a:lnTo>
                    <a:pt x="1660" y="9680"/>
                  </a:lnTo>
                  <a:lnTo>
                    <a:pt x="1613" y="9631"/>
                  </a:lnTo>
                  <a:lnTo>
                    <a:pt x="1565" y="9582"/>
                  </a:lnTo>
                  <a:lnTo>
                    <a:pt x="1519" y="9533"/>
                  </a:lnTo>
                  <a:lnTo>
                    <a:pt x="1473" y="9483"/>
                  </a:lnTo>
                  <a:lnTo>
                    <a:pt x="1427" y="9432"/>
                  </a:lnTo>
                  <a:lnTo>
                    <a:pt x="1382" y="9381"/>
                  </a:lnTo>
                  <a:lnTo>
                    <a:pt x="1338" y="9329"/>
                  </a:lnTo>
                  <a:lnTo>
                    <a:pt x="1294" y="9277"/>
                  </a:lnTo>
                  <a:lnTo>
                    <a:pt x="1251" y="9224"/>
                  </a:lnTo>
                  <a:lnTo>
                    <a:pt x="1209" y="9171"/>
                  </a:lnTo>
                  <a:lnTo>
                    <a:pt x="1167" y="9117"/>
                  </a:lnTo>
                  <a:lnTo>
                    <a:pt x="1126" y="9063"/>
                  </a:lnTo>
                  <a:lnTo>
                    <a:pt x="1086" y="9008"/>
                  </a:lnTo>
                  <a:lnTo>
                    <a:pt x="1046" y="8953"/>
                  </a:lnTo>
                  <a:lnTo>
                    <a:pt x="1007" y="8897"/>
                  </a:lnTo>
                  <a:lnTo>
                    <a:pt x="968" y="8840"/>
                  </a:lnTo>
                  <a:lnTo>
                    <a:pt x="930" y="8784"/>
                  </a:lnTo>
                  <a:lnTo>
                    <a:pt x="893" y="8726"/>
                  </a:lnTo>
                  <a:lnTo>
                    <a:pt x="856" y="8669"/>
                  </a:lnTo>
                  <a:lnTo>
                    <a:pt x="821" y="8610"/>
                  </a:lnTo>
                  <a:lnTo>
                    <a:pt x="785" y="8552"/>
                  </a:lnTo>
                  <a:lnTo>
                    <a:pt x="751" y="8493"/>
                  </a:lnTo>
                  <a:lnTo>
                    <a:pt x="717" y="8433"/>
                  </a:lnTo>
                  <a:lnTo>
                    <a:pt x="684" y="8373"/>
                  </a:lnTo>
                  <a:lnTo>
                    <a:pt x="652" y="8313"/>
                  </a:lnTo>
                  <a:lnTo>
                    <a:pt x="620" y="8252"/>
                  </a:lnTo>
                  <a:lnTo>
                    <a:pt x="589" y="8190"/>
                  </a:lnTo>
                  <a:lnTo>
                    <a:pt x="559" y="8129"/>
                  </a:lnTo>
                  <a:lnTo>
                    <a:pt x="529" y="8066"/>
                  </a:lnTo>
                  <a:lnTo>
                    <a:pt x="501" y="8004"/>
                  </a:lnTo>
                  <a:lnTo>
                    <a:pt x="473" y="7941"/>
                  </a:lnTo>
                  <a:lnTo>
                    <a:pt x="445" y="7877"/>
                  </a:lnTo>
                  <a:lnTo>
                    <a:pt x="419" y="7814"/>
                  </a:lnTo>
                  <a:lnTo>
                    <a:pt x="393" y="7749"/>
                  </a:lnTo>
                  <a:lnTo>
                    <a:pt x="368" y="7685"/>
                  </a:lnTo>
                  <a:lnTo>
                    <a:pt x="344" y="7620"/>
                  </a:lnTo>
                  <a:lnTo>
                    <a:pt x="320" y="7555"/>
                  </a:lnTo>
                  <a:lnTo>
                    <a:pt x="298" y="7489"/>
                  </a:lnTo>
                  <a:lnTo>
                    <a:pt x="276" y="7423"/>
                  </a:lnTo>
                  <a:lnTo>
                    <a:pt x="255" y="7357"/>
                  </a:lnTo>
                  <a:lnTo>
                    <a:pt x="234" y="7290"/>
                  </a:lnTo>
                  <a:lnTo>
                    <a:pt x="215" y="7223"/>
                  </a:lnTo>
                  <a:lnTo>
                    <a:pt x="196" y="7155"/>
                  </a:lnTo>
                  <a:lnTo>
                    <a:pt x="178" y="7088"/>
                  </a:lnTo>
                  <a:lnTo>
                    <a:pt x="161" y="7019"/>
                  </a:lnTo>
                  <a:lnTo>
                    <a:pt x="145" y="6951"/>
                  </a:lnTo>
                  <a:lnTo>
                    <a:pt x="130" y="6882"/>
                  </a:lnTo>
                  <a:lnTo>
                    <a:pt x="115" y="6813"/>
                  </a:lnTo>
                  <a:lnTo>
                    <a:pt x="101" y="6744"/>
                  </a:lnTo>
                  <a:lnTo>
                    <a:pt x="88" y="6674"/>
                  </a:lnTo>
                  <a:lnTo>
                    <a:pt x="76" y="6604"/>
                  </a:lnTo>
                  <a:lnTo>
                    <a:pt x="65" y="6534"/>
                  </a:lnTo>
                  <a:lnTo>
                    <a:pt x="55" y="6464"/>
                  </a:lnTo>
                  <a:lnTo>
                    <a:pt x="45" y="6393"/>
                  </a:lnTo>
                  <a:lnTo>
                    <a:pt x="37" y="6322"/>
                  </a:lnTo>
                  <a:lnTo>
                    <a:pt x="29" y="6250"/>
                  </a:lnTo>
                  <a:lnTo>
                    <a:pt x="22" y="6179"/>
                  </a:lnTo>
                  <a:lnTo>
                    <a:pt x="16" y="6107"/>
                  </a:lnTo>
                  <a:lnTo>
                    <a:pt x="11" y="6035"/>
                  </a:lnTo>
                  <a:lnTo>
                    <a:pt x="7" y="5962"/>
                  </a:lnTo>
                  <a:lnTo>
                    <a:pt x="4" y="5890"/>
                  </a:lnTo>
                  <a:lnTo>
                    <a:pt x="2" y="5817"/>
                  </a:lnTo>
                  <a:lnTo>
                    <a:pt x="0" y="5744"/>
                  </a:lnTo>
                  <a:lnTo>
                    <a:pt x="0" y="5671"/>
                  </a:lnTo>
                  <a:lnTo>
                    <a:pt x="0" y="5671"/>
                  </a:lnTo>
                  <a:lnTo>
                    <a:pt x="0" y="5596"/>
                  </a:lnTo>
                  <a:lnTo>
                    <a:pt x="2" y="5523"/>
                  </a:lnTo>
                  <a:lnTo>
                    <a:pt x="4" y="5451"/>
                  </a:lnTo>
                  <a:lnTo>
                    <a:pt x="7" y="5378"/>
                  </a:lnTo>
                  <a:lnTo>
                    <a:pt x="11" y="5306"/>
                  </a:lnTo>
                  <a:lnTo>
                    <a:pt x="16" y="5233"/>
                  </a:lnTo>
                  <a:lnTo>
                    <a:pt x="22" y="5162"/>
                  </a:lnTo>
                  <a:lnTo>
                    <a:pt x="29" y="5090"/>
                  </a:lnTo>
                  <a:lnTo>
                    <a:pt x="37" y="5019"/>
                  </a:lnTo>
                  <a:lnTo>
                    <a:pt x="45" y="4948"/>
                  </a:lnTo>
                  <a:lnTo>
                    <a:pt x="55" y="4877"/>
                  </a:lnTo>
                  <a:lnTo>
                    <a:pt x="65" y="4806"/>
                  </a:lnTo>
                  <a:lnTo>
                    <a:pt x="76" y="4736"/>
                  </a:lnTo>
                  <a:lnTo>
                    <a:pt x="88" y="4666"/>
                  </a:lnTo>
                  <a:lnTo>
                    <a:pt x="101" y="4596"/>
                  </a:lnTo>
                  <a:lnTo>
                    <a:pt x="115" y="4527"/>
                  </a:lnTo>
                  <a:lnTo>
                    <a:pt x="130" y="4458"/>
                  </a:lnTo>
                  <a:lnTo>
                    <a:pt x="145" y="4389"/>
                  </a:lnTo>
                  <a:lnTo>
                    <a:pt x="161" y="4321"/>
                  </a:lnTo>
                  <a:lnTo>
                    <a:pt x="178" y="4253"/>
                  </a:lnTo>
                  <a:lnTo>
                    <a:pt x="196" y="4185"/>
                  </a:lnTo>
                  <a:lnTo>
                    <a:pt x="215" y="4118"/>
                  </a:lnTo>
                  <a:lnTo>
                    <a:pt x="234" y="4050"/>
                  </a:lnTo>
                  <a:lnTo>
                    <a:pt x="255" y="3984"/>
                  </a:lnTo>
                  <a:lnTo>
                    <a:pt x="276" y="3917"/>
                  </a:lnTo>
                  <a:lnTo>
                    <a:pt x="298" y="3851"/>
                  </a:lnTo>
                  <a:lnTo>
                    <a:pt x="320" y="3786"/>
                  </a:lnTo>
                  <a:lnTo>
                    <a:pt x="344" y="3720"/>
                  </a:lnTo>
                  <a:lnTo>
                    <a:pt x="368" y="3655"/>
                  </a:lnTo>
                  <a:lnTo>
                    <a:pt x="393" y="3591"/>
                  </a:lnTo>
                  <a:lnTo>
                    <a:pt x="419" y="3527"/>
                  </a:lnTo>
                  <a:lnTo>
                    <a:pt x="445" y="3463"/>
                  </a:lnTo>
                  <a:lnTo>
                    <a:pt x="473" y="3399"/>
                  </a:lnTo>
                  <a:lnTo>
                    <a:pt x="501" y="3336"/>
                  </a:lnTo>
                  <a:lnTo>
                    <a:pt x="529" y="3274"/>
                  </a:lnTo>
                  <a:lnTo>
                    <a:pt x="559" y="3212"/>
                  </a:lnTo>
                  <a:lnTo>
                    <a:pt x="589" y="3150"/>
                  </a:lnTo>
                  <a:lnTo>
                    <a:pt x="620" y="3089"/>
                  </a:lnTo>
                  <a:lnTo>
                    <a:pt x="652" y="3028"/>
                  </a:lnTo>
                  <a:lnTo>
                    <a:pt x="684" y="2967"/>
                  </a:lnTo>
                  <a:lnTo>
                    <a:pt x="717" y="2907"/>
                  </a:lnTo>
                  <a:lnTo>
                    <a:pt x="751" y="2848"/>
                  </a:lnTo>
                  <a:lnTo>
                    <a:pt x="785" y="2788"/>
                  </a:lnTo>
                  <a:lnTo>
                    <a:pt x="821" y="2730"/>
                  </a:lnTo>
                  <a:lnTo>
                    <a:pt x="856" y="2672"/>
                  </a:lnTo>
                  <a:lnTo>
                    <a:pt x="893" y="2614"/>
                  </a:lnTo>
                  <a:lnTo>
                    <a:pt x="930" y="2557"/>
                  </a:lnTo>
                  <a:lnTo>
                    <a:pt x="968" y="2500"/>
                  </a:lnTo>
                  <a:lnTo>
                    <a:pt x="1007" y="2443"/>
                  </a:lnTo>
                  <a:lnTo>
                    <a:pt x="1046" y="2388"/>
                  </a:lnTo>
                  <a:lnTo>
                    <a:pt x="1086" y="2332"/>
                  </a:lnTo>
                  <a:lnTo>
                    <a:pt x="1126" y="2277"/>
                  </a:lnTo>
                  <a:lnTo>
                    <a:pt x="1167" y="2223"/>
                  </a:lnTo>
                  <a:lnTo>
                    <a:pt x="1209" y="2169"/>
                  </a:lnTo>
                  <a:lnTo>
                    <a:pt x="1251" y="2116"/>
                  </a:lnTo>
                  <a:lnTo>
                    <a:pt x="1294" y="2063"/>
                  </a:lnTo>
                  <a:lnTo>
                    <a:pt x="1338" y="2011"/>
                  </a:lnTo>
                  <a:lnTo>
                    <a:pt x="1382" y="1959"/>
                  </a:lnTo>
                  <a:lnTo>
                    <a:pt x="1427" y="1908"/>
                  </a:lnTo>
                  <a:lnTo>
                    <a:pt x="1473" y="1858"/>
                  </a:lnTo>
                  <a:lnTo>
                    <a:pt x="1519" y="1807"/>
                  </a:lnTo>
                  <a:lnTo>
                    <a:pt x="1565" y="1758"/>
                  </a:lnTo>
                  <a:lnTo>
                    <a:pt x="1613" y="1709"/>
                  </a:lnTo>
                  <a:lnTo>
                    <a:pt x="1660" y="1661"/>
                  </a:lnTo>
                  <a:lnTo>
                    <a:pt x="1709" y="1613"/>
                  </a:lnTo>
                  <a:lnTo>
                    <a:pt x="1758" y="1566"/>
                  </a:lnTo>
                  <a:lnTo>
                    <a:pt x="1807" y="1519"/>
                  </a:lnTo>
                  <a:lnTo>
                    <a:pt x="1857" y="1473"/>
                  </a:lnTo>
                  <a:lnTo>
                    <a:pt x="1908" y="1427"/>
                  </a:lnTo>
                  <a:lnTo>
                    <a:pt x="1959" y="1383"/>
                  </a:lnTo>
                  <a:lnTo>
                    <a:pt x="2011" y="1338"/>
                  </a:lnTo>
                  <a:lnTo>
                    <a:pt x="2063" y="1295"/>
                  </a:lnTo>
                  <a:lnTo>
                    <a:pt x="2116" y="1252"/>
                  </a:lnTo>
                  <a:lnTo>
                    <a:pt x="2169" y="1209"/>
                  </a:lnTo>
                  <a:lnTo>
                    <a:pt x="2223" y="1168"/>
                  </a:lnTo>
                  <a:lnTo>
                    <a:pt x="2277" y="1126"/>
                  </a:lnTo>
                  <a:lnTo>
                    <a:pt x="2332" y="1086"/>
                  </a:lnTo>
                  <a:lnTo>
                    <a:pt x="2387" y="1046"/>
                  </a:lnTo>
                  <a:lnTo>
                    <a:pt x="2443" y="1007"/>
                  </a:lnTo>
                  <a:lnTo>
                    <a:pt x="2499" y="968"/>
                  </a:lnTo>
                  <a:lnTo>
                    <a:pt x="2556" y="930"/>
                  </a:lnTo>
                  <a:lnTo>
                    <a:pt x="2613" y="893"/>
                  </a:lnTo>
                  <a:lnTo>
                    <a:pt x="2671" y="857"/>
                  </a:lnTo>
                  <a:lnTo>
                    <a:pt x="2729" y="821"/>
                  </a:lnTo>
                  <a:lnTo>
                    <a:pt x="2788" y="786"/>
                  </a:lnTo>
                  <a:lnTo>
                    <a:pt x="2847" y="751"/>
                  </a:lnTo>
                  <a:lnTo>
                    <a:pt x="2907" y="717"/>
                  </a:lnTo>
                  <a:lnTo>
                    <a:pt x="2967" y="684"/>
                  </a:lnTo>
                  <a:lnTo>
                    <a:pt x="3027" y="652"/>
                  </a:lnTo>
                  <a:lnTo>
                    <a:pt x="3088" y="620"/>
                  </a:lnTo>
                  <a:lnTo>
                    <a:pt x="3150" y="589"/>
                  </a:lnTo>
                  <a:lnTo>
                    <a:pt x="3211" y="559"/>
                  </a:lnTo>
                  <a:lnTo>
                    <a:pt x="3273" y="530"/>
                  </a:lnTo>
                  <a:lnTo>
                    <a:pt x="3336" y="501"/>
                  </a:lnTo>
                  <a:lnTo>
                    <a:pt x="3399" y="473"/>
                  </a:lnTo>
                  <a:lnTo>
                    <a:pt x="3462" y="446"/>
                  </a:lnTo>
                  <a:lnTo>
                    <a:pt x="3526" y="419"/>
                  </a:lnTo>
                  <a:lnTo>
                    <a:pt x="3590" y="393"/>
                  </a:lnTo>
                  <a:lnTo>
                    <a:pt x="3655" y="368"/>
                  </a:lnTo>
                  <a:lnTo>
                    <a:pt x="3720" y="344"/>
                  </a:lnTo>
                  <a:lnTo>
                    <a:pt x="3785" y="321"/>
                  </a:lnTo>
                  <a:lnTo>
                    <a:pt x="3851" y="298"/>
                  </a:lnTo>
                  <a:lnTo>
                    <a:pt x="3917" y="276"/>
                  </a:lnTo>
                  <a:lnTo>
                    <a:pt x="3983" y="255"/>
                  </a:lnTo>
                  <a:lnTo>
                    <a:pt x="4050" y="235"/>
                  </a:lnTo>
                  <a:lnTo>
                    <a:pt x="4117" y="215"/>
                  </a:lnTo>
                  <a:lnTo>
                    <a:pt x="4185" y="197"/>
                  </a:lnTo>
                  <a:lnTo>
                    <a:pt x="4252" y="179"/>
                  </a:lnTo>
                  <a:lnTo>
                    <a:pt x="4320" y="162"/>
                  </a:lnTo>
                  <a:lnTo>
                    <a:pt x="4389" y="145"/>
                  </a:lnTo>
                  <a:lnTo>
                    <a:pt x="4458" y="130"/>
                  </a:lnTo>
                  <a:lnTo>
                    <a:pt x="4527" y="115"/>
                  </a:lnTo>
                  <a:lnTo>
                    <a:pt x="4596" y="102"/>
                  </a:lnTo>
                  <a:lnTo>
                    <a:pt x="4666" y="89"/>
                  </a:lnTo>
                  <a:lnTo>
                    <a:pt x="4736" y="77"/>
                  </a:lnTo>
                  <a:lnTo>
                    <a:pt x="4806" y="65"/>
                  </a:lnTo>
                  <a:lnTo>
                    <a:pt x="4876" y="55"/>
                  </a:lnTo>
                  <a:lnTo>
                    <a:pt x="4947" y="46"/>
                  </a:lnTo>
                  <a:lnTo>
                    <a:pt x="5018" y="37"/>
                  </a:lnTo>
                  <a:lnTo>
                    <a:pt x="5090" y="29"/>
                  </a:lnTo>
                  <a:lnTo>
                    <a:pt x="5161" y="23"/>
                  </a:lnTo>
                  <a:lnTo>
                    <a:pt x="5233" y="17"/>
                  </a:lnTo>
                  <a:lnTo>
                    <a:pt x="5305" y="12"/>
                  </a:lnTo>
                  <a:lnTo>
                    <a:pt x="5378" y="8"/>
                  </a:lnTo>
                  <a:lnTo>
                    <a:pt x="5450" y="4"/>
                  </a:lnTo>
                  <a:lnTo>
                    <a:pt x="5523" y="2"/>
                  </a:lnTo>
                  <a:lnTo>
                    <a:pt x="5596" y="1"/>
                  </a:lnTo>
                  <a:lnTo>
                    <a:pt x="5669" y="0"/>
                  </a:lnTo>
                  <a:lnTo>
                    <a:pt x="5669" y="0"/>
                  </a:lnTo>
                  <a:lnTo>
                    <a:pt x="5744" y="1"/>
                  </a:lnTo>
                  <a:lnTo>
                    <a:pt x="5817" y="2"/>
                  </a:lnTo>
                  <a:lnTo>
                    <a:pt x="5890" y="4"/>
                  </a:lnTo>
                  <a:lnTo>
                    <a:pt x="5962" y="8"/>
                  </a:lnTo>
                  <a:lnTo>
                    <a:pt x="6034" y="12"/>
                  </a:lnTo>
                  <a:lnTo>
                    <a:pt x="6107" y="17"/>
                  </a:lnTo>
                  <a:lnTo>
                    <a:pt x="6178" y="23"/>
                  </a:lnTo>
                  <a:lnTo>
                    <a:pt x="6250" y="29"/>
                  </a:lnTo>
                  <a:lnTo>
                    <a:pt x="6321" y="37"/>
                  </a:lnTo>
                  <a:lnTo>
                    <a:pt x="6392" y="46"/>
                  </a:lnTo>
                  <a:lnTo>
                    <a:pt x="6463" y="55"/>
                  </a:lnTo>
                  <a:lnTo>
                    <a:pt x="6534" y="65"/>
                  </a:lnTo>
                  <a:lnTo>
                    <a:pt x="6604" y="77"/>
                  </a:lnTo>
                  <a:lnTo>
                    <a:pt x="6674" y="89"/>
                  </a:lnTo>
                  <a:lnTo>
                    <a:pt x="6744" y="102"/>
                  </a:lnTo>
                  <a:lnTo>
                    <a:pt x="6813" y="115"/>
                  </a:lnTo>
                  <a:lnTo>
                    <a:pt x="6882" y="130"/>
                  </a:lnTo>
                  <a:lnTo>
                    <a:pt x="6951" y="145"/>
                  </a:lnTo>
                  <a:lnTo>
                    <a:pt x="7019" y="162"/>
                  </a:lnTo>
                  <a:lnTo>
                    <a:pt x="7087" y="179"/>
                  </a:lnTo>
                  <a:lnTo>
                    <a:pt x="7155" y="197"/>
                  </a:lnTo>
                  <a:lnTo>
                    <a:pt x="7222" y="215"/>
                  </a:lnTo>
                  <a:lnTo>
                    <a:pt x="7289" y="235"/>
                  </a:lnTo>
                  <a:lnTo>
                    <a:pt x="7356" y="255"/>
                  </a:lnTo>
                  <a:lnTo>
                    <a:pt x="7423" y="276"/>
                  </a:lnTo>
                  <a:lnTo>
                    <a:pt x="7489" y="298"/>
                  </a:lnTo>
                  <a:lnTo>
                    <a:pt x="7554" y="321"/>
                  </a:lnTo>
                  <a:lnTo>
                    <a:pt x="7620" y="344"/>
                  </a:lnTo>
                  <a:lnTo>
                    <a:pt x="7685" y="368"/>
                  </a:lnTo>
                  <a:lnTo>
                    <a:pt x="7749" y="393"/>
                  </a:lnTo>
                  <a:lnTo>
                    <a:pt x="7813" y="419"/>
                  </a:lnTo>
                  <a:lnTo>
                    <a:pt x="7877" y="446"/>
                  </a:lnTo>
                  <a:lnTo>
                    <a:pt x="7940" y="473"/>
                  </a:lnTo>
                  <a:lnTo>
                    <a:pt x="8003" y="501"/>
                  </a:lnTo>
                  <a:lnTo>
                    <a:pt x="8066" y="530"/>
                  </a:lnTo>
                  <a:lnTo>
                    <a:pt x="8128" y="559"/>
                  </a:lnTo>
                  <a:lnTo>
                    <a:pt x="8190" y="589"/>
                  </a:lnTo>
                  <a:lnTo>
                    <a:pt x="8251" y="620"/>
                  </a:lnTo>
                  <a:lnTo>
                    <a:pt x="8312" y="652"/>
                  </a:lnTo>
                  <a:lnTo>
                    <a:pt x="8373" y="684"/>
                  </a:lnTo>
                  <a:lnTo>
                    <a:pt x="8433" y="717"/>
                  </a:lnTo>
                  <a:lnTo>
                    <a:pt x="8492" y="751"/>
                  </a:lnTo>
                  <a:lnTo>
                    <a:pt x="8551" y="786"/>
                  </a:lnTo>
                  <a:lnTo>
                    <a:pt x="8610" y="821"/>
                  </a:lnTo>
                  <a:lnTo>
                    <a:pt x="8668" y="857"/>
                  </a:lnTo>
                  <a:lnTo>
                    <a:pt x="8726" y="893"/>
                  </a:lnTo>
                  <a:lnTo>
                    <a:pt x="8783" y="930"/>
                  </a:lnTo>
                  <a:lnTo>
                    <a:pt x="8840" y="968"/>
                  </a:lnTo>
                  <a:lnTo>
                    <a:pt x="8896" y="1007"/>
                  </a:lnTo>
                  <a:lnTo>
                    <a:pt x="8952" y="1046"/>
                  </a:lnTo>
                  <a:lnTo>
                    <a:pt x="9008" y="1086"/>
                  </a:lnTo>
                  <a:lnTo>
                    <a:pt x="9062" y="1126"/>
                  </a:lnTo>
                  <a:lnTo>
                    <a:pt x="9117" y="1168"/>
                  </a:lnTo>
                  <a:lnTo>
                    <a:pt x="9170" y="1209"/>
                  </a:lnTo>
                  <a:lnTo>
                    <a:pt x="9224" y="1252"/>
                  </a:lnTo>
                  <a:lnTo>
                    <a:pt x="9277" y="1295"/>
                  </a:lnTo>
                  <a:lnTo>
                    <a:pt x="9329" y="1338"/>
                  </a:lnTo>
                  <a:lnTo>
                    <a:pt x="9380" y="1383"/>
                  </a:lnTo>
                  <a:lnTo>
                    <a:pt x="9432" y="1427"/>
                  </a:lnTo>
                  <a:lnTo>
                    <a:pt x="9482" y="1473"/>
                  </a:lnTo>
                  <a:lnTo>
                    <a:pt x="9532" y="1519"/>
                  </a:lnTo>
                  <a:lnTo>
                    <a:pt x="9582" y="1566"/>
                  </a:lnTo>
                  <a:lnTo>
                    <a:pt x="9631" y="1613"/>
                  </a:lnTo>
                  <a:lnTo>
                    <a:pt x="9679" y="1661"/>
                  </a:lnTo>
                  <a:lnTo>
                    <a:pt x="9727" y="1709"/>
                  </a:lnTo>
                  <a:lnTo>
                    <a:pt x="9774" y="1758"/>
                  </a:lnTo>
                  <a:lnTo>
                    <a:pt x="9821" y="1807"/>
                  </a:lnTo>
                  <a:lnTo>
                    <a:pt x="9867" y="1858"/>
                  </a:lnTo>
                  <a:lnTo>
                    <a:pt x="9912" y="1908"/>
                  </a:lnTo>
                  <a:lnTo>
                    <a:pt x="9957" y="1959"/>
                  </a:lnTo>
                  <a:lnTo>
                    <a:pt x="10001" y="2011"/>
                  </a:lnTo>
                  <a:lnTo>
                    <a:pt x="10045" y="2063"/>
                  </a:lnTo>
                  <a:lnTo>
                    <a:pt x="10088" y="2116"/>
                  </a:lnTo>
                  <a:lnTo>
                    <a:pt x="10130" y="2169"/>
                  </a:lnTo>
                  <a:lnTo>
                    <a:pt x="10172" y="2223"/>
                  </a:lnTo>
                  <a:lnTo>
                    <a:pt x="10213" y="2277"/>
                  </a:lnTo>
                  <a:lnTo>
                    <a:pt x="10254" y="2332"/>
                  </a:lnTo>
                  <a:lnTo>
                    <a:pt x="10294" y="2388"/>
                  </a:lnTo>
                  <a:lnTo>
                    <a:pt x="10333" y="2443"/>
                  </a:lnTo>
                  <a:lnTo>
                    <a:pt x="10371" y="2500"/>
                  </a:lnTo>
                  <a:lnTo>
                    <a:pt x="10409" y="2557"/>
                  </a:lnTo>
                  <a:lnTo>
                    <a:pt x="10446" y="2614"/>
                  </a:lnTo>
                  <a:lnTo>
                    <a:pt x="10483" y="2672"/>
                  </a:lnTo>
                  <a:lnTo>
                    <a:pt x="10519" y="2730"/>
                  </a:lnTo>
                  <a:lnTo>
                    <a:pt x="10554" y="2788"/>
                  </a:lnTo>
                  <a:lnTo>
                    <a:pt x="10588" y="2848"/>
                  </a:lnTo>
                  <a:lnTo>
                    <a:pt x="10622" y="2907"/>
                  </a:lnTo>
                  <a:lnTo>
                    <a:pt x="10655" y="2967"/>
                  </a:lnTo>
                  <a:lnTo>
                    <a:pt x="10688" y="3028"/>
                  </a:lnTo>
                  <a:lnTo>
                    <a:pt x="10719" y="3089"/>
                  </a:lnTo>
                  <a:lnTo>
                    <a:pt x="10750" y="3150"/>
                  </a:lnTo>
                  <a:lnTo>
                    <a:pt x="10780" y="3212"/>
                  </a:lnTo>
                  <a:lnTo>
                    <a:pt x="10810" y="3274"/>
                  </a:lnTo>
                  <a:lnTo>
                    <a:pt x="10839" y="3336"/>
                  </a:lnTo>
                  <a:lnTo>
                    <a:pt x="10867" y="3399"/>
                  </a:lnTo>
                  <a:lnTo>
                    <a:pt x="10894" y="3463"/>
                  </a:lnTo>
                  <a:lnTo>
                    <a:pt x="10921" y="3527"/>
                  </a:lnTo>
                  <a:lnTo>
                    <a:pt x="10946" y="3591"/>
                  </a:lnTo>
                  <a:lnTo>
                    <a:pt x="10971" y="3655"/>
                  </a:lnTo>
                  <a:lnTo>
                    <a:pt x="10996" y="3720"/>
                  </a:lnTo>
                  <a:lnTo>
                    <a:pt x="11019" y="3786"/>
                  </a:lnTo>
                  <a:lnTo>
                    <a:pt x="11042" y="3851"/>
                  </a:lnTo>
                  <a:lnTo>
                    <a:pt x="11064" y="3917"/>
                  </a:lnTo>
                  <a:lnTo>
                    <a:pt x="11085" y="3984"/>
                  </a:lnTo>
                  <a:lnTo>
                    <a:pt x="11105" y="4050"/>
                  </a:lnTo>
                  <a:lnTo>
                    <a:pt x="11124" y="4118"/>
                  </a:lnTo>
                  <a:lnTo>
                    <a:pt x="11143" y="4185"/>
                  </a:lnTo>
                  <a:lnTo>
                    <a:pt x="11161" y="4253"/>
                  </a:lnTo>
                  <a:lnTo>
                    <a:pt x="11178" y="4321"/>
                  </a:lnTo>
                  <a:lnTo>
                    <a:pt x="11194" y="4389"/>
                  </a:lnTo>
                  <a:lnTo>
                    <a:pt x="11210" y="4458"/>
                  </a:lnTo>
                  <a:lnTo>
                    <a:pt x="11224" y="4527"/>
                  </a:lnTo>
                  <a:lnTo>
                    <a:pt x="11238" y="4596"/>
                  </a:lnTo>
                  <a:lnTo>
                    <a:pt x="11251" y="4666"/>
                  </a:lnTo>
                  <a:lnTo>
                    <a:pt x="11263" y="4736"/>
                  </a:lnTo>
                  <a:lnTo>
                    <a:pt x="11274" y="4806"/>
                  </a:lnTo>
                  <a:lnTo>
                    <a:pt x="11285" y="4877"/>
                  </a:lnTo>
                  <a:lnTo>
                    <a:pt x="11294" y="4948"/>
                  </a:lnTo>
                  <a:lnTo>
                    <a:pt x="11303" y="5019"/>
                  </a:lnTo>
                  <a:lnTo>
                    <a:pt x="11310" y="5090"/>
                  </a:lnTo>
                  <a:lnTo>
                    <a:pt x="11317" y="5162"/>
                  </a:lnTo>
                  <a:lnTo>
                    <a:pt x="11323" y="5233"/>
                  </a:lnTo>
                  <a:lnTo>
                    <a:pt x="11328" y="5306"/>
                  </a:lnTo>
                  <a:lnTo>
                    <a:pt x="11332" y="5378"/>
                  </a:lnTo>
                  <a:lnTo>
                    <a:pt x="11335" y="5451"/>
                  </a:lnTo>
                  <a:lnTo>
                    <a:pt x="11338" y="5523"/>
                  </a:lnTo>
                  <a:lnTo>
                    <a:pt x="11339" y="5596"/>
                  </a:lnTo>
                  <a:lnTo>
                    <a:pt x="11340" y="567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208" name="Freeform 8">
              <a:extLst>
                <a:ext uri="{FF2B5EF4-FFF2-40B4-BE49-F238E27FC236}">
                  <a16:creationId xmlns:a16="http://schemas.microsoft.com/office/drawing/2014/main" id="{969B351D-5794-49B3-B1A5-E05A8AB7BC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10" y="1566"/>
              <a:ext cx="1615" cy="1653"/>
            </a:xfrm>
            <a:custGeom>
              <a:avLst/>
              <a:gdLst/>
              <a:ahLst/>
              <a:cxnLst>
                <a:cxn ang="0">
                  <a:pos x="4319" y="2213"/>
                </a:cxn>
                <a:cxn ang="0">
                  <a:pos x="4796" y="1894"/>
                </a:cxn>
                <a:cxn ang="0">
                  <a:pos x="4876" y="1759"/>
                </a:cxn>
                <a:cxn ang="0">
                  <a:pos x="4526" y="1075"/>
                </a:cxn>
                <a:cxn ang="0">
                  <a:pos x="4005" y="1264"/>
                </a:cxn>
                <a:cxn ang="0">
                  <a:pos x="3815" y="1225"/>
                </a:cxn>
                <a:cxn ang="0">
                  <a:pos x="3367" y="807"/>
                </a:cxn>
                <a:cxn ang="0">
                  <a:pos x="3456" y="245"/>
                </a:cxn>
                <a:cxn ang="0">
                  <a:pos x="2745" y="3"/>
                </a:cxn>
                <a:cxn ang="0">
                  <a:pos x="2590" y="70"/>
                </a:cxn>
                <a:cxn ang="0">
                  <a:pos x="2416" y="615"/>
                </a:cxn>
                <a:cxn ang="0">
                  <a:pos x="1822" y="774"/>
                </a:cxn>
                <a:cxn ang="0">
                  <a:pos x="1644" y="700"/>
                </a:cxn>
                <a:cxn ang="0">
                  <a:pos x="1252" y="324"/>
                </a:cxn>
                <a:cxn ang="0">
                  <a:pos x="653" y="807"/>
                </a:cxn>
                <a:cxn ang="0">
                  <a:pos x="942" y="1274"/>
                </a:cxn>
                <a:cxn ang="0">
                  <a:pos x="960" y="1467"/>
                </a:cxn>
                <a:cxn ang="0">
                  <a:pos x="660" y="2003"/>
                </a:cxn>
                <a:cxn ang="0">
                  <a:pos x="90" y="2042"/>
                </a:cxn>
                <a:cxn ang="0">
                  <a:pos x="0" y="2797"/>
                </a:cxn>
                <a:cxn ang="0">
                  <a:pos x="86" y="2927"/>
                </a:cxn>
                <a:cxn ang="0">
                  <a:pos x="656" y="2972"/>
                </a:cxn>
                <a:cxn ang="0">
                  <a:pos x="952" y="3509"/>
                </a:cxn>
                <a:cxn ang="0">
                  <a:pos x="932" y="3702"/>
                </a:cxn>
                <a:cxn ang="0">
                  <a:pos x="640" y="4167"/>
                </a:cxn>
                <a:cxn ang="0">
                  <a:pos x="1235" y="4655"/>
                </a:cxn>
                <a:cxn ang="0">
                  <a:pos x="1630" y="4283"/>
                </a:cxn>
                <a:cxn ang="0">
                  <a:pos x="1809" y="4210"/>
                </a:cxn>
                <a:cxn ang="0">
                  <a:pos x="2403" y="4373"/>
                </a:cxn>
                <a:cxn ang="0">
                  <a:pos x="2574" y="4919"/>
                </a:cxn>
                <a:cxn ang="0">
                  <a:pos x="2728" y="4987"/>
                </a:cxn>
                <a:cxn ang="0">
                  <a:pos x="3441" y="4750"/>
                </a:cxn>
                <a:cxn ang="0">
                  <a:pos x="3356" y="4187"/>
                </a:cxn>
                <a:cxn ang="0">
                  <a:pos x="3806" y="3773"/>
                </a:cxn>
                <a:cxn ang="0">
                  <a:pos x="3997" y="3735"/>
                </a:cxn>
                <a:cxn ang="0">
                  <a:pos x="4516" y="3927"/>
                </a:cxn>
                <a:cxn ang="0">
                  <a:pos x="4871" y="3245"/>
                </a:cxn>
                <a:cxn ang="0">
                  <a:pos x="4421" y="2930"/>
                </a:cxn>
                <a:cxn ang="0">
                  <a:pos x="4317" y="2787"/>
                </a:cxn>
                <a:cxn ang="0">
                  <a:pos x="3788" y="2500"/>
                </a:cxn>
                <a:cxn ang="0">
                  <a:pos x="3728" y="2887"/>
                </a:cxn>
                <a:cxn ang="0">
                  <a:pos x="3545" y="3252"/>
                </a:cxn>
                <a:cxn ang="0">
                  <a:pos x="3261" y="3541"/>
                </a:cxn>
                <a:cxn ang="0">
                  <a:pos x="2899" y="3730"/>
                </a:cxn>
                <a:cxn ang="0">
                  <a:pos x="2481" y="3796"/>
                </a:cxn>
                <a:cxn ang="0">
                  <a:pos x="2093" y="3736"/>
                </a:cxn>
                <a:cxn ang="0">
                  <a:pos x="1728" y="3553"/>
                </a:cxn>
                <a:cxn ang="0">
                  <a:pos x="1439" y="3269"/>
                </a:cxn>
                <a:cxn ang="0">
                  <a:pos x="1250" y="2907"/>
                </a:cxn>
                <a:cxn ang="0">
                  <a:pos x="1184" y="2490"/>
                </a:cxn>
                <a:cxn ang="0">
                  <a:pos x="1244" y="2102"/>
                </a:cxn>
                <a:cxn ang="0">
                  <a:pos x="1427" y="1736"/>
                </a:cxn>
                <a:cxn ang="0">
                  <a:pos x="1711" y="1448"/>
                </a:cxn>
                <a:cxn ang="0">
                  <a:pos x="2073" y="1259"/>
                </a:cxn>
                <a:cxn ang="0">
                  <a:pos x="2492" y="1192"/>
                </a:cxn>
                <a:cxn ang="0">
                  <a:pos x="2878" y="1252"/>
                </a:cxn>
                <a:cxn ang="0">
                  <a:pos x="3244" y="1435"/>
                </a:cxn>
                <a:cxn ang="0">
                  <a:pos x="3532" y="1719"/>
                </a:cxn>
                <a:cxn ang="0">
                  <a:pos x="3721" y="2081"/>
                </a:cxn>
                <a:cxn ang="0">
                  <a:pos x="3788" y="2500"/>
                </a:cxn>
              </a:cxnLst>
              <a:rect l="0" t="0" r="r" b="b"/>
              <a:pathLst>
                <a:path w="4876" h="4990">
                  <a:moveTo>
                    <a:pt x="4332" y="2502"/>
                  </a:moveTo>
                  <a:lnTo>
                    <a:pt x="4332" y="2502"/>
                  </a:lnTo>
                  <a:lnTo>
                    <a:pt x="4331" y="2455"/>
                  </a:lnTo>
                  <a:lnTo>
                    <a:pt x="4329" y="2412"/>
                  </a:lnTo>
                  <a:lnTo>
                    <a:pt x="4327" y="2373"/>
                  </a:lnTo>
                  <a:lnTo>
                    <a:pt x="4324" y="2340"/>
                  </a:lnTo>
                  <a:lnTo>
                    <a:pt x="4319" y="2291"/>
                  </a:lnTo>
                  <a:lnTo>
                    <a:pt x="4317" y="2273"/>
                  </a:lnTo>
                  <a:lnTo>
                    <a:pt x="4317" y="2273"/>
                  </a:lnTo>
                  <a:lnTo>
                    <a:pt x="4315" y="2258"/>
                  </a:lnTo>
                  <a:lnTo>
                    <a:pt x="4315" y="2243"/>
                  </a:lnTo>
                  <a:lnTo>
                    <a:pt x="4317" y="2228"/>
                  </a:lnTo>
                  <a:lnTo>
                    <a:pt x="4319" y="2213"/>
                  </a:lnTo>
                  <a:lnTo>
                    <a:pt x="4323" y="2199"/>
                  </a:lnTo>
                  <a:lnTo>
                    <a:pt x="4327" y="2184"/>
                  </a:lnTo>
                  <a:lnTo>
                    <a:pt x="4333" y="2170"/>
                  </a:lnTo>
                  <a:lnTo>
                    <a:pt x="4340" y="2156"/>
                  </a:lnTo>
                  <a:lnTo>
                    <a:pt x="4348" y="2142"/>
                  </a:lnTo>
                  <a:lnTo>
                    <a:pt x="4356" y="2130"/>
                  </a:lnTo>
                  <a:lnTo>
                    <a:pt x="4366" y="2117"/>
                  </a:lnTo>
                  <a:lnTo>
                    <a:pt x="4376" y="2106"/>
                  </a:lnTo>
                  <a:lnTo>
                    <a:pt x="4387" y="2096"/>
                  </a:lnTo>
                  <a:lnTo>
                    <a:pt x="4399" y="2087"/>
                  </a:lnTo>
                  <a:lnTo>
                    <a:pt x="4411" y="2078"/>
                  </a:lnTo>
                  <a:lnTo>
                    <a:pt x="4424" y="2071"/>
                  </a:lnTo>
                  <a:lnTo>
                    <a:pt x="4796" y="1894"/>
                  </a:lnTo>
                  <a:lnTo>
                    <a:pt x="4796" y="1894"/>
                  </a:lnTo>
                  <a:lnTo>
                    <a:pt x="4809" y="1887"/>
                  </a:lnTo>
                  <a:lnTo>
                    <a:pt x="4820" y="1879"/>
                  </a:lnTo>
                  <a:lnTo>
                    <a:pt x="4831" y="1870"/>
                  </a:lnTo>
                  <a:lnTo>
                    <a:pt x="4841" y="1860"/>
                  </a:lnTo>
                  <a:lnTo>
                    <a:pt x="4849" y="1849"/>
                  </a:lnTo>
                  <a:lnTo>
                    <a:pt x="4857" y="1838"/>
                  </a:lnTo>
                  <a:lnTo>
                    <a:pt x="4863" y="1826"/>
                  </a:lnTo>
                  <a:lnTo>
                    <a:pt x="4868" y="1813"/>
                  </a:lnTo>
                  <a:lnTo>
                    <a:pt x="4872" y="1800"/>
                  </a:lnTo>
                  <a:lnTo>
                    <a:pt x="4875" y="1787"/>
                  </a:lnTo>
                  <a:lnTo>
                    <a:pt x="4876" y="1773"/>
                  </a:lnTo>
                  <a:lnTo>
                    <a:pt x="4876" y="1759"/>
                  </a:lnTo>
                  <a:lnTo>
                    <a:pt x="4875" y="1746"/>
                  </a:lnTo>
                  <a:lnTo>
                    <a:pt x="4872" y="1732"/>
                  </a:lnTo>
                  <a:lnTo>
                    <a:pt x="4868" y="1718"/>
                  </a:lnTo>
                  <a:lnTo>
                    <a:pt x="4863" y="1705"/>
                  </a:lnTo>
                  <a:lnTo>
                    <a:pt x="4595" y="1142"/>
                  </a:lnTo>
                  <a:lnTo>
                    <a:pt x="4595" y="1142"/>
                  </a:lnTo>
                  <a:lnTo>
                    <a:pt x="4588" y="1130"/>
                  </a:lnTo>
                  <a:lnTo>
                    <a:pt x="4580" y="1118"/>
                  </a:lnTo>
                  <a:lnTo>
                    <a:pt x="4571" y="1107"/>
                  </a:lnTo>
                  <a:lnTo>
                    <a:pt x="4561" y="1097"/>
                  </a:lnTo>
                  <a:lnTo>
                    <a:pt x="4550" y="1089"/>
                  </a:lnTo>
                  <a:lnTo>
                    <a:pt x="4539" y="1081"/>
                  </a:lnTo>
                  <a:lnTo>
                    <a:pt x="4526" y="1075"/>
                  </a:lnTo>
                  <a:lnTo>
                    <a:pt x="4514" y="1070"/>
                  </a:lnTo>
                  <a:lnTo>
                    <a:pt x="4501" y="1066"/>
                  </a:lnTo>
                  <a:lnTo>
                    <a:pt x="4487" y="1063"/>
                  </a:lnTo>
                  <a:lnTo>
                    <a:pt x="4474" y="1062"/>
                  </a:lnTo>
                  <a:lnTo>
                    <a:pt x="4460" y="1062"/>
                  </a:lnTo>
                  <a:lnTo>
                    <a:pt x="4446" y="1063"/>
                  </a:lnTo>
                  <a:lnTo>
                    <a:pt x="4433" y="1066"/>
                  </a:lnTo>
                  <a:lnTo>
                    <a:pt x="4419" y="1070"/>
                  </a:lnTo>
                  <a:lnTo>
                    <a:pt x="4406" y="1075"/>
                  </a:lnTo>
                  <a:lnTo>
                    <a:pt x="4033" y="1253"/>
                  </a:lnTo>
                  <a:lnTo>
                    <a:pt x="4033" y="1253"/>
                  </a:lnTo>
                  <a:lnTo>
                    <a:pt x="4019" y="1259"/>
                  </a:lnTo>
                  <a:lnTo>
                    <a:pt x="4005" y="1264"/>
                  </a:lnTo>
                  <a:lnTo>
                    <a:pt x="3990" y="1267"/>
                  </a:lnTo>
                  <a:lnTo>
                    <a:pt x="3975" y="1269"/>
                  </a:lnTo>
                  <a:lnTo>
                    <a:pt x="3960" y="1271"/>
                  </a:lnTo>
                  <a:lnTo>
                    <a:pt x="3944" y="1271"/>
                  </a:lnTo>
                  <a:lnTo>
                    <a:pt x="3928" y="1270"/>
                  </a:lnTo>
                  <a:lnTo>
                    <a:pt x="3913" y="1267"/>
                  </a:lnTo>
                  <a:lnTo>
                    <a:pt x="3897" y="1264"/>
                  </a:lnTo>
                  <a:lnTo>
                    <a:pt x="3882" y="1260"/>
                  </a:lnTo>
                  <a:lnTo>
                    <a:pt x="3867" y="1255"/>
                  </a:lnTo>
                  <a:lnTo>
                    <a:pt x="3853" y="1249"/>
                  </a:lnTo>
                  <a:lnTo>
                    <a:pt x="3839" y="1242"/>
                  </a:lnTo>
                  <a:lnTo>
                    <a:pt x="3827" y="1234"/>
                  </a:lnTo>
                  <a:lnTo>
                    <a:pt x="3815" y="1225"/>
                  </a:lnTo>
                  <a:lnTo>
                    <a:pt x="3804" y="1215"/>
                  </a:lnTo>
                  <a:lnTo>
                    <a:pt x="3451" y="932"/>
                  </a:lnTo>
                  <a:lnTo>
                    <a:pt x="3451" y="932"/>
                  </a:lnTo>
                  <a:lnTo>
                    <a:pt x="3439" y="924"/>
                  </a:lnTo>
                  <a:lnTo>
                    <a:pt x="3428" y="914"/>
                  </a:lnTo>
                  <a:lnTo>
                    <a:pt x="3417" y="903"/>
                  </a:lnTo>
                  <a:lnTo>
                    <a:pt x="3407" y="891"/>
                  </a:lnTo>
                  <a:lnTo>
                    <a:pt x="3398" y="879"/>
                  </a:lnTo>
                  <a:lnTo>
                    <a:pt x="3390" y="865"/>
                  </a:lnTo>
                  <a:lnTo>
                    <a:pt x="3383" y="852"/>
                  </a:lnTo>
                  <a:lnTo>
                    <a:pt x="3376" y="837"/>
                  </a:lnTo>
                  <a:lnTo>
                    <a:pt x="3371" y="822"/>
                  </a:lnTo>
                  <a:lnTo>
                    <a:pt x="3367" y="807"/>
                  </a:lnTo>
                  <a:lnTo>
                    <a:pt x="3363" y="792"/>
                  </a:lnTo>
                  <a:lnTo>
                    <a:pt x="3361" y="777"/>
                  </a:lnTo>
                  <a:lnTo>
                    <a:pt x="3360" y="761"/>
                  </a:lnTo>
                  <a:lnTo>
                    <a:pt x="3360" y="746"/>
                  </a:lnTo>
                  <a:lnTo>
                    <a:pt x="3362" y="731"/>
                  </a:lnTo>
                  <a:lnTo>
                    <a:pt x="3364" y="717"/>
                  </a:lnTo>
                  <a:lnTo>
                    <a:pt x="3458" y="314"/>
                  </a:lnTo>
                  <a:lnTo>
                    <a:pt x="3458" y="314"/>
                  </a:lnTo>
                  <a:lnTo>
                    <a:pt x="3460" y="300"/>
                  </a:lnTo>
                  <a:lnTo>
                    <a:pt x="3461" y="286"/>
                  </a:lnTo>
                  <a:lnTo>
                    <a:pt x="3461" y="272"/>
                  </a:lnTo>
                  <a:lnTo>
                    <a:pt x="3459" y="258"/>
                  </a:lnTo>
                  <a:lnTo>
                    <a:pt x="3456" y="245"/>
                  </a:lnTo>
                  <a:lnTo>
                    <a:pt x="3452" y="232"/>
                  </a:lnTo>
                  <a:lnTo>
                    <a:pt x="3447" y="219"/>
                  </a:lnTo>
                  <a:lnTo>
                    <a:pt x="3440" y="207"/>
                  </a:lnTo>
                  <a:lnTo>
                    <a:pt x="3432" y="196"/>
                  </a:lnTo>
                  <a:lnTo>
                    <a:pt x="3423" y="186"/>
                  </a:lnTo>
                  <a:lnTo>
                    <a:pt x="3414" y="176"/>
                  </a:lnTo>
                  <a:lnTo>
                    <a:pt x="3403" y="168"/>
                  </a:lnTo>
                  <a:lnTo>
                    <a:pt x="3391" y="160"/>
                  </a:lnTo>
                  <a:lnTo>
                    <a:pt x="3379" y="153"/>
                  </a:lnTo>
                  <a:lnTo>
                    <a:pt x="3366" y="148"/>
                  </a:lnTo>
                  <a:lnTo>
                    <a:pt x="3352" y="144"/>
                  </a:lnTo>
                  <a:lnTo>
                    <a:pt x="2745" y="3"/>
                  </a:lnTo>
                  <a:lnTo>
                    <a:pt x="2745" y="3"/>
                  </a:lnTo>
                  <a:lnTo>
                    <a:pt x="2730" y="1"/>
                  </a:lnTo>
                  <a:lnTo>
                    <a:pt x="2716" y="0"/>
                  </a:lnTo>
                  <a:lnTo>
                    <a:pt x="2702" y="0"/>
                  </a:lnTo>
                  <a:lnTo>
                    <a:pt x="2688" y="2"/>
                  </a:lnTo>
                  <a:lnTo>
                    <a:pt x="2675" y="5"/>
                  </a:lnTo>
                  <a:lnTo>
                    <a:pt x="2662" y="9"/>
                  </a:lnTo>
                  <a:lnTo>
                    <a:pt x="2649" y="15"/>
                  </a:lnTo>
                  <a:lnTo>
                    <a:pt x="2638" y="21"/>
                  </a:lnTo>
                  <a:lnTo>
                    <a:pt x="2626" y="29"/>
                  </a:lnTo>
                  <a:lnTo>
                    <a:pt x="2616" y="38"/>
                  </a:lnTo>
                  <a:lnTo>
                    <a:pt x="2606" y="48"/>
                  </a:lnTo>
                  <a:lnTo>
                    <a:pt x="2598" y="58"/>
                  </a:lnTo>
                  <a:lnTo>
                    <a:pt x="2590" y="70"/>
                  </a:lnTo>
                  <a:lnTo>
                    <a:pt x="2584" y="82"/>
                  </a:lnTo>
                  <a:lnTo>
                    <a:pt x="2578" y="96"/>
                  </a:lnTo>
                  <a:lnTo>
                    <a:pt x="2574" y="110"/>
                  </a:lnTo>
                  <a:lnTo>
                    <a:pt x="2481" y="512"/>
                  </a:lnTo>
                  <a:lnTo>
                    <a:pt x="2481" y="512"/>
                  </a:lnTo>
                  <a:lnTo>
                    <a:pt x="2477" y="526"/>
                  </a:lnTo>
                  <a:lnTo>
                    <a:pt x="2472" y="540"/>
                  </a:lnTo>
                  <a:lnTo>
                    <a:pt x="2465" y="554"/>
                  </a:lnTo>
                  <a:lnTo>
                    <a:pt x="2457" y="567"/>
                  </a:lnTo>
                  <a:lnTo>
                    <a:pt x="2448" y="580"/>
                  </a:lnTo>
                  <a:lnTo>
                    <a:pt x="2438" y="592"/>
                  </a:lnTo>
                  <a:lnTo>
                    <a:pt x="2428" y="604"/>
                  </a:lnTo>
                  <a:lnTo>
                    <a:pt x="2416" y="615"/>
                  </a:lnTo>
                  <a:lnTo>
                    <a:pt x="2404" y="625"/>
                  </a:lnTo>
                  <a:lnTo>
                    <a:pt x="2392" y="634"/>
                  </a:lnTo>
                  <a:lnTo>
                    <a:pt x="2378" y="643"/>
                  </a:lnTo>
                  <a:lnTo>
                    <a:pt x="2365" y="650"/>
                  </a:lnTo>
                  <a:lnTo>
                    <a:pt x="2351" y="656"/>
                  </a:lnTo>
                  <a:lnTo>
                    <a:pt x="2336" y="661"/>
                  </a:lnTo>
                  <a:lnTo>
                    <a:pt x="2322" y="665"/>
                  </a:lnTo>
                  <a:lnTo>
                    <a:pt x="2308" y="668"/>
                  </a:lnTo>
                  <a:lnTo>
                    <a:pt x="1866" y="766"/>
                  </a:lnTo>
                  <a:lnTo>
                    <a:pt x="1866" y="766"/>
                  </a:lnTo>
                  <a:lnTo>
                    <a:pt x="1852" y="770"/>
                  </a:lnTo>
                  <a:lnTo>
                    <a:pt x="1837" y="772"/>
                  </a:lnTo>
                  <a:lnTo>
                    <a:pt x="1822" y="774"/>
                  </a:lnTo>
                  <a:lnTo>
                    <a:pt x="1807" y="774"/>
                  </a:lnTo>
                  <a:lnTo>
                    <a:pt x="1792" y="774"/>
                  </a:lnTo>
                  <a:lnTo>
                    <a:pt x="1776" y="772"/>
                  </a:lnTo>
                  <a:lnTo>
                    <a:pt x="1761" y="769"/>
                  </a:lnTo>
                  <a:lnTo>
                    <a:pt x="1745" y="765"/>
                  </a:lnTo>
                  <a:lnTo>
                    <a:pt x="1730" y="760"/>
                  </a:lnTo>
                  <a:lnTo>
                    <a:pt x="1716" y="754"/>
                  </a:lnTo>
                  <a:lnTo>
                    <a:pt x="1702" y="747"/>
                  </a:lnTo>
                  <a:lnTo>
                    <a:pt x="1689" y="739"/>
                  </a:lnTo>
                  <a:lnTo>
                    <a:pt x="1676" y="730"/>
                  </a:lnTo>
                  <a:lnTo>
                    <a:pt x="1664" y="721"/>
                  </a:lnTo>
                  <a:lnTo>
                    <a:pt x="1654" y="711"/>
                  </a:lnTo>
                  <a:lnTo>
                    <a:pt x="1644" y="700"/>
                  </a:lnTo>
                  <a:lnTo>
                    <a:pt x="1387" y="375"/>
                  </a:lnTo>
                  <a:lnTo>
                    <a:pt x="1387" y="375"/>
                  </a:lnTo>
                  <a:lnTo>
                    <a:pt x="1378" y="365"/>
                  </a:lnTo>
                  <a:lnTo>
                    <a:pt x="1368" y="355"/>
                  </a:lnTo>
                  <a:lnTo>
                    <a:pt x="1356" y="346"/>
                  </a:lnTo>
                  <a:lnTo>
                    <a:pt x="1345" y="339"/>
                  </a:lnTo>
                  <a:lnTo>
                    <a:pt x="1332" y="333"/>
                  </a:lnTo>
                  <a:lnTo>
                    <a:pt x="1319" y="328"/>
                  </a:lnTo>
                  <a:lnTo>
                    <a:pt x="1306" y="325"/>
                  </a:lnTo>
                  <a:lnTo>
                    <a:pt x="1293" y="323"/>
                  </a:lnTo>
                  <a:lnTo>
                    <a:pt x="1279" y="322"/>
                  </a:lnTo>
                  <a:lnTo>
                    <a:pt x="1265" y="322"/>
                  </a:lnTo>
                  <a:lnTo>
                    <a:pt x="1252" y="324"/>
                  </a:lnTo>
                  <a:lnTo>
                    <a:pt x="1238" y="327"/>
                  </a:lnTo>
                  <a:lnTo>
                    <a:pt x="1225" y="331"/>
                  </a:lnTo>
                  <a:lnTo>
                    <a:pt x="1213" y="337"/>
                  </a:lnTo>
                  <a:lnTo>
                    <a:pt x="1200" y="344"/>
                  </a:lnTo>
                  <a:lnTo>
                    <a:pt x="1188" y="352"/>
                  </a:lnTo>
                  <a:lnTo>
                    <a:pt x="700" y="739"/>
                  </a:lnTo>
                  <a:lnTo>
                    <a:pt x="700" y="739"/>
                  </a:lnTo>
                  <a:lnTo>
                    <a:pt x="689" y="748"/>
                  </a:lnTo>
                  <a:lnTo>
                    <a:pt x="679" y="759"/>
                  </a:lnTo>
                  <a:lnTo>
                    <a:pt x="671" y="770"/>
                  </a:lnTo>
                  <a:lnTo>
                    <a:pt x="664" y="782"/>
                  </a:lnTo>
                  <a:lnTo>
                    <a:pt x="658" y="794"/>
                  </a:lnTo>
                  <a:lnTo>
                    <a:pt x="653" y="807"/>
                  </a:lnTo>
                  <a:lnTo>
                    <a:pt x="649" y="820"/>
                  </a:lnTo>
                  <a:lnTo>
                    <a:pt x="647" y="834"/>
                  </a:lnTo>
                  <a:lnTo>
                    <a:pt x="646" y="847"/>
                  </a:lnTo>
                  <a:lnTo>
                    <a:pt x="647" y="861"/>
                  </a:lnTo>
                  <a:lnTo>
                    <a:pt x="648" y="874"/>
                  </a:lnTo>
                  <a:lnTo>
                    <a:pt x="651" y="888"/>
                  </a:lnTo>
                  <a:lnTo>
                    <a:pt x="656" y="901"/>
                  </a:lnTo>
                  <a:lnTo>
                    <a:pt x="661" y="914"/>
                  </a:lnTo>
                  <a:lnTo>
                    <a:pt x="668" y="926"/>
                  </a:lnTo>
                  <a:lnTo>
                    <a:pt x="677" y="938"/>
                  </a:lnTo>
                  <a:lnTo>
                    <a:pt x="933" y="1262"/>
                  </a:lnTo>
                  <a:lnTo>
                    <a:pt x="933" y="1262"/>
                  </a:lnTo>
                  <a:lnTo>
                    <a:pt x="942" y="1274"/>
                  </a:lnTo>
                  <a:lnTo>
                    <a:pt x="950" y="1287"/>
                  </a:lnTo>
                  <a:lnTo>
                    <a:pt x="956" y="1301"/>
                  </a:lnTo>
                  <a:lnTo>
                    <a:pt x="962" y="1315"/>
                  </a:lnTo>
                  <a:lnTo>
                    <a:pt x="966" y="1330"/>
                  </a:lnTo>
                  <a:lnTo>
                    <a:pt x="970" y="1345"/>
                  </a:lnTo>
                  <a:lnTo>
                    <a:pt x="972" y="1361"/>
                  </a:lnTo>
                  <a:lnTo>
                    <a:pt x="974" y="1376"/>
                  </a:lnTo>
                  <a:lnTo>
                    <a:pt x="974" y="1392"/>
                  </a:lnTo>
                  <a:lnTo>
                    <a:pt x="973" y="1408"/>
                  </a:lnTo>
                  <a:lnTo>
                    <a:pt x="971" y="1423"/>
                  </a:lnTo>
                  <a:lnTo>
                    <a:pt x="969" y="1438"/>
                  </a:lnTo>
                  <a:lnTo>
                    <a:pt x="965" y="1453"/>
                  </a:lnTo>
                  <a:lnTo>
                    <a:pt x="960" y="1467"/>
                  </a:lnTo>
                  <a:lnTo>
                    <a:pt x="954" y="1481"/>
                  </a:lnTo>
                  <a:lnTo>
                    <a:pt x="947" y="1494"/>
                  </a:lnTo>
                  <a:lnTo>
                    <a:pt x="749" y="1901"/>
                  </a:lnTo>
                  <a:lnTo>
                    <a:pt x="749" y="1901"/>
                  </a:lnTo>
                  <a:lnTo>
                    <a:pt x="744" y="1914"/>
                  </a:lnTo>
                  <a:lnTo>
                    <a:pt x="737" y="1927"/>
                  </a:lnTo>
                  <a:lnTo>
                    <a:pt x="728" y="1940"/>
                  </a:lnTo>
                  <a:lnTo>
                    <a:pt x="719" y="1952"/>
                  </a:lnTo>
                  <a:lnTo>
                    <a:pt x="709" y="1964"/>
                  </a:lnTo>
                  <a:lnTo>
                    <a:pt x="698" y="1975"/>
                  </a:lnTo>
                  <a:lnTo>
                    <a:pt x="686" y="1985"/>
                  </a:lnTo>
                  <a:lnTo>
                    <a:pt x="673" y="1994"/>
                  </a:lnTo>
                  <a:lnTo>
                    <a:pt x="660" y="2003"/>
                  </a:lnTo>
                  <a:lnTo>
                    <a:pt x="646" y="2010"/>
                  </a:lnTo>
                  <a:lnTo>
                    <a:pt x="632" y="2017"/>
                  </a:lnTo>
                  <a:lnTo>
                    <a:pt x="617" y="2023"/>
                  </a:lnTo>
                  <a:lnTo>
                    <a:pt x="603" y="2027"/>
                  </a:lnTo>
                  <a:lnTo>
                    <a:pt x="588" y="2030"/>
                  </a:lnTo>
                  <a:lnTo>
                    <a:pt x="573" y="2032"/>
                  </a:lnTo>
                  <a:lnTo>
                    <a:pt x="558" y="2033"/>
                  </a:lnTo>
                  <a:lnTo>
                    <a:pt x="145" y="2031"/>
                  </a:lnTo>
                  <a:lnTo>
                    <a:pt x="145" y="2031"/>
                  </a:lnTo>
                  <a:lnTo>
                    <a:pt x="130" y="2032"/>
                  </a:lnTo>
                  <a:lnTo>
                    <a:pt x="116" y="2034"/>
                  </a:lnTo>
                  <a:lnTo>
                    <a:pt x="103" y="2037"/>
                  </a:lnTo>
                  <a:lnTo>
                    <a:pt x="90" y="2042"/>
                  </a:lnTo>
                  <a:lnTo>
                    <a:pt x="77" y="2048"/>
                  </a:lnTo>
                  <a:lnTo>
                    <a:pt x="65" y="2055"/>
                  </a:lnTo>
                  <a:lnTo>
                    <a:pt x="55" y="2063"/>
                  </a:lnTo>
                  <a:lnTo>
                    <a:pt x="44" y="2072"/>
                  </a:lnTo>
                  <a:lnTo>
                    <a:pt x="35" y="2083"/>
                  </a:lnTo>
                  <a:lnTo>
                    <a:pt x="27" y="2093"/>
                  </a:lnTo>
                  <a:lnTo>
                    <a:pt x="20" y="2105"/>
                  </a:lnTo>
                  <a:lnTo>
                    <a:pt x="14" y="2117"/>
                  </a:lnTo>
                  <a:lnTo>
                    <a:pt x="9" y="2130"/>
                  </a:lnTo>
                  <a:lnTo>
                    <a:pt x="5" y="2144"/>
                  </a:lnTo>
                  <a:lnTo>
                    <a:pt x="3" y="2158"/>
                  </a:lnTo>
                  <a:lnTo>
                    <a:pt x="2" y="2172"/>
                  </a:lnTo>
                  <a:lnTo>
                    <a:pt x="0" y="2797"/>
                  </a:lnTo>
                  <a:lnTo>
                    <a:pt x="0" y="2797"/>
                  </a:lnTo>
                  <a:lnTo>
                    <a:pt x="1" y="2811"/>
                  </a:lnTo>
                  <a:lnTo>
                    <a:pt x="3" y="2825"/>
                  </a:lnTo>
                  <a:lnTo>
                    <a:pt x="6" y="2839"/>
                  </a:lnTo>
                  <a:lnTo>
                    <a:pt x="11" y="2852"/>
                  </a:lnTo>
                  <a:lnTo>
                    <a:pt x="17" y="2864"/>
                  </a:lnTo>
                  <a:lnTo>
                    <a:pt x="24" y="2876"/>
                  </a:lnTo>
                  <a:lnTo>
                    <a:pt x="32" y="2887"/>
                  </a:lnTo>
                  <a:lnTo>
                    <a:pt x="41" y="2897"/>
                  </a:lnTo>
                  <a:lnTo>
                    <a:pt x="51" y="2906"/>
                  </a:lnTo>
                  <a:lnTo>
                    <a:pt x="62" y="2914"/>
                  </a:lnTo>
                  <a:lnTo>
                    <a:pt x="74" y="2921"/>
                  </a:lnTo>
                  <a:lnTo>
                    <a:pt x="86" y="2927"/>
                  </a:lnTo>
                  <a:lnTo>
                    <a:pt x="99" y="2932"/>
                  </a:lnTo>
                  <a:lnTo>
                    <a:pt x="113" y="2936"/>
                  </a:lnTo>
                  <a:lnTo>
                    <a:pt x="127" y="2938"/>
                  </a:lnTo>
                  <a:lnTo>
                    <a:pt x="141" y="2939"/>
                  </a:lnTo>
                  <a:lnTo>
                    <a:pt x="555" y="2941"/>
                  </a:lnTo>
                  <a:lnTo>
                    <a:pt x="555" y="2941"/>
                  </a:lnTo>
                  <a:lnTo>
                    <a:pt x="570" y="2941"/>
                  </a:lnTo>
                  <a:lnTo>
                    <a:pt x="584" y="2944"/>
                  </a:lnTo>
                  <a:lnTo>
                    <a:pt x="599" y="2947"/>
                  </a:lnTo>
                  <a:lnTo>
                    <a:pt x="614" y="2951"/>
                  </a:lnTo>
                  <a:lnTo>
                    <a:pt x="628" y="2957"/>
                  </a:lnTo>
                  <a:lnTo>
                    <a:pt x="642" y="2964"/>
                  </a:lnTo>
                  <a:lnTo>
                    <a:pt x="656" y="2972"/>
                  </a:lnTo>
                  <a:lnTo>
                    <a:pt x="669" y="2980"/>
                  </a:lnTo>
                  <a:lnTo>
                    <a:pt x="682" y="2990"/>
                  </a:lnTo>
                  <a:lnTo>
                    <a:pt x="694" y="3000"/>
                  </a:lnTo>
                  <a:lnTo>
                    <a:pt x="705" y="3011"/>
                  </a:lnTo>
                  <a:lnTo>
                    <a:pt x="715" y="3023"/>
                  </a:lnTo>
                  <a:lnTo>
                    <a:pt x="724" y="3035"/>
                  </a:lnTo>
                  <a:lnTo>
                    <a:pt x="732" y="3048"/>
                  </a:lnTo>
                  <a:lnTo>
                    <a:pt x="739" y="3061"/>
                  </a:lnTo>
                  <a:lnTo>
                    <a:pt x="745" y="3075"/>
                  </a:lnTo>
                  <a:lnTo>
                    <a:pt x="939" y="3482"/>
                  </a:lnTo>
                  <a:lnTo>
                    <a:pt x="939" y="3482"/>
                  </a:lnTo>
                  <a:lnTo>
                    <a:pt x="946" y="3495"/>
                  </a:lnTo>
                  <a:lnTo>
                    <a:pt x="952" y="3509"/>
                  </a:lnTo>
                  <a:lnTo>
                    <a:pt x="956" y="3523"/>
                  </a:lnTo>
                  <a:lnTo>
                    <a:pt x="960" y="3538"/>
                  </a:lnTo>
                  <a:lnTo>
                    <a:pt x="963" y="3553"/>
                  </a:lnTo>
                  <a:lnTo>
                    <a:pt x="964" y="3569"/>
                  </a:lnTo>
                  <a:lnTo>
                    <a:pt x="965" y="3585"/>
                  </a:lnTo>
                  <a:lnTo>
                    <a:pt x="965" y="3600"/>
                  </a:lnTo>
                  <a:lnTo>
                    <a:pt x="963" y="3616"/>
                  </a:lnTo>
                  <a:lnTo>
                    <a:pt x="960" y="3632"/>
                  </a:lnTo>
                  <a:lnTo>
                    <a:pt x="957" y="3647"/>
                  </a:lnTo>
                  <a:lnTo>
                    <a:pt x="952" y="3661"/>
                  </a:lnTo>
                  <a:lnTo>
                    <a:pt x="947" y="3676"/>
                  </a:lnTo>
                  <a:lnTo>
                    <a:pt x="940" y="3689"/>
                  </a:lnTo>
                  <a:lnTo>
                    <a:pt x="932" y="3702"/>
                  </a:lnTo>
                  <a:lnTo>
                    <a:pt x="924" y="3714"/>
                  </a:lnTo>
                  <a:lnTo>
                    <a:pt x="664" y="4036"/>
                  </a:lnTo>
                  <a:lnTo>
                    <a:pt x="664" y="4036"/>
                  </a:lnTo>
                  <a:lnTo>
                    <a:pt x="656" y="4048"/>
                  </a:lnTo>
                  <a:lnTo>
                    <a:pt x="649" y="4060"/>
                  </a:lnTo>
                  <a:lnTo>
                    <a:pt x="643" y="4073"/>
                  </a:lnTo>
                  <a:lnTo>
                    <a:pt x="639" y="4086"/>
                  </a:lnTo>
                  <a:lnTo>
                    <a:pt x="636" y="4100"/>
                  </a:lnTo>
                  <a:lnTo>
                    <a:pt x="634" y="4113"/>
                  </a:lnTo>
                  <a:lnTo>
                    <a:pt x="633" y="4127"/>
                  </a:lnTo>
                  <a:lnTo>
                    <a:pt x="634" y="4141"/>
                  </a:lnTo>
                  <a:lnTo>
                    <a:pt x="636" y="4154"/>
                  </a:lnTo>
                  <a:lnTo>
                    <a:pt x="640" y="4167"/>
                  </a:lnTo>
                  <a:lnTo>
                    <a:pt x="644" y="4180"/>
                  </a:lnTo>
                  <a:lnTo>
                    <a:pt x="650" y="4192"/>
                  </a:lnTo>
                  <a:lnTo>
                    <a:pt x="657" y="4204"/>
                  </a:lnTo>
                  <a:lnTo>
                    <a:pt x="666" y="4216"/>
                  </a:lnTo>
                  <a:lnTo>
                    <a:pt x="675" y="4226"/>
                  </a:lnTo>
                  <a:lnTo>
                    <a:pt x="686" y="4236"/>
                  </a:lnTo>
                  <a:lnTo>
                    <a:pt x="1172" y="4626"/>
                  </a:lnTo>
                  <a:lnTo>
                    <a:pt x="1172" y="4626"/>
                  </a:lnTo>
                  <a:lnTo>
                    <a:pt x="1183" y="4634"/>
                  </a:lnTo>
                  <a:lnTo>
                    <a:pt x="1196" y="4642"/>
                  </a:lnTo>
                  <a:lnTo>
                    <a:pt x="1208" y="4647"/>
                  </a:lnTo>
                  <a:lnTo>
                    <a:pt x="1221" y="4652"/>
                  </a:lnTo>
                  <a:lnTo>
                    <a:pt x="1235" y="4655"/>
                  </a:lnTo>
                  <a:lnTo>
                    <a:pt x="1248" y="4657"/>
                  </a:lnTo>
                  <a:lnTo>
                    <a:pt x="1262" y="4657"/>
                  </a:lnTo>
                  <a:lnTo>
                    <a:pt x="1276" y="4656"/>
                  </a:lnTo>
                  <a:lnTo>
                    <a:pt x="1289" y="4654"/>
                  </a:lnTo>
                  <a:lnTo>
                    <a:pt x="1302" y="4651"/>
                  </a:lnTo>
                  <a:lnTo>
                    <a:pt x="1315" y="4646"/>
                  </a:lnTo>
                  <a:lnTo>
                    <a:pt x="1328" y="4640"/>
                  </a:lnTo>
                  <a:lnTo>
                    <a:pt x="1339" y="4633"/>
                  </a:lnTo>
                  <a:lnTo>
                    <a:pt x="1351" y="4625"/>
                  </a:lnTo>
                  <a:lnTo>
                    <a:pt x="1361" y="4615"/>
                  </a:lnTo>
                  <a:lnTo>
                    <a:pt x="1371" y="4604"/>
                  </a:lnTo>
                  <a:lnTo>
                    <a:pt x="1630" y="4283"/>
                  </a:lnTo>
                  <a:lnTo>
                    <a:pt x="1630" y="4283"/>
                  </a:lnTo>
                  <a:lnTo>
                    <a:pt x="1639" y="4272"/>
                  </a:lnTo>
                  <a:lnTo>
                    <a:pt x="1650" y="4262"/>
                  </a:lnTo>
                  <a:lnTo>
                    <a:pt x="1662" y="4252"/>
                  </a:lnTo>
                  <a:lnTo>
                    <a:pt x="1675" y="4244"/>
                  </a:lnTo>
                  <a:lnTo>
                    <a:pt x="1688" y="4236"/>
                  </a:lnTo>
                  <a:lnTo>
                    <a:pt x="1702" y="4229"/>
                  </a:lnTo>
                  <a:lnTo>
                    <a:pt x="1717" y="4223"/>
                  </a:lnTo>
                  <a:lnTo>
                    <a:pt x="1732" y="4219"/>
                  </a:lnTo>
                  <a:lnTo>
                    <a:pt x="1747" y="4215"/>
                  </a:lnTo>
                  <a:lnTo>
                    <a:pt x="1762" y="4212"/>
                  </a:lnTo>
                  <a:lnTo>
                    <a:pt x="1778" y="4210"/>
                  </a:lnTo>
                  <a:lnTo>
                    <a:pt x="1793" y="4210"/>
                  </a:lnTo>
                  <a:lnTo>
                    <a:pt x="1809" y="4210"/>
                  </a:lnTo>
                  <a:lnTo>
                    <a:pt x="1824" y="4212"/>
                  </a:lnTo>
                  <a:lnTo>
                    <a:pt x="1838" y="4215"/>
                  </a:lnTo>
                  <a:lnTo>
                    <a:pt x="1852" y="4219"/>
                  </a:lnTo>
                  <a:lnTo>
                    <a:pt x="2295" y="4319"/>
                  </a:lnTo>
                  <a:lnTo>
                    <a:pt x="2295" y="4319"/>
                  </a:lnTo>
                  <a:lnTo>
                    <a:pt x="2309" y="4322"/>
                  </a:lnTo>
                  <a:lnTo>
                    <a:pt x="2324" y="4326"/>
                  </a:lnTo>
                  <a:lnTo>
                    <a:pt x="2338" y="4331"/>
                  </a:lnTo>
                  <a:lnTo>
                    <a:pt x="2352" y="4337"/>
                  </a:lnTo>
                  <a:lnTo>
                    <a:pt x="2366" y="4345"/>
                  </a:lnTo>
                  <a:lnTo>
                    <a:pt x="2379" y="4353"/>
                  </a:lnTo>
                  <a:lnTo>
                    <a:pt x="2391" y="4363"/>
                  </a:lnTo>
                  <a:lnTo>
                    <a:pt x="2403" y="4373"/>
                  </a:lnTo>
                  <a:lnTo>
                    <a:pt x="2415" y="4384"/>
                  </a:lnTo>
                  <a:lnTo>
                    <a:pt x="2425" y="4396"/>
                  </a:lnTo>
                  <a:lnTo>
                    <a:pt x="2435" y="4408"/>
                  </a:lnTo>
                  <a:lnTo>
                    <a:pt x="2443" y="4421"/>
                  </a:lnTo>
                  <a:lnTo>
                    <a:pt x="2451" y="4434"/>
                  </a:lnTo>
                  <a:lnTo>
                    <a:pt x="2457" y="4448"/>
                  </a:lnTo>
                  <a:lnTo>
                    <a:pt x="2464" y="4462"/>
                  </a:lnTo>
                  <a:lnTo>
                    <a:pt x="2468" y="4476"/>
                  </a:lnTo>
                  <a:lnTo>
                    <a:pt x="2558" y="4880"/>
                  </a:lnTo>
                  <a:lnTo>
                    <a:pt x="2558" y="4880"/>
                  </a:lnTo>
                  <a:lnTo>
                    <a:pt x="2562" y="4894"/>
                  </a:lnTo>
                  <a:lnTo>
                    <a:pt x="2567" y="4907"/>
                  </a:lnTo>
                  <a:lnTo>
                    <a:pt x="2574" y="4919"/>
                  </a:lnTo>
                  <a:lnTo>
                    <a:pt x="2581" y="4931"/>
                  </a:lnTo>
                  <a:lnTo>
                    <a:pt x="2590" y="4942"/>
                  </a:lnTo>
                  <a:lnTo>
                    <a:pt x="2600" y="4952"/>
                  </a:lnTo>
                  <a:lnTo>
                    <a:pt x="2610" y="4960"/>
                  </a:lnTo>
                  <a:lnTo>
                    <a:pt x="2621" y="4968"/>
                  </a:lnTo>
                  <a:lnTo>
                    <a:pt x="2633" y="4975"/>
                  </a:lnTo>
                  <a:lnTo>
                    <a:pt x="2645" y="4981"/>
                  </a:lnTo>
                  <a:lnTo>
                    <a:pt x="2658" y="4985"/>
                  </a:lnTo>
                  <a:lnTo>
                    <a:pt x="2672" y="4988"/>
                  </a:lnTo>
                  <a:lnTo>
                    <a:pt x="2685" y="4990"/>
                  </a:lnTo>
                  <a:lnTo>
                    <a:pt x="2699" y="4990"/>
                  </a:lnTo>
                  <a:lnTo>
                    <a:pt x="2714" y="4989"/>
                  </a:lnTo>
                  <a:lnTo>
                    <a:pt x="2728" y="4987"/>
                  </a:lnTo>
                  <a:lnTo>
                    <a:pt x="3336" y="4850"/>
                  </a:lnTo>
                  <a:lnTo>
                    <a:pt x="3336" y="4850"/>
                  </a:lnTo>
                  <a:lnTo>
                    <a:pt x="3350" y="4846"/>
                  </a:lnTo>
                  <a:lnTo>
                    <a:pt x="3363" y="4841"/>
                  </a:lnTo>
                  <a:lnTo>
                    <a:pt x="3376" y="4835"/>
                  </a:lnTo>
                  <a:lnTo>
                    <a:pt x="3387" y="4827"/>
                  </a:lnTo>
                  <a:lnTo>
                    <a:pt x="3398" y="4819"/>
                  </a:lnTo>
                  <a:lnTo>
                    <a:pt x="3408" y="4809"/>
                  </a:lnTo>
                  <a:lnTo>
                    <a:pt x="3417" y="4799"/>
                  </a:lnTo>
                  <a:lnTo>
                    <a:pt x="3425" y="4787"/>
                  </a:lnTo>
                  <a:lnTo>
                    <a:pt x="3431" y="4776"/>
                  </a:lnTo>
                  <a:lnTo>
                    <a:pt x="3437" y="4763"/>
                  </a:lnTo>
                  <a:lnTo>
                    <a:pt x="3441" y="4750"/>
                  </a:lnTo>
                  <a:lnTo>
                    <a:pt x="3444" y="4737"/>
                  </a:lnTo>
                  <a:lnTo>
                    <a:pt x="3446" y="4723"/>
                  </a:lnTo>
                  <a:lnTo>
                    <a:pt x="3447" y="4709"/>
                  </a:lnTo>
                  <a:lnTo>
                    <a:pt x="3446" y="4695"/>
                  </a:lnTo>
                  <a:lnTo>
                    <a:pt x="3443" y="4681"/>
                  </a:lnTo>
                  <a:lnTo>
                    <a:pt x="3352" y="4278"/>
                  </a:lnTo>
                  <a:lnTo>
                    <a:pt x="3352" y="4278"/>
                  </a:lnTo>
                  <a:lnTo>
                    <a:pt x="3350" y="4263"/>
                  </a:lnTo>
                  <a:lnTo>
                    <a:pt x="3349" y="4248"/>
                  </a:lnTo>
                  <a:lnTo>
                    <a:pt x="3349" y="4233"/>
                  </a:lnTo>
                  <a:lnTo>
                    <a:pt x="3350" y="4218"/>
                  </a:lnTo>
                  <a:lnTo>
                    <a:pt x="3352" y="4203"/>
                  </a:lnTo>
                  <a:lnTo>
                    <a:pt x="3356" y="4187"/>
                  </a:lnTo>
                  <a:lnTo>
                    <a:pt x="3360" y="4172"/>
                  </a:lnTo>
                  <a:lnTo>
                    <a:pt x="3366" y="4158"/>
                  </a:lnTo>
                  <a:lnTo>
                    <a:pt x="3372" y="4143"/>
                  </a:lnTo>
                  <a:lnTo>
                    <a:pt x="3379" y="4129"/>
                  </a:lnTo>
                  <a:lnTo>
                    <a:pt x="3388" y="4116"/>
                  </a:lnTo>
                  <a:lnTo>
                    <a:pt x="3397" y="4103"/>
                  </a:lnTo>
                  <a:lnTo>
                    <a:pt x="3407" y="4092"/>
                  </a:lnTo>
                  <a:lnTo>
                    <a:pt x="3417" y="4081"/>
                  </a:lnTo>
                  <a:lnTo>
                    <a:pt x="3429" y="4071"/>
                  </a:lnTo>
                  <a:lnTo>
                    <a:pt x="3441" y="4063"/>
                  </a:lnTo>
                  <a:lnTo>
                    <a:pt x="3795" y="3783"/>
                  </a:lnTo>
                  <a:lnTo>
                    <a:pt x="3795" y="3783"/>
                  </a:lnTo>
                  <a:lnTo>
                    <a:pt x="3806" y="3773"/>
                  </a:lnTo>
                  <a:lnTo>
                    <a:pt x="3818" y="3764"/>
                  </a:lnTo>
                  <a:lnTo>
                    <a:pt x="3831" y="3756"/>
                  </a:lnTo>
                  <a:lnTo>
                    <a:pt x="3845" y="3749"/>
                  </a:lnTo>
                  <a:lnTo>
                    <a:pt x="3859" y="3743"/>
                  </a:lnTo>
                  <a:lnTo>
                    <a:pt x="3874" y="3738"/>
                  </a:lnTo>
                  <a:lnTo>
                    <a:pt x="3889" y="3734"/>
                  </a:lnTo>
                  <a:lnTo>
                    <a:pt x="3905" y="3731"/>
                  </a:lnTo>
                  <a:lnTo>
                    <a:pt x="3920" y="3729"/>
                  </a:lnTo>
                  <a:lnTo>
                    <a:pt x="3936" y="3728"/>
                  </a:lnTo>
                  <a:lnTo>
                    <a:pt x="3952" y="3728"/>
                  </a:lnTo>
                  <a:lnTo>
                    <a:pt x="3967" y="3730"/>
                  </a:lnTo>
                  <a:lnTo>
                    <a:pt x="3982" y="3732"/>
                  </a:lnTo>
                  <a:lnTo>
                    <a:pt x="3997" y="3735"/>
                  </a:lnTo>
                  <a:lnTo>
                    <a:pt x="4011" y="3740"/>
                  </a:lnTo>
                  <a:lnTo>
                    <a:pt x="4024" y="3746"/>
                  </a:lnTo>
                  <a:lnTo>
                    <a:pt x="4396" y="3926"/>
                  </a:lnTo>
                  <a:lnTo>
                    <a:pt x="4396" y="3926"/>
                  </a:lnTo>
                  <a:lnTo>
                    <a:pt x="4409" y="3932"/>
                  </a:lnTo>
                  <a:lnTo>
                    <a:pt x="4423" y="3936"/>
                  </a:lnTo>
                  <a:lnTo>
                    <a:pt x="4436" y="3939"/>
                  </a:lnTo>
                  <a:lnTo>
                    <a:pt x="4450" y="3940"/>
                  </a:lnTo>
                  <a:lnTo>
                    <a:pt x="4464" y="3940"/>
                  </a:lnTo>
                  <a:lnTo>
                    <a:pt x="4477" y="3939"/>
                  </a:lnTo>
                  <a:lnTo>
                    <a:pt x="4491" y="3936"/>
                  </a:lnTo>
                  <a:lnTo>
                    <a:pt x="4504" y="3932"/>
                  </a:lnTo>
                  <a:lnTo>
                    <a:pt x="4516" y="3927"/>
                  </a:lnTo>
                  <a:lnTo>
                    <a:pt x="4529" y="3921"/>
                  </a:lnTo>
                  <a:lnTo>
                    <a:pt x="4540" y="3914"/>
                  </a:lnTo>
                  <a:lnTo>
                    <a:pt x="4551" y="3905"/>
                  </a:lnTo>
                  <a:lnTo>
                    <a:pt x="4561" y="3896"/>
                  </a:lnTo>
                  <a:lnTo>
                    <a:pt x="4570" y="3885"/>
                  </a:lnTo>
                  <a:lnTo>
                    <a:pt x="4578" y="3873"/>
                  </a:lnTo>
                  <a:lnTo>
                    <a:pt x="4585" y="3860"/>
                  </a:lnTo>
                  <a:lnTo>
                    <a:pt x="4857" y="3300"/>
                  </a:lnTo>
                  <a:lnTo>
                    <a:pt x="4857" y="3300"/>
                  </a:lnTo>
                  <a:lnTo>
                    <a:pt x="4863" y="3286"/>
                  </a:lnTo>
                  <a:lnTo>
                    <a:pt x="4867" y="3273"/>
                  </a:lnTo>
                  <a:lnTo>
                    <a:pt x="4870" y="3259"/>
                  </a:lnTo>
                  <a:lnTo>
                    <a:pt x="4871" y="3245"/>
                  </a:lnTo>
                  <a:lnTo>
                    <a:pt x="4872" y="3231"/>
                  </a:lnTo>
                  <a:lnTo>
                    <a:pt x="4870" y="3218"/>
                  </a:lnTo>
                  <a:lnTo>
                    <a:pt x="4868" y="3204"/>
                  </a:lnTo>
                  <a:lnTo>
                    <a:pt x="4864" y="3191"/>
                  </a:lnTo>
                  <a:lnTo>
                    <a:pt x="4859" y="3179"/>
                  </a:lnTo>
                  <a:lnTo>
                    <a:pt x="4853" y="3167"/>
                  </a:lnTo>
                  <a:lnTo>
                    <a:pt x="4845" y="3155"/>
                  </a:lnTo>
                  <a:lnTo>
                    <a:pt x="4837" y="3144"/>
                  </a:lnTo>
                  <a:lnTo>
                    <a:pt x="4827" y="3134"/>
                  </a:lnTo>
                  <a:lnTo>
                    <a:pt x="4816" y="3125"/>
                  </a:lnTo>
                  <a:lnTo>
                    <a:pt x="4805" y="3117"/>
                  </a:lnTo>
                  <a:lnTo>
                    <a:pt x="4792" y="3110"/>
                  </a:lnTo>
                  <a:lnTo>
                    <a:pt x="4421" y="2930"/>
                  </a:lnTo>
                  <a:lnTo>
                    <a:pt x="4421" y="2930"/>
                  </a:lnTo>
                  <a:lnTo>
                    <a:pt x="4408" y="2923"/>
                  </a:lnTo>
                  <a:lnTo>
                    <a:pt x="4396" y="2915"/>
                  </a:lnTo>
                  <a:lnTo>
                    <a:pt x="4384" y="2905"/>
                  </a:lnTo>
                  <a:lnTo>
                    <a:pt x="4373" y="2895"/>
                  </a:lnTo>
                  <a:lnTo>
                    <a:pt x="4363" y="2884"/>
                  </a:lnTo>
                  <a:lnTo>
                    <a:pt x="4354" y="2872"/>
                  </a:lnTo>
                  <a:lnTo>
                    <a:pt x="4345" y="2859"/>
                  </a:lnTo>
                  <a:lnTo>
                    <a:pt x="4338" y="2845"/>
                  </a:lnTo>
                  <a:lnTo>
                    <a:pt x="4331" y="2831"/>
                  </a:lnTo>
                  <a:lnTo>
                    <a:pt x="4325" y="2817"/>
                  </a:lnTo>
                  <a:lnTo>
                    <a:pt x="4321" y="2802"/>
                  </a:lnTo>
                  <a:lnTo>
                    <a:pt x="4317" y="2787"/>
                  </a:lnTo>
                  <a:lnTo>
                    <a:pt x="4315" y="2772"/>
                  </a:lnTo>
                  <a:lnTo>
                    <a:pt x="4314" y="2758"/>
                  </a:lnTo>
                  <a:lnTo>
                    <a:pt x="4314" y="2743"/>
                  </a:lnTo>
                  <a:lnTo>
                    <a:pt x="4316" y="2728"/>
                  </a:lnTo>
                  <a:lnTo>
                    <a:pt x="4316" y="2728"/>
                  </a:lnTo>
                  <a:lnTo>
                    <a:pt x="4318" y="2710"/>
                  </a:lnTo>
                  <a:lnTo>
                    <a:pt x="4323" y="2662"/>
                  </a:lnTo>
                  <a:lnTo>
                    <a:pt x="4326" y="2629"/>
                  </a:lnTo>
                  <a:lnTo>
                    <a:pt x="4329" y="2590"/>
                  </a:lnTo>
                  <a:lnTo>
                    <a:pt x="4331" y="2548"/>
                  </a:lnTo>
                  <a:lnTo>
                    <a:pt x="4332" y="2502"/>
                  </a:lnTo>
                  <a:lnTo>
                    <a:pt x="4332" y="2502"/>
                  </a:lnTo>
                  <a:close/>
                  <a:moveTo>
                    <a:pt x="3788" y="2500"/>
                  </a:moveTo>
                  <a:lnTo>
                    <a:pt x="3788" y="2500"/>
                  </a:lnTo>
                  <a:lnTo>
                    <a:pt x="3787" y="2533"/>
                  </a:lnTo>
                  <a:lnTo>
                    <a:pt x="3786" y="2567"/>
                  </a:lnTo>
                  <a:lnTo>
                    <a:pt x="3784" y="2600"/>
                  </a:lnTo>
                  <a:lnTo>
                    <a:pt x="3780" y="2633"/>
                  </a:lnTo>
                  <a:lnTo>
                    <a:pt x="3777" y="2666"/>
                  </a:lnTo>
                  <a:lnTo>
                    <a:pt x="3772" y="2698"/>
                  </a:lnTo>
                  <a:lnTo>
                    <a:pt x="3767" y="2730"/>
                  </a:lnTo>
                  <a:lnTo>
                    <a:pt x="3760" y="2762"/>
                  </a:lnTo>
                  <a:lnTo>
                    <a:pt x="3753" y="2794"/>
                  </a:lnTo>
                  <a:lnTo>
                    <a:pt x="3746" y="2825"/>
                  </a:lnTo>
                  <a:lnTo>
                    <a:pt x="3737" y="2856"/>
                  </a:lnTo>
                  <a:lnTo>
                    <a:pt x="3728" y="2887"/>
                  </a:lnTo>
                  <a:lnTo>
                    <a:pt x="3718" y="2917"/>
                  </a:lnTo>
                  <a:lnTo>
                    <a:pt x="3707" y="2947"/>
                  </a:lnTo>
                  <a:lnTo>
                    <a:pt x="3696" y="2977"/>
                  </a:lnTo>
                  <a:lnTo>
                    <a:pt x="3684" y="3006"/>
                  </a:lnTo>
                  <a:lnTo>
                    <a:pt x="3671" y="3035"/>
                  </a:lnTo>
                  <a:lnTo>
                    <a:pt x="3657" y="3064"/>
                  </a:lnTo>
                  <a:lnTo>
                    <a:pt x="3643" y="3092"/>
                  </a:lnTo>
                  <a:lnTo>
                    <a:pt x="3628" y="3120"/>
                  </a:lnTo>
                  <a:lnTo>
                    <a:pt x="3613" y="3147"/>
                  </a:lnTo>
                  <a:lnTo>
                    <a:pt x="3597" y="3174"/>
                  </a:lnTo>
                  <a:lnTo>
                    <a:pt x="3580" y="3201"/>
                  </a:lnTo>
                  <a:lnTo>
                    <a:pt x="3563" y="3227"/>
                  </a:lnTo>
                  <a:lnTo>
                    <a:pt x="3545" y="3252"/>
                  </a:lnTo>
                  <a:lnTo>
                    <a:pt x="3526" y="3278"/>
                  </a:lnTo>
                  <a:lnTo>
                    <a:pt x="3507" y="3302"/>
                  </a:lnTo>
                  <a:lnTo>
                    <a:pt x="3487" y="3327"/>
                  </a:lnTo>
                  <a:lnTo>
                    <a:pt x="3467" y="3350"/>
                  </a:lnTo>
                  <a:lnTo>
                    <a:pt x="3446" y="3374"/>
                  </a:lnTo>
                  <a:lnTo>
                    <a:pt x="3425" y="3396"/>
                  </a:lnTo>
                  <a:lnTo>
                    <a:pt x="3403" y="3419"/>
                  </a:lnTo>
                  <a:lnTo>
                    <a:pt x="3381" y="3440"/>
                  </a:lnTo>
                  <a:lnTo>
                    <a:pt x="3358" y="3462"/>
                  </a:lnTo>
                  <a:lnTo>
                    <a:pt x="3334" y="3482"/>
                  </a:lnTo>
                  <a:lnTo>
                    <a:pt x="3310" y="3502"/>
                  </a:lnTo>
                  <a:lnTo>
                    <a:pt x="3286" y="3522"/>
                  </a:lnTo>
                  <a:lnTo>
                    <a:pt x="3261" y="3541"/>
                  </a:lnTo>
                  <a:lnTo>
                    <a:pt x="3236" y="3559"/>
                  </a:lnTo>
                  <a:lnTo>
                    <a:pt x="3210" y="3577"/>
                  </a:lnTo>
                  <a:lnTo>
                    <a:pt x="3184" y="3594"/>
                  </a:lnTo>
                  <a:lnTo>
                    <a:pt x="3157" y="3611"/>
                  </a:lnTo>
                  <a:lnTo>
                    <a:pt x="3130" y="3626"/>
                  </a:lnTo>
                  <a:lnTo>
                    <a:pt x="3102" y="3642"/>
                  </a:lnTo>
                  <a:lnTo>
                    <a:pt x="3074" y="3656"/>
                  </a:lnTo>
                  <a:lnTo>
                    <a:pt x="3046" y="3670"/>
                  </a:lnTo>
                  <a:lnTo>
                    <a:pt x="3017" y="3683"/>
                  </a:lnTo>
                  <a:lnTo>
                    <a:pt x="2988" y="3696"/>
                  </a:lnTo>
                  <a:lnTo>
                    <a:pt x="2959" y="3708"/>
                  </a:lnTo>
                  <a:lnTo>
                    <a:pt x="2929" y="3719"/>
                  </a:lnTo>
                  <a:lnTo>
                    <a:pt x="2899" y="3730"/>
                  </a:lnTo>
                  <a:lnTo>
                    <a:pt x="2868" y="3739"/>
                  </a:lnTo>
                  <a:lnTo>
                    <a:pt x="2838" y="3748"/>
                  </a:lnTo>
                  <a:lnTo>
                    <a:pt x="2807" y="3757"/>
                  </a:lnTo>
                  <a:lnTo>
                    <a:pt x="2775" y="3764"/>
                  </a:lnTo>
                  <a:lnTo>
                    <a:pt x="2744" y="3771"/>
                  </a:lnTo>
                  <a:lnTo>
                    <a:pt x="2712" y="3777"/>
                  </a:lnTo>
                  <a:lnTo>
                    <a:pt x="2679" y="3782"/>
                  </a:lnTo>
                  <a:lnTo>
                    <a:pt x="2647" y="3787"/>
                  </a:lnTo>
                  <a:lnTo>
                    <a:pt x="2614" y="3790"/>
                  </a:lnTo>
                  <a:lnTo>
                    <a:pt x="2581" y="3793"/>
                  </a:lnTo>
                  <a:lnTo>
                    <a:pt x="2548" y="3795"/>
                  </a:lnTo>
                  <a:lnTo>
                    <a:pt x="2515" y="3796"/>
                  </a:lnTo>
                  <a:lnTo>
                    <a:pt x="2481" y="3796"/>
                  </a:lnTo>
                  <a:lnTo>
                    <a:pt x="2481" y="3796"/>
                  </a:lnTo>
                  <a:lnTo>
                    <a:pt x="2446" y="3796"/>
                  </a:lnTo>
                  <a:lnTo>
                    <a:pt x="2413" y="3794"/>
                  </a:lnTo>
                  <a:lnTo>
                    <a:pt x="2380" y="3792"/>
                  </a:lnTo>
                  <a:lnTo>
                    <a:pt x="2347" y="3789"/>
                  </a:lnTo>
                  <a:lnTo>
                    <a:pt x="2314" y="3785"/>
                  </a:lnTo>
                  <a:lnTo>
                    <a:pt x="2282" y="3781"/>
                  </a:lnTo>
                  <a:lnTo>
                    <a:pt x="2250" y="3775"/>
                  </a:lnTo>
                  <a:lnTo>
                    <a:pt x="2218" y="3769"/>
                  </a:lnTo>
                  <a:lnTo>
                    <a:pt x="2186" y="3762"/>
                  </a:lnTo>
                  <a:lnTo>
                    <a:pt x="2155" y="3754"/>
                  </a:lnTo>
                  <a:lnTo>
                    <a:pt x="2124" y="3746"/>
                  </a:lnTo>
                  <a:lnTo>
                    <a:pt x="2093" y="3736"/>
                  </a:lnTo>
                  <a:lnTo>
                    <a:pt x="2063" y="3726"/>
                  </a:lnTo>
                  <a:lnTo>
                    <a:pt x="2033" y="3716"/>
                  </a:lnTo>
                  <a:lnTo>
                    <a:pt x="2003" y="3704"/>
                  </a:lnTo>
                  <a:lnTo>
                    <a:pt x="1974" y="3692"/>
                  </a:lnTo>
                  <a:lnTo>
                    <a:pt x="1945" y="3679"/>
                  </a:lnTo>
                  <a:lnTo>
                    <a:pt x="1916" y="3666"/>
                  </a:lnTo>
                  <a:lnTo>
                    <a:pt x="1888" y="3652"/>
                  </a:lnTo>
                  <a:lnTo>
                    <a:pt x="1860" y="3637"/>
                  </a:lnTo>
                  <a:lnTo>
                    <a:pt x="1833" y="3621"/>
                  </a:lnTo>
                  <a:lnTo>
                    <a:pt x="1806" y="3605"/>
                  </a:lnTo>
                  <a:lnTo>
                    <a:pt x="1779" y="3589"/>
                  </a:lnTo>
                  <a:lnTo>
                    <a:pt x="1753" y="3571"/>
                  </a:lnTo>
                  <a:lnTo>
                    <a:pt x="1728" y="3553"/>
                  </a:lnTo>
                  <a:lnTo>
                    <a:pt x="1702" y="3535"/>
                  </a:lnTo>
                  <a:lnTo>
                    <a:pt x="1678" y="3516"/>
                  </a:lnTo>
                  <a:lnTo>
                    <a:pt x="1653" y="3496"/>
                  </a:lnTo>
                  <a:lnTo>
                    <a:pt x="1630" y="3476"/>
                  </a:lnTo>
                  <a:lnTo>
                    <a:pt x="1606" y="3455"/>
                  </a:lnTo>
                  <a:lnTo>
                    <a:pt x="1584" y="3433"/>
                  </a:lnTo>
                  <a:lnTo>
                    <a:pt x="1561" y="3412"/>
                  </a:lnTo>
                  <a:lnTo>
                    <a:pt x="1540" y="3389"/>
                  </a:lnTo>
                  <a:lnTo>
                    <a:pt x="1518" y="3366"/>
                  </a:lnTo>
                  <a:lnTo>
                    <a:pt x="1498" y="3343"/>
                  </a:lnTo>
                  <a:lnTo>
                    <a:pt x="1478" y="3319"/>
                  </a:lnTo>
                  <a:lnTo>
                    <a:pt x="1458" y="3294"/>
                  </a:lnTo>
                  <a:lnTo>
                    <a:pt x="1439" y="3269"/>
                  </a:lnTo>
                  <a:lnTo>
                    <a:pt x="1421" y="3244"/>
                  </a:lnTo>
                  <a:lnTo>
                    <a:pt x="1403" y="3218"/>
                  </a:lnTo>
                  <a:lnTo>
                    <a:pt x="1386" y="3192"/>
                  </a:lnTo>
                  <a:lnTo>
                    <a:pt x="1370" y="3165"/>
                  </a:lnTo>
                  <a:lnTo>
                    <a:pt x="1354" y="3138"/>
                  </a:lnTo>
                  <a:lnTo>
                    <a:pt x="1338" y="3111"/>
                  </a:lnTo>
                  <a:lnTo>
                    <a:pt x="1324" y="3083"/>
                  </a:lnTo>
                  <a:lnTo>
                    <a:pt x="1310" y="3054"/>
                  </a:lnTo>
                  <a:lnTo>
                    <a:pt x="1297" y="3026"/>
                  </a:lnTo>
                  <a:lnTo>
                    <a:pt x="1284" y="2997"/>
                  </a:lnTo>
                  <a:lnTo>
                    <a:pt x="1272" y="2967"/>
                  </a:lnTo>
                  <a:lnTo>
                    <a:pt x="1261" y="2937"/>
                  </a:lnTo>
                  <a:lnTo>
                    <a:pt x="1250" y="2907"/>
                  </a:lnTo>
                  <a:lnTo>
                    <a:pt x="1241" y="2877"/>
                  </a:lnTo>
                  <a:lnTo>
                    <a:pt x="1232" y="2846"/>
                  </a:lnTo>
                  <a:lnTo>
                    <a:pt x="1223" y="2815"/>
                  </a:lnTo>
                  <a:lnTo>
                    <a:pt x="1216" y="2784"/>
                  </a:lnTo>
                  <a:lnTo>
                    <a:pt x="1209" y="2752"/>
                  </a:lnTo>
                  <a:lnTo>
                    <a:pt x="1203" y="2720"/>
                  </a:lnTo>
                  <a:lnTo>
                    <a:pt x="1198" y="2688"/>
                  </a:lnTo>
                  <a:lnTo>
                    <a:pt x="1194" y="2655"/>
                  </a:lnTo>
                  <a:lnTo>
                    <a:pt x="1190" y="2623"/>
                  </a:lnTo>
                  <a:lnTo>
                    <a:pt x="1187" y="2590"/>
                  </a:lnTo>
                  <a:lnTo>
                    <a:pt x="1185" y="2557"/>
                  </a:lnTo>
                  <a:lnTo>
                    <a:pt x="1184" y="2523"/>
                  </a:lnTo>
                  <a:lnTo>
                    <a:pt x="1184" y="2490"/>
                  </a:lnTo>
                  <a:lnTo>
                    <a:pt x="1184" y="2490"/>
                  </a:lnTo>
                  <a:lnTo>
                    <a:pt x="1184" y="2455"/>
                  </a:lnTo>
                  <a:lnTo>
                    <a:pt x="1186" y="2422"/>
                  </a:lnTo>
                  <a:lnTo>
                    <a:pt x="1188" y="2388"/>
                  </a:lnTo>
                  <a:lnTo>
                    <a:pt x="1191" y="2356"/>
                  </a:lnTo>
                  <a:lnTo>
                    <a:pt x="1195" y="2323"/>
                  </a:lnTo>
                  <a:lnTo>
                    <a:pt x="1199" y="2290"/>
                  </a:lnTo>
                  <a:lnTo>
                    <a:pt x="1205" y="2258"/>
                  </a:lnTo>
                  <a:lnTo>
                    <a:pt x="1211" y="2226"/>
                  </a:lnTo>
                  <a:lnTo>
                    <a:pt x="1218" y="2195"/>
                  </a:lnTo>
                  <a:lnTo>
                    <a:pt x="1226" y="2163"/>
                  </a:lnTo>
                  <a:lnTo>
                    <a:pt x="1234" y="2132"/>
                  </a:lnTo>
                  <a:lnTo>
                    <a:pt x="1244" y="2102"/>
                  </a:lnTo>
                  <a:lnTo>
                    <a:pt x="1254" y="2071"/>
                  </a:lnTo>
                  <a:lnTo>
                    <a:pt x="1264" y="2041"/>
                  </a:lnTo>
                  <a:lnTo>
                    <a:pt x="1276" y="2012"/>
                  </a:lnTo>
                  <a:lnTo>
                    <a:pt x="1288" y="1982"/>
                  </a:lnTo>
                  <a:lnTo>
                    <a:pt x="1301" y="1953"/>
                  </a:lnTo>
                  <a:lnTo>
                    <a:pt x="1314" y="1925"/>
                  </a:lnTo>
                  <a:lnTo>
                    <a:pt x="1328" y="1897"/>
                  </a:lnTo>
                  <a:lnTo>
                    <a:pt x="1343" y="1869"/>
                  </a:lnTo>
                  <a:lnTo>
                    <a:pt x="1359" y="1841"/>
                  </a:lnTo>
                  <a:lnTo>
                    <a:pt x="1375" y="1814"/>
                  </a:lnTo>
                  <a:lnTo>
                    <a:pt x="1391" y="1788"/>
                  </a:lnTo>
                  <a:lnTo>
                    <a:pt x="1409" y="1762"/>
                  </a:lnTo>
                  <a:lnTo>
                    <a:pt x="1427" y="1736"/>
                  </a:lnTo>
                  <a:lnTo>
                    <a:pt x="1445" y="1711"/>
                  </a:lnTo>
                  <a:lnTo>
                    <a:pt x="1464" y="1686"/>
                  </a:lnTo>
                  <a:lnTo>
                    <a:pt x="1484" y="1662"/>
                  </a:lnTo>
                  <a:lnTo>
                    <a:pt x="1504" y="1638"/>
                  </a:lnTo>
                  <a:lnTo>
                    <a:pt x="1525" y="1615"/>
                  </a:lnTo>
                  <a:lnTo>
                    <a:pt x="1547" y="1592"/>
                  </a:lnTo>
                  <a:lnTo>
                    <a:pt x="1569" y="1570"/>
                  </a:lnTo>
                  <a:lnTo>
                    <a:pt x="1591" y="1548"/>
                  </a:lnTo>
                  <a:lnTo>
                    <a:pt x="1614" y="1527"/>
                  </a:lnTo>
                  <a:lnTo>
                    <a:pt x="1637" y="1506"/>
                  </a:lnTo>
                  <a:lnTo>
                    <a:pt x="1661" y="1486"/>
                  </a:lnTo>
                  <a:lnTo>
                    <a:pt x="1686" y="1467"/>
                  </a:lnTo>
                  <a:lnTo>
                    <a:pt x="1711" y="1448"/>
                  </a:lnTo>
                  <a:lnTo>
                    <a:pt x="1736" y="1429"/>
                  </a:lnTo>
                  <a:lnTo>
                    <a:pt x="1762" y="1412"/>
                  </a:lnTo>
                  <a:lnTo>
                    <a:pt x="1788" y="1395"/>
                  </a:lnTo>
                  <a:lnTo>
                    <a:pt x="1815" y="1378"/>
                  </a:lnTo>
                  <a:lnTo>
                    <a:pt x="1842" y="1362"/>
                  </a:lnTo>
                  <a:lnTo>
                    <a:pt x="1869" y="1347"/>
                  </a:lnTo>
                  <a:lnTo>
                    <a:pt x="1897" y="1332"/>
                  </a:lnTo>
                  <a:lnTo>
                    <a:pt x="1926" y="1318"/>
                  </a:lnTo>
                  <a:lnTo>
                    <a:pt x="1954" y="1305"/>
                  </a:lnTo>
                  <a:lnTo>
                    <a:pt x="1983" y="1293"/>
                  </a:lnTo>
                  <a:lnTo>
                    <a:pt x="2013" y="1281"/>
                  </a:lnTo>
                  <a:lnTo>
                    <a:pt x="2043" y="1270"/>
                  </a:lnTo>
                  <a:lnTo>
                    <a:pt x="2073" y="1259"/>
                  </a:lnTo>
                  <a:lnTo>
                    <a:pt x="2103" y="1249"/>
                  </a:lnTo>
                  <a:lnTo>
                    <a:pt x="2134" y="1240"/>
                  </a:lnTo>
                  <a:lnTo>
                    <a:pt x="2165" y="1232"/>
                  </a:lnTo>
                  <a:lnTo>
                    <a:pt x="2196" y="1225"/>
                  </a:lnTo>
                  <a:lnTo>
                    <a:pt x="2228" y="1218"/>
                  </a:lnTo>
                  <a:lnTo>
                    <a:pt x="2260" y="1212"/>
                  </a:lnTo>
                  <a:lnTo>
                    <a:pt x="2292" y="1207"/>
                  </a:lnTo>
                  <a:lnTo>
                    <a:pt x="2325" y="1202"/>
                  </a:lnTo>
                  <a:lnTo>
                    <a:pt x="2357" y="1199"/>
                  </a:lnTo>
                  <a:lnTo>
                    <a:pt x="2390" y="1196"/>
                  </a:lnTo>
                  <a:lnTo>
                    <a:pt x="2424" y="1194"/>
                  </a:lnTo>
                  <a:lnTo>
                    <a:pt x="2457" y="1193"/>
                  </a:lnTo>
                  <a:lnTo>
                    <a:pt x="2492" y="1192"/>
                  </a:lnTo>
                  <a:lnTo>
                    <a:pt x="2492" y="1192"/>
                  </a:lnTo>
                  <a:lnTo>
                    <a:pt x="2525" y="1193"/>
                  </a:lnTo>
                  <a:lnTo>
                    <a:pt x="2558" y="1194"/>
                  </a:lnTo>
                  <a:lnTo>
                    <a:pt x="2592" y="1197"/>
                  </a:lnTo>
                  <a:lnTo>
                    <a:pt x="2625" y="1200"/>
                  </a:lnTo>
                  <a:lnTo>
                    <a:pt x="2657" y="1204"/>
                  </a:lnTo>
                  <a:lnTo>
                    <a:pt x="2690" y="1208"/>
                  </a:lnTo>
                  <a:lnTo>
                    <a:pt x="2722" y="1214"/>
                  </a:lnTo>
                  <a:lnTo>
                    <a:pt x="2754" y="1220"/>
                  </a:lnTo>
                  <a:lnTo>
                    <a:pt x="2785" y="1227"/>
                  </a:lnTo>
                  <a:lnTo>
                    <a:pt x="2817" y="1235"/>
                  </a:lnTo>
                  <a:lnTo>
                    <a:pt x="2848" y="1243"/>
                  </a:lnTo>
                  <a:lnTo>
                    <a:pt x="2878" y="1252"/>
                  </a:lnTo>
                  <a:lnTo>
                    <a:pt x="2909" y="1262"/>
                  </a:lnTo>
                  <a:lnTo>
                    <a:pt x="2939" y="1273"/>
                  </a:lnTo>
                  <a:lnTo>
                    <a:pt x="2968" y="1285"/>
                  </a:lnTo>
                  <a:lnTo>
                    <a:pt x="2998" y="1297"/>
                  </a:lnTo>
                  <a:lnTo>
                    <a:pt x="3027" y="1309"/>
                  </a:lnTo>
                  <a:lnTo>
                    <a:pt x="3055" y="1323"/>
                  </a:lnTo>
                  <a:lnTo>
                    <a:pt x="3083" y="1337"/>
                  </a:lnTo>
                  <a:lnTo>
                    <a:pt x="3111" y="1352"/>
                  </a:lnTo>
                  <a:lnTo>
                    <a:pt x="3139" y="1367"/>
                  </a:lnTo>
                  <a:lnTo>
                    <a:pt x="3166" y="1383"/>
                  </a:lnTo>
                  <a:lnTo>
                    <a:pt x="3192" y="1400"/>
                  </a:lnTo>
                  <a:lnTo>
                    <a:pt x="3218" y="1418"/>
                  </a:lnTo>
                  <a:lnTo>
                    <a:pt x="3244" y="1435"/>
                  </a:lnTo>
                  <a:lnTo>
                    <a:pt x="3269" y="1454"/>
                  </a:lnTo>
                  <a:lnTo>
                    <a:pt x="3294" y="1473"/>
                  </a:lnTo>
                  <a:lnTo>
                    <a:pt x="3318" y="1493"/>
                  </a:lnTo>
                  <a:lnTo>
                    <a:pt x="3342" y="1513"/>
                  </a:lnTo>
                  <a:lnTo>
                    <a:pt x="3365" y="1534"/>
                  </a:lnTo>
                  <a:lnTo>
                    <a:pt x="3388" y="1555"/>
                  </a:lnTo>
                  <a:lnTo>
                    <a:pt x="3410" y="1577"/>
                  </a:lnTo>
                  <a:lnTo>
                    <a:pt x="3432" y="1600"/>
                  </a:lnTo>
                  <a:lnTo>
                    <a:pt x="3453" y="1623"/>
                  </a:lnTo>
                  <a:lnTo>
                    <a:pt x="3474" y="1646"/>
                  </a:lnTo>
                  <a:lnTo>
                    <a:pt x="3494" y="1670"/>
                  </a:lnTo>
                  <a:lnTo>
                    <a:pt x="3513" y="1694"/>
                  </a:lnTo>
                  <a:lnTo>
                    <a:pt x="3532" y="1719"/>
                  </a:lnTo>
                  <a:lnTo>
                    <a:pt x="3551" y="1745"/>
                  </a:lnTo>
                  <a:lnTo>
                    <a:pt x="3568" y="1770"/>
                  </a:lnTo>
                  <a:lnTo>
                    <a:pt x="3585" y="1797"/>
                  </a:lnTo>
                  <a:lnTo>
                    <a:pt x="3602" y="1823"/>
                  </a:lnTo>
                  <a:lnTo>
                    <a:pt x="3618" y="1850"/>
                  </a:lnTo>
                  <a:lnTo>
                    <a:pt x="3633" y="1878"/>
                  </a:lnTo>
                  <a:lnTo>
                    <a:pt x="3648" y="1906"/>
                  </a:lnTo>
                  <a:lnTo>
                    <a:pt x="3662" y="1934"/>
                  </a:lnTo>
                  <a:lnTo>
                    <a:pt x="3675" y="1963"/>
                  </a:lnTo>
                  <a:lnTo>
                    <a:pt x="3687" y="1992"/>
                  </a:lnTo>
                  <a:lnTo>
                    <a:pt x="3699" y="2021"/>
                  </a:lnTo>
                  <a:lnTo>
                    <a:pt x="3711" y="2051"/>
                  </a:lnTo>
                  <a:lnTo>
                    <a:pt x="3721" y="2081"/>
                  </a:lnTo>
                  <a:lnTo>
                    <a:pt x="3731" y="2112"/>
                  </a:lnTo>
                  <a:lnTo>
                    <a:pt x="3740" y="2142"/>
                  </a:lnTo>
                  <a:lnTo>
                    <a:pt x="3748" y="2173"/>
                  </a:lnTo>
                  <a:lnTo>
                    <a:pt x="3756" y="2205"/>
                  </a:lnTo>
                  <a:lnTo>
                    <a:pt x="3762" y="2236"/>
                  </a:lnTo>
                  <a:lnTo>
                    <a:pt x="3768" y="2268"/>
                  </a:lnTo>
                  <a:lnTo>
                    <a:pt x="3773" y="2301"/>
                  </a:lnTo>
                  <a:lnTo>
                    <a:pt x="3778" y="2333"/>
                  </a:lnTo>
                  <a:lnTo>
                    <a:pt x="3781" y="2366"/>
                  </a:lnTo>
                  <a:lnTo>
                    <a:pt x="3784" y="2399"/>
                  </a:lnTo>
                  <a:lnTo>
                    <a:pt x="3786" y="2432"/>
                  </a:lnTo>
                  <a:lnTo>
                    <a:pt x="3787" y="2466"/>
                  </a:lnTo>
                  <a:lnTo>
                    <a:pt x="3788" y="2500"/>
                  </a:lnTo>
                  <a:lnTo>
                    <a:pt x="3788" y="25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09" name="SAGD, Siemens, healthineers, evolve">
            <a:extLst>
              <a:ext uri="{FF2B5EF4-FFF2-40B4-BE49-F238E27FC236}">
                <a16:creationId xmlns:a16="http://schemas.microsoft.com/office/drawing/2014/main" id="{71F59FBB-7C79-4915-8666-A26937EA783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594676" y="2530378"/>
            <a:ext cx="233697" cy="234192"/>
            <a:chOff x="1188" y="1252"/>
            <a:chExt cx="2268" cy="2268"/>
          </a:xfrm>
        </p:grpSpPr>
        <p:sp>
          <p:nvSpPr>
            <p:cNvPr id="210" name="AutoShape 4">
              <a:extLst>
                <a:ext uri="{FF2B5EF4-FFF2-40B4-BE49-F238E27FC236}">
                  <a16:creationId xmlns:a16="http://schemas.microsoft.com/office/drawing/2014/main" id="{2E4C2CB1-46C7-45B4-8D93-F392F67F374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1188" y="1252"/>
              <a:ext cx="2268" cy="2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211" name="Freeform 6">
              <a:extLst>
                <a:ext uri="{FF2B5EF4-FFF2-40B4-BE49-F238E27FC236}">
                  <a16:creationId xmlns:a16="http://schemas.microsoft.com/office/drawing/2014/main" id="{41DDA104-B785-4160-87F4-8DA8C09607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8" y="1252"/>
              <a:ext cx="2268" cy="2268"/>
            </a:xfrm>
            <a:custGeom>
              <a:avLst/>
              <a:gdLst/>
              <a:ahLst/>
              <a:cxnLst>
                <a:cxn ang="0">
                  <a:pos x="11317" y="6179"/>
                </a:cxn>
                <a:cxn ang="0">
                  <a:pos x="11224" y="6813"/>
                </a:cxn>
                <a:cxn ang="0">
                  <a:pos x="11064" y="7423"/>
                </a:cxn>
                <a:cxn ang="0">
                  <a:pos x="10839" y="8004"/>
                </a:cxn>
                <a:cxn ang="0">
                  <a:pos x="10554" y="8552"/>
                </a:cxn>
                <a:cxn ang="0">
                  <a:pos x="10213" y="9063"/>
                </a:cxn>
                <a:cxn ang="0">
                  <a:pos x="9821" y="9533"/>
                </a:cxn>
                <a:cxn ang="0">
                  <a:pos x="9380" y="9958"/>
                </a:cxn>
                <a:cxn ang="0">
                  <a:pos x="8896" y="10333"/>
                </a:cxn>
                <a:cxn ang="0">
                  <a:pos x="8373" y="10656"/>
                </a:cxn>
                <a:cxn ang="0">
                  <a:pos x="7813" y="10921"/>
                </a:cxn>
                <a:cxn ang="0">
                  <a:pos x="7222" y="11125"/>
                </a:cxn>
                <a:cxn ang="0">
                  <a:pos x="6604" y="11264"/>
                </a:cxn>
                <a:cxn ang="0">
                  <a:pos x="5962" y="11333"/>
                </a:cxn>
                <a:cxn ang="0">
                  <a:pos x="5378" y="11333"/>
                </a:cxn>
                <a:cxn ang="0">
                  <a:pos x="4736" y="11264"/>
                </a:cxn>
                <a:cxn ang="0">
                  <a:pos x="4117" y="11125"/>
                </a:cxn>
                <a:cxn ang="0">
                  <a:pos x="3526" y="10921"/>
                </a:cxn>
                <a:cxn ang="0">
                  <a:pos x="2967" y="10656"/>
                </a:cxn>
                <a:cxn ang="0">
                  <a:pos x="2443" y="10333"/>
                </a:cxn>
                <a:cxn ang="0">
                  <a:pos x="1959" y="9958"/>
                </a:cxn>
                <a:cxn ang="0">
                  <a:pos x="1519" y="9533"/>
                </a:cxn>
                <a:cxn ang="0">
                  <a:pos x="1126" y="9063"/>
                </a:cxn>
                <a:cxn ang="0">
                  <a:pos x="785" y="8552"/>
                </a:cxn>
                <a:cxn ang="0">
                  <a:pos x="501" y="8004"/>
                </a:cxn>
                <a:cxn ang="0">
                  <a:pos x="276" y="7423"/>
                </a:cxn>
                <a:cxn ang="0">
                  <a:pos x="115" y="6813"/>
                </a:cxn>
                <a:cxn ang="0">
                  <a:pos x="22" y="6179"/>
                </a:cxn>
                <a:cxn ang="0">
                  <a:pos x="0" y="5596"/>
                </a:cxn>
                <a:cxn ang="0">
                  <a:pos x="45" y="4948"/>
                </a:cxn>
                <a:cxn ang="0">
                  <a:pos x="161" y="4321"/>
                </a:cxn>
                <a:cxn ang="0">
                  <a:pos x="344" y="3720"/>
                </a:cxn>
                <a:cxn ang="0">
                  <a:pos x="589" y="3150"/>
                </a:cxn>
                <a:cxn ang="0">
                  <a:pos x="893" y="2614"/>
                </a:cxn>
                <a:cxn ang="0">
                  <a:pos x="1251" y="2116"/>
                </a:cxn>
                <a:cxn ang="0">
                  <a:pos x="1660" y="1661"/>
                </a:cxn>
                <a:cxn ang="0">
                  <a:pos x="2116" y="1252"/>
                </a:cxn>
                <a:cxn ang="0">
                  <a:pos x="2613" y="893"/>
                </a:cxn>
                <a:cxn ang="0">
                  <a:pos x="3150" y="589"/>
                </a:cxn>
                <a:cxn ang="0">
                  <a:pos x="3720" y="344"/>
                </a:cxn>
                <a:cxn ang="0">
                  <a:pos x="4320" y="162"/>
                </a:cxn>
                <a:cxn ang="0">
                  <a:pos x="4947" y="46"/>
                </a:cxn>
                <a:cxn ang="0">
                  <a:pos x="5596" y="1"/>
                </a:cxn>
                <a:cxn ang="0">
                  <a:pos x="6178" y="23"/>
                </a:cxn>
                <a:cxn ang="0">
                  <a:pos x="6813" y="115"/>
                </a:cxn>
                <a:cxn ang="0">
                  <a:pos x="7423" y="276"/>
                </a:cxn>
                <a:cxn ang="0">
                  <a:pos x="8003" y="501"/>
                </a:cxn>
                <a:cxn ang="0">
                  <a:pos x="8551" y="786"/>
                </a:cxn>
                <a:cxn ang="0">
                  <a:pos x="9062" y="1126"/>
                </a:cxn>
                <a:cxn ang="0">
                  <a:pos x="9532" y="1519"/>
                </a:cxn>
                <a:cxn ang="0">
                  <a:pos x="9957" y="1959"/>
                </a:cxn>
                <a:cxn ang="0">
                  <a:pos x="10333" y="2443"/>
                </a:cxn>
                <a:cxn ang="0">
                  <a:pos x="10655" y="2967"/>
                </a:cxn>
                <a:cxn ang="0">
                  <a:pos x="10921" y="3527"/>
                </a:cxn>
                <a:cxn ang="0">
                  <a:pos x="11124" y="4118"/>
                </a:cxn>
                <a:cxn ang="0">
                  <a:pos x="11263" y="4736"/>
                </a:cxn>
                <a:cxn ang="0">
                  <a:pos x="11332" y="5378"/>
                </a:cxn>
              </a:cxnLst>
              <a:rect l="0" t="0" r="r" b="b"/>
              <a:pathLst>
                <a:path w="11340" h="11340">
                  <a:moveTo>
                    <a:pt x="11340" y="5671"/>
                  </a:moveTo>
                  <a:lnTo>
                    <a:pt x="11340" y="5671"/>
                  </a:lnTo>
                  <a:lnTo>
                    <a:pt x="11339" y="5744"/>
                  </a:lnTo>
                  <a:lnTo>
                    <a:pt x="11338" y="5817"/>
                  </a:lnTo>
                  <a:lnTo>
                    <a:pt x="11335" y="5890"/>
                  </a:lnTo>
                  <a:lnTo>
                    <a:pt x="11332" y="5962"/>
                  </a:lnTo>
                  <a:lnTo>
                    <a:pt x="11328" y="6035"/>
                  </a:lnTo>
                  <a:lnTo>
                    <a:pt x="11323" y="6107"/>
                  </a:lnTo>
                  <a:lnTo>
                    <a:pt x="11317" y="6179"/>
                  </a:lnTo>
                  <a:lnTo>
                    <a:pt x="11310" y="6250"/>
                  </a:lnTo>
                  <a:lnTo>
                    <a:pt x="11303" y="6322"/>
                  </a:lnTo>
                  <a:lnTo>
                    <a:pt x="11294" y="6393"/>
                  </a:lnTo>
                  <a:lnTo>
                    <a:pt x="11285" y="6464"/>
                  </a:lnTo>
                  <a:lnTo>
                    <a:pt x="11274" y="6534"/>
                  </a:lnTo>
                  <a:lnTo>
                    <a:pt x="11263" y="6604"/>
                  </a:lnTo>
                  <a:lnTo>
                    <a:pt x="11251" y="6674"/>
                  </a:lnTo>
                  <a:lnTo>
                    <a:pt x="11238" y="6744"/>
                  </a:lnTo>
                  <a:lnTo>
                    <a:pt x="11224" y="6813"/>
                  </a:lnTo>
                  <a:lnTo>
                    <a:pt x="11210" y="6882"/>
                  </a:lnTo>
                  <a:lnTo>
                    <a:pt x="11194" y="6951"/>
                  </a:lnTo>
                  <a:lnTo>
                    <a:pt x="11178" y="7019"/>
                  </a:lnTo>
                  <a:lnTo>
                    <a:pt x="11161" y="7088"/>
                  </a:lnTo>
                  <a:lnTo>
                    <a:pt x="11143" y="7155"/>
                  </a:lnTo>
                  <a:lnTo>
                    <a:pt x="11124" y="7223"/>
                  </a:lnTo>
                  <a:lnTo>
                    <a:pt x="11105" y="7290"/>
                  </a:lnTo>
                  <a:lnTo>
                    <a:pt x="11085" y="7357"/>
                  </a:lnTo>
                  <a:lnTo>
                    <a:pt x="11064" y="7423"/>
                  </a:lnTo>
                  <a:lnTo>
                    <a:pt x="11042" y="7489"/>
                  </a:lnTo>
                  <a:lnTo>
                    <a:pt x="11019" y="7555"/>
                  </a:lnTo>
                  <a:lnTo>
                    <a:pt x="10996" y="7620"/>
                  </a:lnTo>
                  <a:lnTo>
                    <a:pt x="10971" y="7685"/>
                  </a:lnTo>
                  <a:lnTo>
                    <a:pt x="10946" y="7749"/>
                  </a:lnTo>
                  <a:lnTo>
                    <a:pt x="10921" y="7814"/>
                  </a:lnTo>
                  <a:lnTo>
                    <a:pt x="10894" y="7877"/>
                  </a:lnTo>
                  <a:lnTo>
                    <a:pt x="10867" y="7941"/>
                  </a:lnTo>
                  <a:lnTo>
                    <a:pt x="10839" y="8004"/>
                  </a:lnTo>
                  <a:lnTo>
                    <a:pt x="10810" y="8066"/>
                  </a:lnTo>
                  <a:lnTo>
                    <a:pt x="10780" y="8129"/>
                  </a:lnTo>
                  <a:lnTo>
                    <a:pt x="10750" y="8190"/>
                  </a:lnTo>
                  <a:lnTo>
                    <a:pt x="10719" y="8252"/>
                  </a:lnTo>
                  <a:lnTo>
                    <a:pt x="10688" y="8313"/>
                  </a:lnTo>
                  <a:lnTo>
                    <a:pt x="10655" y="8373"/>
                  </a:lnTo>
                  <a:lnTo>
                    <a:pt x="10622" y="8433"/>
                  </a:lnTo>
                  <a:lnTo>
                    <a:pt x="10588" y="8493"/>
                  </a:lnTo>
                  <a:lnTo>
                    <a:pt x="10554" y="8552"/>
                  </a:lnTo>
                  <a:lnTo>
                    <a:pt x="10519" y="8610"/>
                  </a:lnTo>
                  <a:lnTo>
                    <a:pt x="10483" y="8669"/>
                  </a:lnTo>
                  <a:lnTo>
                    <a:pt x="10446" y="8726"/>
                  </a:lnTo>
                  <a:lnTo>
                    <a:pt x="10409" y="8784"/>
                  </a:lnTo>
                  <a:lnTo>
                    <a:pt x="10371" y="8840"/>
                  </a:lnTo>
                  <a:lnTo>
                    <a:pt x="10333" y="8897"/>
                  </a:lnTo>
                  <a:lnTo>
                    <a:pt x="10294" y="8953"/>
                  </a:lnTo>
                  <a:lnTo>
                    <a:pt x="10254" y="9008"/>
                  </a:lnTo>
                  <a:lnTo>
                    <a:pt x="10213" y="9063"/>
                  </a:lnTo>
                  <a:lnTo>
                    <a:pt x="10172" y="9117"/>
                  </a:lnTo>
                  <a:lnTo>
                    <a:pt x="10130" y="9171"/>
                  </a:lnTo>
                  <a:lnTo>
                    <a:pt x="10088" y="9224"/>
                  </a:lnTo>
                  <a:lnTo>
                    <a:pt x="10045" y="9277"/>
                  </a:lnTo>
                  <a:lnTo>
                    <a:pt x="10001" y="9329"/>
                  </a:lnTo>
                  <a:lnTo>
                    <a:pt x="9957" y="9381"/>
                  </a:lnTo>
                  <a:lnTo>
                    <a:pt x="9912" y="9432"/>
                  </a:lnTo>
                  <a:lnTo>
                    <a:pt x="9867" y="9483"/>
                  </a:lnTo>
                  <a:lnTo>
                    <a:pt x="9821" y="9533"/>
                  </a:lnTo>
                  <a:lnTo>
                    <a:pt x="9774" y="9582"/>
                  </a:lnTo>
                  <a:lnTo>
                    <a:pt x="9727" y="9631"/>
                  </a:lnTo>
                  <a:lnTo>
                    <a:pt x="9679" y="9680"/>
                  </a:lnTo>
                  <a:lnTo>
                    <a:pt x="9631" y="9727"/>
                  </a:lnTo>
                  <a:lnTo>
                    <a:pt x="9582" y="9775"/>
                  </a:lnTo>
                  <a:lnTo>
                    <a:pt x="9532" y="9821"/>
                  </a:lnTo>
                  <a:lnTo>
                    <a:pt x="9482" y="9867"/>
                  </a:lnTo>
                  <a:lnTo>
                    <a:pt x="9432" y="9913"/>
                  </a:lnTo>
                  <a:lnTo>
                    <a:pt x="9380" y="9958"/>
                  </a:lnTo>
                  <a:lnTo>
                    <a:pt x="9329" y="10002"/>
                  </a:lnTo>
                  <a:lnTo>
                    <a:pt x="9277" y="10046"/>
                  </a:lnTo>
                  <a:lnTo>
                    <a:pt x="9224" y="10089"/>
                  </a:lnTo>
                  <a:lnTo>
                    <a:pt x="9170" y="10131"/>
                  </a:lnTo>
                  <a:lnTo>
                    <a:pt x="9117" y="10173"/>
                  </a:lnTo>
                  <a:lnTo>
                    <a:pt x="9062" y="10214"/>
                  </a:lnTo>
                  <a:lnTo>
                    <a:pt x="9008" y="10254"/>
                  </a:lnTo>
                  <a:lnTo>
                    <a:pt x="8952" y="10294"/>
                  </a:lnTo>
                  <a:lnTo>
                    <a:pt x="8896" y="10333"/>
                  </a:lnTo>
                  <a:lnTo>
                    <a:pt x="8840" y="10372"/>
                  </a:lnTo>
                  <a:lnTo>
                    <a:pt x="8783" y="10410"/>
                  </a:lnTo>
                  <a:lnTo>
                    <a:pt x="8726" y="10447"/>
                  </a:lnTo>
                  <a:lnTo>
                    <a:pt x="8668" y="10484"/>
                  </a:lnTo>
                  <a:lnTo>
                    <a:pt x="8610" y="10519"/>
                  </a:lnTo>
                  <a:lnTo>
                    <a:pt x="8551" y="10555"/>
                  </a:lnTo>
                  <a:lnTo>
                    <a:pt x="8492" y="10589"/>
                  </a:lnTo>
                  <a:lnTo>
                    <a:pt x="8433" y="10623"/>
                  </a:lnTo>
                  <a:lnTo>
                    <a:pt x="8373" y="10656"/>
                  </a:lnTo>
                  <a:lnTo>
                    <a:pt x="8312" y="10688"/>
                  </a:lnTo>
                  <a:lnTo>
                    <a:pt x="8251" y="10720"/>
                  </a:lnTo>
                  <a:lnTo>
                    <a:pt x="8190" y="10751"/>
                  </a:lnTo>
                  <a:lnTo>
                    <a:pt x="8128" y="10781"/>
                  </a:lnTo>
                  <a:lnTo>
                    <a:pt x="8066" y="10811"/>
                  </a:lnTo>
                  <a:lnTo>
                    <a:pt x="8003" y="10839"/>
                  </a:lnTo>
                  <a:lnTo>
                    <a:pt x="7940" y="10867"/>
                  </a:lnTo>
                  <a:lnTo>
                    <a:pt x="7877" y="10895"/>
                  </a:lnTo>
                  <a:lnTo>
                    <a:pt x="7813" y="10921"/>
                  </a:lnTo>
                  <a:lnTo>
                    <a:pt x="7749" y="10947"/>
                  </a:lnTo>
                  <a:lnTo>
                    <a:pt x="7685" y="10972"/>
                  </a:lnTo>
                  <a:lnTo>
                    <a:pt x="7620" y="10996"/>
                  </a:lnTo>
                  <a:lnTo>
                    <a:pt x="7554" y="11020"/>
                  </a:lnTo>
                  <a:lnTo>
                    <a:pt x="7489" y="11042"/>
                  </a:lnTo>
                  <a:lnTo>
                    <a:pt x="7423" y="11064"/>
                  </a:lnTo>
                  <a:lnTo>
                    <a:pt x="7356" y="11085"/>
                  </a:lnTo>
                  <a:lnTo>
                    <a:pt x="7289" y="11106"/>
                  </a:lnTo>
                  <a:lnTo>
                    <a:pt x="7222" y="11125"/>
                  </a:lnTo>
                  <a:lnTo>
                    <a:pt x="7155" y="11144"/>
                  </a:lnTo>
                  <a:lnTo>
                    <a:pt x="7087" y="11162"/>
                  </a:lnTo>
                  <a:lnTo>
                    <a:pt x="7019" y="11179"/>
                  </a:lnTo>
                  <a:lnTo>
                    <a:pt x="6951" y="11195"/>
                  </a:lnTo>
                  <a:lnTo>
                    <a:pt x="6882" y="11210"/>
                  </a:lnTo>
                  <a:lnTo>
                    <a:pt x="6813" y="11225"/>
                  </a:lnTo>
                  <a:lnTo>
                    <a:pt x="6744" y="11239"/>
                  </a:lnTo>
                  <a:lnTo>
                    <a:pt x="6674" y="11252"/>
                  </a:lnTo>
                  <a:lnTo>
                    <a:pt x="6604" y="11264"/>
                  </a:lnTo>
                  <a:lnTo>
                    <a:pt x="6534" y="11275"/>
                  </a:lnTo>
                  <a:lnTo>
                    <a:pt x="6463" y="11285"/>
                  </a:lnTo>
                  <a:lnTo>
                    <a:pt x="6392" y="11295"/>
                  </a:lnTo>
                  <a:lnTo>
                    <a:pt x="6321" y="11303"/>
                  </a:lnTo>
                  <a:lnTo>
                    <a:pt x="6250" y="11311"/>
                  </a:lnTo>
                  <a:lnTo>
                    <a:pt x="6178" y="11318"/>
                  </a:lnTo>
                  <a:lnTo>
                    <a:pt x="6107" y="11324"/>
                  </a:lnTo>
                  <a:lnTo>
                    <a:pt x="6034" y="11329"/>
                  </a:lnTo>
                  <a:lnTo>
                    <a:pt x="5962" y="11333"/>
                  </a:lnTo>
                  <a:lnTo>
                    <a:pt x="5890" y="11336"/>
                  </a:lnTo>
                  <a:lnTo>
                    <a:pt x="5817" y="11338"/>
                  </a:lnTo>
                  <a:lnTo>
                    <a:pt x="5744" y="11340"/>
                  </a:lnTo>
                  <a:lnTo>
                    <a:pt x="5669" y="11340"/>
                  </a:lnTo>
                  <a:lnTo>
                    <a:pt x="5669" y="11340"/>
                  </a:lnTo>
                  <a:lnTo>
                    <a:pt x="5596" y="11340"/>
                  </a:lnTo>
                  <a:lnTo>
                    <a:pt x="5523" y="11338"/>
                  </a:lnTo>
                  <a:lnTo>
                    <a:pt x="5450" y="11336"/>
                  </a:lnTo>
                  <a:lnTo>
                    <a:pt x="5378" y="11333"/>
                  </a:lnTo>
                  <a:lnTo>
                    <a:pt x="5305" y="11329"/>
                  </a:lnTo>
                  <a:lnTo>
                    <a:pt x="5233" y="11324"/>
                  </a:lnTo>
                  <a:lnTo>
                    <a:pt x="5161" y="11318"/>
                  </a:lnTo>
                  <a:lnTo>
                    <a:pt x="5090" y="11311"/>
                  </a:lnTo>
                  <a:lnTo>
                    <a:pt x="5018" y="11303"/>
                  </a:lnTo>
                  <a:lnTo>
                    <a:pt x="4947" y="11295"/>
                  </a:lnTo>
                  <a:lnTo>
                    <a:pt x="4876" y="11285"/>
                  </a:lnTo>
                  <a:lnTo>
                    <a:pt x="4806" y="11275"/>
                  </a:lnTo>
                  <a:lnTo>
                    <a:pt x="4736" y="11264"/>
                  </a:lnTo>
                  <a:lnTo>
                    <a:pt x="4666" y="11252"/>
                  </a:lnTo>
                  <a:lnTo>
                    <a:pt x="4596" y="11239"/>
                  </a:lnTo>
                  <a:lnTo>
                    <a:pt x="4527" y="11225"/>
                  </a:lnTo>
                  <a:lnTo>
                    <a:pt x="4458" y="11210"/>
                  </a:lnTo>
                  <a:lnTo>
                    <a:pt x="4389" y="11195"/>
                  </a:lnTo>
                  <a:lnTo>
                    <a:pt x="4320" y="11179"/>
                  </a:lnTo>
                  <a:lnTo>
                    <a:pt x="4252" y="11162"/>
                  </a:lnTo>
                  <a:lnTo>
                    <a:pt x="4185" y="11144"/>
                  </a:lnTo>
                  <a:lnTo>
                    <a:pt x="4117" y="11125"/>
                  </a:lnTo>
                  <a:lnTo>
                    <a:pt x="4050" y="11106"/>
                  </a:lnTo>
                  <a:lnTo>
                    <a:pt x="3983" y="11085"/>
                  </a:lnTo>
                  <a:lnTo>
                    <a:pt x="3917" y="11064"/>
                  </a:lnTo>
                  <a:lnTo>
                    <a:pt x="3851" y="11042"/>
                  </a:lnTo>
                  <a:lnTo>
                    <a:pt x="3785" y="11020"/>
                  </a:lnTo>
                  <a:lnTo>
                    <a:pt x="3720" y="10996"/>
                  </a:lnTo>
                  <a:lnTo>
                    <a:pt x="3655" y="10972"/>
                  </a:lnTo>
                  <a:lnTo>
                    <a:pt x="3590" y="10947"/>
                  </a:lnTo>
                  <a:lnTo>
                    <a:pt x="3526" y="10921"/>
                  </a:lnTo>
                  <a:lnTo>
                    <a:pt x="3462" y="10895"/>
                  </a:lnTo>
                  <a:lnTo>
                    <a:pt x="3399" y="10867"/>
                  </a:lnTo>
                  <a:lnTo>
                    <a:pt x="3336" y="10839"/>
                  </a:lnTo>
                  <a:lnTo>
                    <a:pt x="3273" y="10811"/>
                  </a:lnTo>
                  <a:lnTo>
                    <a:pt x="3211" y="10781"/>
                  </a:lnTo>
                  <a:lnTo>
                    <a:pt x="3150" y="10751"/>
                  </a:lnTo>
                  <a:lnTo>
                    <a:pt x="3088" y="10720"/>
                  </a:lnTo>
                  <a:lnTo>
                    <a:pt x="3027" y="10688"/>
                  </a:lnTo>
                  <a:lnTo>
                    <a:pt x="2967" y="10656"/>
                  </a:lnTo>
                  <a:lnTo>
                    <a:pt x="2907" y="10623"/>
                  </a:lnTo>
                  <a:lnTo>
                    <a:pt x="2847" y="10589"/>
                  </a:lnTo>
                  <a:lnTo>
                    <a:pt x="2788" y="10555"/>
                  </a:lnTo>
                  <a:lnTo>
                    <a:pt x="2729" y="10519"/>
                  </a:lnTo>
                  <a:lnTo>
                    <a:pt x="2671" y="10484"/>
                  </a:lnTo>
                  <a:lnTo>
                    <a:pt x="2613" y="10447"/>
                  </a:lnTo>
                  <a:lnTo>
                    <a:pt x="2556" y="10410"/>
                  </a:lnTo>
                  <a:lnTo>
                    <a:pt x="2499" y="10372"/>
                  </a:lnTo>
                  <a:lnTo>
                    <a:pt x="2443" y="10333"/>
                  </a:lnTo>
                  <a:lnTo>
                    <a:pt x="2387" y="10294"/>
                  </a:lnTo>
                  <a:lnTo>
                    <a:pt x="2332" y="10254"/>
                  </a:lnTo>
                  <a:lnTo>
                    <a:pt x="2277" y="10214"/>
                  </a:lnTo>
                  <a:lnTo>
                    <a:pt x="2223" y="10173"/>
                  </a:lnTo>
                  <a:lnTo>
                    <a:pt x="2169" y="10131"/>
                  </a:lnTo>
                  <a:lnTo>
                    <a:pt x="2116" y="10089"/>
                  </a:lnTo>
                  <a:lnTo>
                    <a:pt x="2063" y="10046"/>
                  </a:lnTo>
                  <a:lnTo>
                    <a:pt x="2011" y="10002"/>
                  </a:lnTo>
                  <a:lnTo>
                    <a:pt x="1959" y="9958"/>
                  </a:lnTo>
                  <a:lnTo>
                    <a:pt x="1908" y="9913"/>
                  </a:lnTo>
                  <a:lnTo>
                    <a:pt x="1857" y="9867"/>
                  </a:lnTo>
                  <a:lnTo>
                    <a:pt x="1807" y="9821"/>
                  </a:lnTo>
                  <a:lnTo>
                    <a:pt x="1758" y="9775"/>
                  </a:lnTo>
                  <a:lnTo>
                    <a:pt x="1709" y="9727"/>
                  </a:lnTo>
                  <a:lnTo>
                    <a:pt x="1660" y="9680"/>
                  </a:lnTo>
                  <a:lnTo>
                    <a:pt x="1613" y="9631"/>
                  </a:lnTo>
                  <a:lnTo>
                    <a:pt x="1565" y="9582"/>
                  </a:lnTo>
                  <a:lnTo>
                    <a:pt x="1519" y="9533"/>
                  </a:lnTo>
                  <a:lnTo>
                    <a:pt x="1473" y="9483"/>
                  </a:lnTo>
                  <a:lnTo>
                    <a:pt x="1427" y="9432"/>
                  </a:lnTo>
                  <a:lnTo>
                    <a:pt x="1382" y="9381"/>
                  </a:lnTo>
                  <a:lnTo>
                    <a:pt x="1338" y="9329"/>
                  </a:lnTo>
                  <a:lnTo>
                    <a:pt x="1294" y="9277"/>
                  </a:lnTo>
                  <a:lnTo>
                    <a:pt x="1251" y="9224"/>
                  </a:lnTo>
                  <a:lnTo>
                    <a:pt x="1209" y="9171"/>
                  </a:lnTo>
                  <a:lnTo>
                    <a:pt x="1167" y="9117"/>
                  </a:lnTo>
                  <a:lnTo>
                    <a:pt x="1126" y="9063"/>
                  </a:lnTo>
                  <a:lnTo>
                    <a:pt x="1086" y="9008"/>
                  </a:lnTo>
                  <a:lnTo>
                    <a:pt x="1046" y="8953"/>
                  </a:lnTo>
                  <a:lnTo>
                    <a:pt x="1007" y="8897"/>
                  </a:lnTo>
                  <a:lnTo>
                    <a:pt x="968" y="8840"/>
                  </a:lnTo>
                  <a:lnTo>
                    <a:pt x="930" y="8784"/>
                  </a:lnTo>
                  <a:lnTo>
                    <a:pt x="893" y="8726"/>
                  </a:lnTo>
                  <a:lnTo>
                    <a:pt x="856" y="8669"/>
                  </a:lnTo>
                  <a:lnTo>
                    <a:pt x="821" y="8610"/>
                  </a:lnTo>
                  <a:lnTo>
                    <a:pt x="785" y="8552"/>
                  </a:lnTo>
                  <a:lnTo>
                    <a:pt x="751" y="8493"/>
                  </a:lnTo>
                  <a:lnTo>
                    <a:pt x="717" y="8433"/>
                  </a:lnTo>
                  <a:lnTo>
                    <a:pt x="684" y="8373"/>
                  </a:lnTo>
                  <a:lnTo>
                    <a:pt x="652" y="8313"/>
                  </a:lnTo>
                  <a:lnTo>
                    <a:pt x="620" y="8252"/>
                  </a:lnTo>
                  <a:lnTo>
                    <a:pt x="589" y="8190"/>
                  </a:lnTo>
                  <a:lnTo>
                    <a:pt x="559" y="8129"/>
                  </a:lnTo>
                  <a:lnTo>
                    <a:pt x="529" y="8066"/>
                  </a:lnTo>
                  <a:lnTo>
                    <a:pt x="501" y="8004"/>
                  </a:lnTo>
                  <a:lnTo>
                    <a:pt x="473" y="7941"/>
                  </a:lnTo>
                  <a:lnTo>
                    <a:pt x="445" y="7877"/>
                  </a:lnTo>
                  <a:lnTo>
                    <a:pt x="419" y="7814"/>
                  </a:lnTo>
                  <a:lnTo>
                    <a:pt x="393" y="7749"/>
                  </a:lnTo>
                  <a:lnTo>
                    <a:pt x="368" y="7685"/>
                  </a:lnTo>
                  <a:lnTo>
                    <a:pt x="344" y="7620"/>
                  </a:lnTo>
                  <a:lnTo>
                    <a:pt x="320" y="7555"/>
                  </a:lnTo>
                  <a:lnTo>
                    <a:pt x="298" y="7489"/>
                  </a:lnTo>
                  <a:lnTo>
                    <a:pt x="276" y="7423"/>
                  </a:lnTo>
                  <a:lnTo>
                    <a:pt x="255" y="7357"/>
                  </a:lnTo>
                  <a:lnTo>
                    <a:pt x="234" y="7290"/>
                  </a:lnTo>
                  <a:lnTo>
                    <a:pt x="215" y="7223"/>
                  </a:lnTo>
                  <a:lnTo>
                    <a:pt x="196" y="7155"/>
                  </a:lnTo>
                  <a:lnTo>
                    <a:pt x="178" y="7088"/>
                  </a:lnTo>
                  <a:lnTo>
                    <a:pt x="161" y="7019"/>
                  </a:lnTo>
                  <a:lnTo>
                    <a:pt x="145" y="6951"/>
                  </a:lnTo>
                  <a:lnTo>
                    <a:pt x="130" y="6882"/>
                  </a:lnTo>
                  <a:lnTo>
                    <a:pt x="115" y="6813"/>
                  </a:lnTo>
                  <a:lnTo>
                    <a:pt x="101" y="6744"/>
                  </a:lnTo>
                  <a:lnTo>
                    <a:pt x="88" y="6674"/>
                  </a:lnTo>
                  <a:lnTo>
                    <a:pt x="76" y="6604"/>
                  </a:lnTo>
                  <a:lnTo>
                    <a:pt x="65" y="6534"/>
                  </a:lnTo>
                  <a:lnTo>
                    <a:pt x="55" y="6464"/>
                  </a:lnTo>
                  <a:lnTo>
                    <a:pt x="45" y="6393"/>
                  </a:lnTo>
                  <a:lnTo>
                    <a:pt x="37" y="6322"/>
                  </a:lnTo>
                  <a:lnTo>
                    <a:pt x="29" y="6250"/>
                  </a:lnTo>
                  <a:lnTo>
                    <a:pt x="22" y="6179"/>
                  </a:lnTo>
                  <a:lnTo>
                    <a:pt x="16" y="6107"/>
                  </a:lnTo>
                  <a:lnTo>
                    <a:pt x="11" y="6035"/>
                  </a:lnTo>
                  <a:lnTo>
                    <a:pt x="7" y="5962"/>
                  </a:lnTo>
                  <a:lnTo>
                    <a:pt x="4" y="5890"/>
                  </a:lnTo>
                  <a:lnTo>
                    <a:pt x="2" y="5817"/>
                  </a:lnTo>
                  <a:lnTo>
                    <a:pt x="0" y="5744"/>
                  </a:lnTo>
                  <a:lnTo>
                    <a:pt x="0" y="5671"/>
                  </a:lnTo>
                  <a:lnTo>
                    <a:pt x="0" y="5671"/>
                  </a:lnTo>
                  <a:lnTo>
                    <a:pt x="0" y="5596"/>
                  </a:lnTo>
                  <a:lnTo>
                    <a:pt x="2" y="5523"/>
                  </a:lnTo>
                  <a:lnTo>
                    <a:pt x="4" y="5451"/>
                  </a:lnTo>
                  <a:lnTo>
                    <a:pt x="7" y="5378"/>
                  </a:lnTo>
                  <a:lnTo>
                    <a:pt x="11" y="5306"/>
                  </a:lnTo>
                  <a:lnTo>
                    <a:pt x="16" y="5233"/>
                  </a:lnTo>
                  <a:lnTo>
                    <a:pt x="22" y="5162"/>
                  </a:lnTo>
                  <a:lnTo>
                    <a:pt x="29" y="5090"/>
                  </a:lnTo>
                  <a:lnTo>
                    <a:pt x="37" y="5019"/>
                  </a:lnTo>
                  <a:lnTo>
                    <a:pt x="45" y="4948"/>
                  </a:lnTo>
                  <a:lnTo>
                    <a:pt x="55" y="4877"/>
                  </a:lnTo>
                  <a:lnTo>
                    <a:pt x="65" y="4806"/>
                  </a:lnTo>
                  <a:lnTo>
                    <a:pt x="76" y="4736"/>
                  </a:lnTo>
                  <a:lnTo>
                    <a:pt x="88" y="4666"/>
                  </a:lnTo>
                  <a:lnTo>
                    <a:pt x="101" y="4596"/>
                  </a:lnTo>
                  <a:lnTo>
                    <a:pt x="115" y="4527"/>
                  </a:lnTo>
                  <a:lnTo>
                    <a:pt x="130" y="4458"/>
                  </a:lnTo>
                  <a:lnTo>
                    <a:pt x="145" y="4389"/>
                  </a:lnTo>
                  <a:lnTo>
                    <a:pt x="161" y="4321"/>
                  </a:lnTo>
                  <a:lnTo>
                    <a:pt x="178" y="4253"/>
                  </a:lnTo>
                  <a:lnTo>
                    <a:pt x="196" y="4185"/>
                  </a:lnTo>
                  <a:lnTo>
                    <a:pt x="215" y="4118"/>
                  </a:lnTo>
                  <a:lnTo>
                    <a:pt x="234" y="4050"/>
                  </a:lnTo>
                  <a:lnTo>
                    <a:pt x="255" y="3984"/>
                  </a:lnTo>
                  <a:lnTo>
                    <a:pt x="276" y="3917"/>
                  </a:lnTo>
                  <a:lnTo>
                    <a:pt x="298" y="3851"/>
                  </a:lnTo>
                  <a:lnTo>
                    <a:pt x="320" y="3786"/>
                  </a:lnTo>
                  <a:lnTo>
                    <a:pt x="344" y="3720"/>
                  </a:lnTo>
                  <a:lnTo>
                    <a:pt x="368" y="3655"/>
                  </a:lnTo>
                  <a:lnTo>
                    <a:pt x="393" y="3591"/>
                  </a:lnTo>
                  <a:lnTo>
                    <a:pt x="419" y="3527"/>
                  </a:lnTo>
                  <a:lnTo>
                    <a:pt x="445" y="3463"/>
                  </a:lnTo>
                  <a:lnTo>
                    <a:pt x="473" y="3399"/>
                  </a:lnTo>
                  <a:lnTo>
                    <a:pt x="501" y="3336"/>
                  </a:lnTo>
                  <a:lnTo>
                    <a:pt x="529" y="3274"/>
                  </a:lnTo>
                  <a:lnTo>
                    <a:pt x="559" y="3212"/>
                  </a:lnTo>
                  <a:lnTo>
                    <a:pt x="589" y="3150"/>
                  </a:lnTo>
                  <a:lnTo>
                    <a:pt x="620" y="3089"/>
                  </a:lnTo>
                  <a:lnTo>
                    <a:pt x="652" y="3028"/>
                  </a:lnTo>
                  <a:lnTo>
                    <a:pt x="684" y="2967"/>
                  </a:lnTo>
                  <a:lnTo>
                    <a:pt x="717" y="2907"/>
                  </a:lnTo>
                  <a:lnTo>
                    <a:pt x="751" y="2848"/>
                  </a:lnTo>
                  <a:lnTo>
                    <a:pt x="785" y="2788"/>
                  </a:lnTo>
                  <a:lnTo>
                    <a:pt x="821" y="2730"/>
                  </a:lnTo>
                  <a:lnTo>
                    <a:pt x="856" y="2672"/>
                  </a:lnTo>
                  <a:lnTo>
                    <a:pt x="893" y="2614"/>
                  </a:lnTo>
                  <a:lnTo>
                    <a:pt x="930" y="2557"/>
                  </a:lnTo>
                  <a:lnTo>
                    <a:pt x="968" y="2500"/>
                  </a:lnTo>
                  <a:lnTo>
                    <a:pt x="1007" y="2443"/>
                  </a:lnTo>
                  <a:lnTo>
                    <a:pt x="1046" y="2388"/>
                  </a:lnTo>
                  <a:lnTo>
                    <a:pt x="1086" y="2332"/>
                  </a:lnTo>
                  <a:lnTo>
                    <a:pt x="1126" y="2277"/>
                  </a:lnTo>
                  <a:lnTo>
                    <a:pt x="1167" y="2223"/>
                  </a:lnTo>
                  <a:lnTo>
                    <a:pt x="1209" y="2169"/>
                  </a:lnTo>
                  <a:lnTo>
                    <a:pt x="1251" y="2116"/>
                  </a:lnTo>
                  <a:lnTo>
                    <a:pt x="1294" y="2063"/>
                  </a:lnTo>
                  <a:lnTo>
                    <a:pt x="1338" y="2011"/>
                  </a:lnTo>
                  <a:lnTo>
                    <a:pt x="1382" y="1959"/>
                  </a:lnTo>
                  <a:lnTo>
                    <a:pt x="1427" y="1908"/>
                  </a:lnTo>
                  <a:lnTo>
                    <a:pt x="1473" y="1858"/>
                  </a:lnTo>
                  <a:lnTo>
                    <a:pt x="1519" y="1807"/>
                  </a:lnTo>
                  <a:lnTo>
                    <a:pt x="1565" y="1758"/>
                  </a:lnTo>
                  <a:lnTo>
                    <a:pt x="1613" y="1709"/>
                  </a:lnTo>
                  <a:lnTo>
                    <a:pt x="1660" y="1661"/>
                  </a:lnTo>
                  <a:lnTo>
                    <a:pt x="1709" y="1613"/>
                  </a:lnTo>
                  <a:lnTo>
                    <a:pt x="1758" y="1566"/>
                  </a:lnTo>
                  <a:lnTo>
                    <a:pt x="1807" y="1519"/>
                  </a:lnTo>
                  <a:lnTo>
                    <a:pt x="1857" y="1473"/>
                  </a:lnTo>
                  <a:lnTo>
                    <a:pt x="1908" y="1427"/>
                  </a:lnTo>
                  <a:lnTo>
                    <a:pt x="1959" y="1383"/>
                  </a:lnTo>
                  <a:lnTo>
                    <a:pt x="2011" y="1338"/>
                  </a:lnTo>
                  <a:lnTo>
                    <a:pt x="2063" y="1295"/>
                  </a:lnTo>
                  <a:lnTo>
                    <a:pt x="2116" y="1252"/>
                  </a:lnTo>
                  <a:lnTo>
                    <a:pt x="2169" y="1209"/>
                  </a:lnTo>
                  <a:lnTo>
                    <a:pt x="2223" y="1168"/>
                  </a:lnTo>
                  <a:lnTo>
                    <a:pt x="2277" y="1126"/>
                  </a:lnTo>
                  <a:lnTo>
                    <a:pt x="2332" y="1086"/>
                  </a:lnTo>
                  <a:lnTo>
                    <a:pt x="2387" y="1046"/>
                  </a:lnTo>
                  <a:lnTo>
                    <a:pt x="2443" y="1007"/>
                  </a:lnTo>
                  <a:lnTo>
                    <a:pt x="2499" y="968"/>
                  </a:lnTo>
                  <a:lnTo>
                    <a:pt x="2556" y="930"/>
                  </a:lnTo>
                  <a:lnTo>
                    <a:pt x="2613" y="893"/>
                  </a:lnTo>
                  <a:lnTo>
                    <a:pt x="2671" y="857"/>
                  </a:lnTo>
                  <a:lnTo>
                    <a:pt x="2729" y="821"/>
                  </a:lnTo>
                  <a:lnTo>
                    <a:pt x="2788" y="786"/>
                  </a:lnTo>
                  <a:lnTo>
                    <a:pt x="2847" y="751"/>
                  </a:lnTo>
                  <a:lnTo>
                    <a:pt x="2907" y="717"/>
                  </a:lnTo>
                  <a:lnTo>
                    <a:pt x="2967" y="684"/>
                  </a:lnTo>
                  <a:lnTo>
                    <a:pt x="3027" y="652"/>
                  </a:lnTo>
                  <a:lnTo>
                    <a:pt x="3088" y="620"/>
                  </a:lnTo>
                  <a:lnTo>
                    <a:pt x="3150" y="589"/>
                  </a:lnTo>
                  <a:lnTo>
                    <a:pt x="3211" y="559"/>
                  </a:lnTo>
                  <a:lnTo>
                    <a:pt x="3273" y="530"/>
                  </a:lnTo>
                  <a:lnTo>
                    <a:pt x="3336" y="501"/>
                  </a:lnTo>
                  <a:lnTo>
                    <a:pt x="3399" y="473"/>
                  </a:lnTo>
                  <a:lnTo>
                    <a:pt x="3462" y="446"/>
                  </a:lnTo>
                  <a:lnTo>
                    <a:pt x="3526" y="419"/>
                  </a:lnTo>
                  <a:lnTo>
                    <a:pt x="3590" y="393"/>
                  </a:lnTo>
                  <a:lnTo>
                    <a:pt x="3655" y="368"/>
                  </a:lnTo>
                  <a:lnTo>
                    <a:pt x="3720" y="344"/>
                  </a:lnTo>
                  <a:lnTo>
                    <a:pt x="3785" y="321"/>
                  </a:lnTo>
                  <a:lnTo>
                    <a:pt x="3851" y="298"/>
                  </a:lnTo>
                  <a:lnTo>
                    <a:pt x="3917" y="276"/>
                  </a:lnTo>
                  <a:lnTo>
                    <a:pt x="3983" y="255"/>
                  </a:lnTo>
                  <a:lnTo>
                    <a:pt x="4050" y="235"/>
                  </a:lnTo>
                  <a:lnTo>
                    <a:pt x="4117" y="215"/>
                  </a:lnTo>
                  <a:lnTo>
                    <a:pt x="4185" y="197"/>
                  </a:lnTo>
                  <a:lnTo>
                    <a:pt x="4252" y="179"/>
                  </a:lnTo>
                  <a:lnTo>
                    <a:pt x="4320" y="162"/>
                  </a:lnTo>
                  <a:lnTo>
                    <a:pt x="4389" y="145"/>
                  </a:lnTo>
                  <a:lnTo>
                    <a:pt x="4458" y="130"/>
                  </a:lnTo>
                  <a:lnTo>
                    <a:pt x="4527" y="115"/>
                  </a:lnTo>
                  <a:lnTo>
                    <a:pt x="4596" y="102"/>
                  </a:lnTo>
                  <a:lnTo>
                    <a:pt x="4666" y="89"/>
                  </a:lnTo>
                  <a:lnTo>
                    <a:pt x="4736" y="77"/>
                  </a:lnTo>
                  <a:lnTo>
                    <a:pt x="4806" y="65"/>
                  </a:lnTo>
                  <a:lnTo>
                    <a:pt x="4876" y="55"/>
                  </a:lnTo>
                  <a:lnTo>
                    <a:pt x="4947" y="46"/>
                  </a:lnTo>
                  <a:lnTo>
                    <a:pt x="5018" y="37"/>
                  </a:lnTo>
                  <a:lnTo>
                    <a:pt x="5090" y="29"/>
                  </a:lnTo>
                  <a:lnTo>
                    <a:pt x="5161" y="23"/>
                  </a:lnTo>
                  <a:lnTo>
                    <a:pt x="5233" y="17"/>
                  </a:lnTo>
                  <a:lnTo>
                    <a:pt x="5305" y="12"/>
                  </a:lnTo>
                  <a:lnTo>
                    <a:pt x="5378" y="8"/>
                  </a:lnTo>
                  <a:lnTo>
                    <a:pt x="5450" y="4"/>
                  </a:lnTo>
                  <a:lnTo>
                    <a:pt x="5523" y="2"/>
                  </a:lnTo>
                  <a:lnTo>
                    <a:pt x="5596" y="1"/>
                  </a:lnTo>
                  <a:lnTo>
                    <a:pt x="5669" y="0"/>
                  </a:lnTo>
                  <a:lnTo>
                    <a:pt x="5669" y="0"/>
                  </a:lnTo>
                  <a:lnTo>
                    <a:pt x="5744" y="1"/>
                  </a:lnTo>
                  <a:lnTo>
                    <a:pt x="5817" y="2"/>
                  </a:lnTo>
                  <a:lnTo>
                    <a:pt x="5890" y="4"/>
                  </a:lnTo>
                  <a:lnTo>
                    <a:pt x="5962" y="8"/>
                  </a:lnTo>
                  <a:lnTo>
                    <a:pt x="6034" y="12"/>
                  </a:lnTo>
                  <a:lnTo>
                    <a:pt x="6107" y="17"/>
                  </a:lnTo>
                  <a:lnTo>
                    <a:pt x="6178" y="23"/>
                  </a:lnTo>
                  <a:lnTo>
                    <a:pt x="6250" y="29"/>
                  </a:lnTo>
                  <a:lnTo>
                    <a:pt x="6321" y="37"/>
                  </a:lnTo>
                  <a:lnTo>
                    <a:pt x="6392" y="46"/>
                  </a:lnTo>
                  <a:lnTo>
                    <a:pt x="6463" y="55"/>
                  </a:lnTo>
                  <a:lnTo>
                    <a:pt x="6534" y="65"/>
                  </a:lnTo>
                  <a:lnTo>
                    <a:pt x="6604" y="77"/>
                  </a:lnTo>
                  <a:lnTo>
                    <a:pt x="6674" y="89"/>
                  </a:lnTo>
                  <a:lnTo>
                    <a:pt x="6744" y="102"/>
                  </a:lnTo>
                  <a:lnTo>
                    <a:pt x="6813" y="115"/>
                  </a:lnTo>
                  <a:lnTo>
                    <a:pt x="6882" y="130"/>
                  </a:lnTo>
                  <a:lnTo>
                    <a:pt x="6951" y="145"/>
                  </a:lnTo>
                  <a:lnTo>
                    <a:pt x="7019" y="162"/>
                  </a:lnTo>
                  <a:lnTo>
                    <a:pt x="7087" y="179"/>
                  </a:lnTo>
                  <a:lnTo>
                    <a:pt x="7155" y="197"/>
                  </a:lnTo>
                  <a:lnTo>
                    <a:pt x="7222" y="215"/>
                  </a:lnTo>
                  <a:lnTo>
                    <a:pt x="7289" y="235"/>
                  </a:lnTo>
                  <a:lnTo>
                    <a:pt x="7356" y="255"/>
                  </a:lnTo>
                  <a:lnTo>
                    <a:pt x="7423" y="276"/>
                  </a:lnTo>
                  <a:lnTo>
                    <a:pt x="7489" y="298"/>
                  </a:lnTo>
                  <a:lnTo>
                    <a:pt x="7554" y="321"/>
                  </a:lnTo>
                  <a:lnTo>
                    <a:pt x="7620" y="344"/>
                  </a:lnTo>
                  <a:lnTo>
                    <a:pt x="7685" y="368"/>
                  </a:lnTo>
                  <a:lnTo>
                    <a:pt x="7749" y="393"/>
                  </a:lnTo>
                  <a:lnTo>
                    <a:pt x="7813" y="419"/>
                  </a:lnTo>
                  <a:lnTo>
                    <a:pt x="7877" y="446"/>
                  </a:lnTo>
                  <a:lnTo>
                    <a:pt x="7940" y="473"/>
                  </a:lnTo>
                  <a:lnTo>
                    <a:pt x="8003" y="501"/>
                  </a:lnTo>
                  <a:lnTo>
                    <a:pt x="8066" y="530"/>
                  </a:lnTo>
                  <a:lnTo>
                    <a:pt x="8128" y="559"/>
                  </a:lnTo>
                  <a:lnTo>
                    <a:pt x="8190" y="589"/>
                  </a:lnTo>
                  <a:lnTo>
                    <a:pt x="8251" y="620"/>
                  </a:lnTo>
                  <a:lnTo>
                    <a:pt x="8312" y="652"/>
                  </a:lnTo>
                  <a:lnTo>
                    <a:pt x="8373" y="684"/>
                  </a:lnTo>
                  <a:lnTo>
                    <a:pt x="8433" y="717"/>
                  </a:lnTo>
                  <a:lnTo>
                    <a:pt x="8492" y="751"/>
                  </a:lnTo>
                  <a:lnTo>
                    <a:pt x="8551" y="786"/>
                  </a:lnTo>
                  <a:lnTo>
                    <a:pt x="8610" y="821"/>
                  </a:lnTo>
                  <a:lnTo>
                    <a:pt x="8668" y="857"/>
                  </a:lnTo>
                  <a:lnTo>
                    <a:pt x="8726" y="893"/>
                  </a:lnTo>
                  <a:lnTo>
                    <a:pt x="8783" y="930"/>
                  </a:lnTo>
                  <a:lnTo>
                    <a:pt x="8840" y="968"/>
                  </a:lnTo>
                  <a:lnTo>
                    <a:pt x="8896" y="1007"/>
                  </a:lnTo>
                  <a:lnTo>
                    <a:pt x="8952" y="1046"/>
                  </a:lnTo>
                  <a:lnTo>
                    <a:pt x="9008" y="1086"/>
                  </a:lnTo>
                  <a:lnTo>
                    <a:pt x="9062" y="1126"/>
                  </a:lnTo>
                  <a:lnTo>
                    <a:pt x="9117" y="1168"/>
                  </a:lnTo>
                  <a:lnTo>
                    <a:pt x="9170" y="1209"/>
                  </a:lnTo>
                  <a:lnTo>
                    <a:pt x="9224" y="1252"/>
                  </a:lnTo>
                  <a:lnTo>
                    <a:pt x="9277" y="1295"/>
                  </a:lnTo>
                  <a:lnTo>
                    <a:pt x="9329" y="1338"/>
                  </a:lnTo>
                  <a:lnTo>
                    <a:pt x="9380" y="1383"/>
                  </a:lnTo>
                  <a:lnTo>
                    <a:pt x="9432" y="1427"/>
                  </a:lnTo>
                  <a:lnTo>
                    <a:pt x="9482" y="1473"/>
                  </a:lnTo>
                  <a:lnTo>
                    <a:pt x="9532" y="1519"/>
                  </a:lnTo>
                  <a:lnTo>
                    <a:pt x="9582" y="1566"/>
                  </a:lnTo>
                  <a:lnTo>
                    <a:pt x="9631" y="1613"/>
                  </a:lnTo>
                  <a:lnTo>
                    <a:pt x="9679" y="1661"/>
                  </a:lnTo>
                  <a:lnTo>
                    <a:pt x="9727" y="1709"/>
                  </a:lnTo>
                  <a:lnTo>
                    <a:pt x="9774" y="1758"/>
                  </a:lnTo>
                  <a:lnTo>
                    <a:pt x="9821" y="1807"/>
                  </a:lnTo>
                  <a:lnTo>
                    <a:pt x="9867" y="1858"/>
                  </a:lnTo>
                  <a:lnTo>
                    <a:pt x="9912" y="1908"/>
                  </a:lnTo>
                  <a:lnTo>
                    <a:pt x="9957" y="1959"/>
                  </a:lnTo>
                  <a:lnTo>
                    <a:pt x="10001" y="2011"/>
                  </a:lnTo>
                  <a:lnTo>
                    <a:pt x="10045" y="2063"/>
                  </a:lnTo>
                  <a:lnTo>
                    <a:pt x="10088" y="2116"/>
                  </a:lnTo>
                  <a:lnTo>
                    <a:pt x="10130" y="2169"/>
                  </a:lnTo>
                  <a:lnTo>
                    <a:pt x="10172" y="2223"/>
                  </a:lnTo>
                  <a:lnTo>
                    <a:pt x="10213" y="2277"/>
                  </a:lnTo>
                  <a:lnTo>
                    <a:pt x="10254" y="2332"/>
                  </a:lnTo>
                  <a:lnTo>
                    <a:pt x="10294" y="2388"/>
                  </a:lnTo>
                  <a:lnTo>
                    <a:pt x="10333" y="2443"/>
                  </a:lnTo>
                  <a:lnTo>
                    <a:pt x="10371" y="2500"/>
                  </a:lnTo>
                  <a:lnTo>
                    <a:pt x="10409" y="2557"/>
                  </a:lnTo>
                  <a:lnTo>
                    <a:pt x="10446" y="2614"/>
                  </a:lnTo>
                  <a:lnTo>
                    <a:pt x="10483" y="2672"/>
                  </a:lnTo>
                  <a:lnTo>
                    <a:pt x="10519" y="2730"/>
                  </a:lnTo>
                  <a:lnTo>
                    <a:pt x="10554" y="2788"/>
                  </a:lnTo>
                  <a:lnTo>
                    <a:pt x="10588" y="2848"/>
                  </a:lnTo>
                  <a:lnTo>
                    <a:pt x="10622" y="2907"/>
                  </a:lnTo>
                  <a:lnTo>
                    <a:pt x="10655" y="2967"/>
                  </a:lnTo>
                  <a:lnTo>
                    <a:pt x="10688" y="3028"/>
                  </a:lnTo>
                  <a:lnTo>
                    <a:pt x="10719" y="3089"/>
                  </a:lnTo>
                  <a:lnTo>
                    <a:pt x="10750" y="3150"/>
                  </a:lnTo>
                  <a:lnTo>
                    <a:pt x="10780" y="3212"/>
                  </a:lnTo>
                  <a:lnTo>
                    <a:pt x="10810" y="3274"/>
                  </a:lnTo>
                  <a:lnTo>
                    <a:pt x="10839" y="3336"/>
                  </a:lnTo>
                  <a:lnTo>
                    <a:pt x="10867" y="3399"/>
                  </a:lnTo>
                  <a:lnTo>
                    <a:pt x="10894" y="3463"/>
                  </a:lnTo>
                  <a:lnTo>
                    <a:pt x="10921" y="3527"/>
                  </a:lnTo>
                  <a:lnTo>
                    <a:pt x="10946" y="3591"/>
                  </a:lnTo>
                  <a:lnTo>
                    <a:pt x="10971" y="3655"/>
                  </a:lnTo>
                  <a:lnTo>
                    <a:pt x="10996" y="3720"/>
                  </a:lnTo>
                  <a:lnTo>
                    <a:pt x="11019" y="3786"/>
                  </a:lnTo>
                  <a:lnTo>
                    <a:pt x="11042" y="3851"/>
                  </a:lnTo>
                  <a:lnTo>
                    <a:pt x="11064" y="3917"/>
                  </a:lnTo>
                  <a:lnTo>
                    <a:pt x="11085" y="3984"/>
                  </a:lnTo>
                  <a:lnTo>
                    <a:pt x="11105" y="4050"/>
                  </a:lnTo>
                  <a:lnTo>
                    <a:pt x="11124" y="4118"/>
                  </a:lnTo>
                  <a:lnTo>
                    <a:pt x="11143" y="4185"/>
                  </a:lnTo>
                  <a:lnTo>
                    <a:pt x="11161" y="4253"/>
                  </a:lnTo>
                  <a:lnTo>
                    <a:pt x="11178" y="4321"/>
                  </a:lnTo>
                  <a:lnTo>
                    <a:pt x="11194" y="4389"/>
                  </a:lnTo>
                  <a:lnTo>
                    <a:pt x="11210" y="4458"/>
                  </a:lnTo>
                  <a:lnTo>
                    <a:pt x="11224" y="4527"/>
                  </a:lnTo>
                  <a:lnTo>
                    <a:pt x="11238" y="4596"/>
                  </a:lnTo>
                  <a:lnTo>
                    <a:pt x="11251" y="4666"/>
                  </a:lnTo>
                  <a:lnTo>
                    <a:pt x="11263" y="4736"/>
                  </a:lnTo>
                  <a:lnTo>
                    <a:pt x="11274" y="4806"/>
                  </a:lnTo>
                  <a:lnTo>
                    <a:pt x="11285" y="4877"/>
                  </a:lnTo>
                  <a:lnTo>
                    <a:pt x="11294" y="4948"/>
                  </a:lnTo>
                  <a:lnTo>
                    <a:pt x="11303" y="5019"/>
                  </a:lnTo>
                  <a:lnTo>
                    <a:pt x="11310" y="5090"/>
                  </a:lnTo>
                  <a:lnTo>
                    <a:pt x="11317" y="5162"/>
                  </a:lnTo>
                  <a:lnTo>
                    <a:pt x="11323" y="5233"/>
                  </a:lnTo>
                  <a:lnTo>
                    <a:pt x="11328" y="5306"/>
                  </a:lnTo>
                  <a:lnTo>
                    <a:pt x="11332" y="5378"/>
                  </a:lnTo>
                  <a:lnTo>
                    <a:pt x="11335" y="5451"/>
                  </a:lnTo>
                  <a:lnTo>
                    <a:pt x="11338" y="5523"/>
                  </a:lnTo>
                  <a:lnTo>
                    <a:pt x="11339" y="5596"/>
                  </a:lnTo>
                  <a:lnTo>
                    <a:pt x="11340" y="5671"/>
                  </a:lnTo>
                  <a:close/>
                </a:path>
              </a:pathLst>
            </a:custGeom>
            <a:solidFill>
              <a:srgbClr val="EC66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212" name="Freeform 7">
              <a:extLst>
                <a:ext uri="{FF2B5EF4-FFF2-40B4-BE49-F238E27FC236}">
                  <a16:creationId xmlns:a16="http://schemas.microsoft.com/office/drawing/2014/main" id="{F4C8A5F8-C88D-4769-B630-C675F2408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8" y="1252"/>
              <a:ext cx="2268" cy="2268"/>
            </a:xfrm>
            <a:custGeom>
              <a:avLst/>
              <a:gdLst/>
              <a:ahLst/>
              <a:cxnLst>
                <a:cxn ang="0">
                  <a:pos x="11317" y="6179"/>
                </a:cxn>
                <a:cxn ang="0">
                  <a:pos x="11224" y="6813"/>
                </a:cxn>
                <a:cxn ang="0">
                  <a:pos x="11064" y="7423"/>
                </a:cxn>
                <a:cxn ang="0">
                  <a:pos x="10839" y="8004"/>
                </a:cxn>
                <a:cxn ang="0">
                  <a:pos x="10554" y="8552"/>
                </a:cxn>
                <a:cxn ang="0">
                  <a:pos x="10213" y="9063"/>
                </a:cxn>
                <a:cxn ang="0">
                  <a:pos x="9821" y="9533"/>
                </a:cxn>
                <a:cxn ang="0">
                  <a:pos x="9380" y="9958"/>
                </a:cxn>
                <a:cxn ang="0">
                  <a:pos x="8896" y="10333"/>
                </a:cxn>
                <a:cxn ang="0">
                  <a:pos x="8373" y="10656"/>
                </a:cxn>
                <a:cxn ang="0">
                  <a:pos x="7813" y="10921"/>
                </a:cxn>
                <a:cxn ang="0">
                  <a:pos x="7222" y="11125"/>
                </a:cxn>
                <a:cxn ang="0">
                  <a:pos x="6604" y="11264"/>
                </a:cxn>
                <a:cxn ang="0">
                  <a:pos x="5962" y="11333"/>
                </a:cxn>
                <a:cxn ang="0">
                  <a:pos x="5378" y="11333"/>
                </a:cxn>
                <a:cxn ang="0">
                  <a:pos x="4736" y="11264"/>
                </a:cxn>
                <a:cxn ang="0">
                  <a:pos x="4117" y="11125"/>
                </a:cxn>
                <a:cxn ang="0">
                  <a:pos x="3526" y="10921"/>
                </a:cxn>
                <a:cxn ang="0">
                  <a:pos x="2967" y="10656"/>
                </a:cxn>
                <a:cxn ang="0">
                  <a:pos x="2443" y="10333"/>
                </a:cxn>
                <a:cxn ang="0">
                  <a:pos x="1959" y="9958"/>
                </a:cxn>
                <a:cxn ang="0">
                  <a:pos x="1519" y="9533"/>
                </a:cxn>
                <a:cxn ang="0">
                  <a:pos x="1126" y="9063"/>
                </a:cxn>
                <a:cxn ang="0">
                  <a:pos x="785" y="8552"/>
                </a:cxn>
                <a:cxn ang="0">
                  <a:pos x="501" y="8004"/>
                </a:cxn>
                <a:cxn ang="0">
                  <a:pos x="276" y="7423"/>
                </a:cxn>
                <a:cxn ang="0">
                  <a:pos x="115" y="6813"/>
                </a:cxn>
                <a:cxn ang="0">
                  <a:pos x="22" y="6179"/>
                </a:cxn>
                <a:cxn ang="0">
                  <a:pos x="0" y="5596"/>
                </a:cxn>
                <a:cxn ang="0">
                  <a:pos x="45" y="4948"/>
                </a:cxn>
                <a:cxn ang="0">
                  <a:pos x="161" y="4321"/>
                </a:cxn>
                <a:cxn ang="0">
                  <a:pos x="344" y="3720"/>
                </a:cxn>
                <a:cxn ang="0">
                  <a:pos x="589" y="3150"/>
                </a:cxn>
                <a:cxn ang="0">
                  <a:pos x="893" y="2614"/>
                </a:cxn>
                <a:cxn ang="0">
                  <a:pos x="1251" y="2116"/>
                </a:cxn>
                <a:cxn ang="0">
                  <a:pos x="1660" y="1661"/>
                </a:cxn>
                <a:cxn ang="0">
                  <a:pos x="2116" y="1252"/>
                </a:cxn>
                <a:cxn ang="0">
                  <a:pos x="2613" y="893"/>
                </a:cxn>
                <a:cxn ang="0">
                  <a:pos x="3150" y="589"/>
                </a:cxn>
                <a:cxn ang="0">
                  <a:pos x="3720" y="344"/>
                </a:cxn>
                <a:cxn ang="0">
                  <a:pos x="4320" y="162"/>
                </a:cxn>
                <a:cxn ang="0">
                  <a:pos x="4947" y="46"/>
                </a:cxn>
                <a:cxn ang="0">
                  <a:pos x="5596" y="1"/>
                </a:cxn>
                <a:cxn ang="0">
                  <a:pos x="6178" y="23"/>
                </a:cxn>
                <a:cxn ang="0">
                  <a:pos x="6813" y="115"/>
                </a:cxn>
                <a:cxn ang="0">
                  <a:pos x="7423" y="276"/>
                </a:cxn>
                <a:cxn ang="0">
                  <a:pos x="8003" y="501"/>
                </a:cxn>
                <a:cxn ang="0">
                  <a:pos x="8551" y="786"/>
                </a:cxn>
                <a:cxn ang="0">
                  <a:pos x="9062" y="1126"/>
                </a:cxn>
                <a:cxn ang="0">
                  <a:pos x="9532" y="1519"/>
                </a:cxn>
                <a:cxn ang="0">
                  <a:pos x="9957" y="1959"/>
                </a:cxn>
                <a:cxn ang="0">
                  <a:pos x="10333" y="2443"/>
                </a:cxn>
                <a:cxn ang="0">
                  <a:pos x="10655" y="2967"/>
                </a:cxn>
                <a:cxn ang="0">
                  <a:pos x="10921" y="3527"/>
                </a:cxn>
                <a:cxn ang="0">
                  <a:pos x="11124" y="4118"/>
                </a:cxn>
                <a:cxn ang="0">
                  <a:pos x="11263" y="4736"/>
                </a:cxn>
                <a:cxn ang="0">
                  <a:pos x="11332" y="5378"/>
                </a:cxn>
              </a:cxnLst>
              <a:rect l="0" t="0" r="r" b="b"/>
              <a:pathLst>
                <a:path w="11340" h="11340">
                  <a:moveTo>
                    <a:pt x="11340" y="5671"/>
                  </a:moveTo>
                  <a:lnTo>
                    <a:pt x="11340" y="5671"/>
                  </a:lnTo>
                  <a:lnTo>
                    <a:pt x="11339" y="5744"/>
                  </a:lnTo>
                  <a:lnTo>
                    <a:pt x="11338" y="5817"/>
                  </a:lnTo>
                  <a:lnTo>
                    <a:pt x="11335" y="5890"/>
                  </a:lnTo>
                  <a:lnTo>
                    <a:pt x="11332" y="5962"/>
                  </a:lnTo>
                  <a:lnTo>
                    <a:pt x="11328" y="6035"/>
                  </a:lnTo>
                  <a:lnTo>
                    <a:pt x="11323" y="6107"/>
                  </a:lnTo>
                  <a:lnTo>
                    <a:pt x="11317" y="6179"/>
                  </a:lnTo>
                  <a:lnTo>
                    <a:pt x="11310" y="6250"/>
                  </a:lnTo>
                  <a:lnTo>
                    <a:pt x="11303" y="6322"/>
                  </a:lnTo>
                  <a:lnTo>
                    <a:pt x="11294" y="6393"/>
                  </a:lnTo>
                  <a:lnTo>
                    <a:pt x="11285" y="6464"/>
                  </a:lnTo>
                  <a:lnTo>
                    <a:pt x="11274" y="6534"/>
                  </a:lnTo>
                  <a:lnTo>
                    <a:pt x="11263" y="6604"/>
                  </a:lnTo>
                  <a:lnTo>
                    <a:pt x="11251" y="6674"/>
                  </a:lnTo>
                  <a:lnTo>
                    <a:pt x="11238" y="6744"/>
                  </a:lnTo>
                  <a:lnTo>
                    <a:pt x="11224" y="6813"/>
                  </a:lnTo>
                  <a:lnTo>
                    <a:pt x="11210" y="6882"/>
                  </a:lnTo>
                  <a:lnTo>
                    <a:pt x="11194" y="6951"/>
                  </a:lnTo>
                  <a:lnTo>
                    <a:pt x="11178" y="7019"/>
                  </a:lnTo>
                  <a:lnTo>
                    <a:pt x="11161" y="7088"/>
                  </a:lnTo>
                  <a:lnTo>
                    <a:pt x="11143" y="7155"/>
                  </a:lnTo>
                  <a:lnTo>
                    <a:pt x="11124" y="7223"/>
                  </a:lnTo>
                  <a:lnTo>
                    <a:pt x="11105" y="7290"/>
                  </a:lnTo>
                  <a:lnTo>
                    <a:pt x="11085" y="7357"/>
                  </a:lnTo>
                  <a:lnTo>
                    <a:pt x="11064" y="7423"/>
                  </a:lnTo>
                  <a:lnTo>
                    <a:pt x="11042" y="7489"/>
                  </a:lnTo>
                  <a:lnTo>
                    <a:pt x="11019" y="7555"/>
                  </a:lnTo>
                  <a:lnTo>
                    <a:pt x="10996" y="7620"/>
                  </a:lnTo>
                  <a:lnTo>
                    <a:pt x="10971" y="7685"/>
                  </a:lnTo>
                  <a:lnTo>
                    <a:pt x="10946" y="7749"/>
                  </a:lnTo>
                  <a:lnTo>
                    <a:pt x="10921" y="7814"/>
                  </a:lnTo>
                  <a:lnTo>
                    <a:pt x="10894" y="7877"/>
                  </a:lnTo>
                  <a:lnTo>
                    <a:pt x="10867" y="7941"/>
                  </a:lnTo>
                  <a:lnTo>
                    <a:pt x="10839" y="8004"/>
                  </a:lnTo>
                  <a:lnTo>
                    <a:pt x="10810" y="8066"/>
                  </a:lnTo>
                  <a:lnTo>
                    <a:pt x="10780" y="8129"/>
                  </a:lnTo>
                  <a:lnTo>
                    <a:pt x="10750" y="8190"/>
                  </a:lnTo>
                  <a:lnTo>
                    <a:pt x="10719" y="8252"/>
                  </a:lnTo>
                  <a:lnTo>
                    <a:pt x="10688" y="8313"/>
                  </a:lnTo>
                  <a:lnTo>
                    <a:pt x="10655" y="8373"/>
                  </a:lnTo>
                  <a:lnTo>
                    <a:pt x="10622" y="8433"/>
                  </a:lnTo>
                  <a:lnTo>
                    <a:pt x="10588" y="8493"/>
                  </a:lnTo>
                  <a:lnTo>
                    <a:pt x="10554" y="8552"/>
                  </a:lnTo>
                  <a:lnTo>
                    <a:pt x="10519" y="8610"/>
                  </a:lnTo>
                  <a:lnTo>
                    <a:pt x="10483" y="8669"/>
                  </a:lnTo>
                  <a:lnTo>
                    <a:pt x="10446" y="8726"/>
                  </a:lnTo>
                  <a:lnTo>
                    <a:pt x="10409" y="8784"/>
                  </a:lnTo>
                  <a:lnTo>
                    <a:pt x="10371" y="8840"/>
                  </a:lnTo>
                  <a:lnTo>
                    <a:pt x="10333" y="8897"/>
                  </a:lnTo>
                  <a:lnTo>
                    <a:pt x="10294" y="8953"/>
                  </a:lnTo>
                  <a:lnTo>
                    <a:pt x="10254" y="9008"/>
                  </a:lnTo>
                  <a:lnTo>
                    <a:pt x="10213" y="9063"/>
                  </a:lnTo>
                  <a:lnTo>
                    <a:pt x="10172" y="9117"/>
                  </a:lnTo>
                  <a:lnTo>
                    <a:pt x="10130" y="9171"/>
                  </a:lnTo>
                  <a:lnTo>
                    <a:pt x="10088" y="9224"/>
                  </a:lnTo>
                  <a:lnTo>
                    <a:pt x="10045" y="9277"/>
                  </a:lnTo>
                  <a:lnTo>
                    <a:pt x="10001" y="9329"/>
                  </a:lnTo>
                  <a:lnTo>
                    <a:pt x="9957" y="9381"/>
                  </a:lnTo>
                  <a:lnTo>
                    <a:pt x="9912" y="9432"/>
                  </a:lnTo>
                  <a:lnTo>
                    <a:pt x="9867" y="9483"/>
                  </a:lnTo>
                  <a:lnTo>
                    <a:pt x="9821" y="9533"/>
                  </a:lnTo>
                  <a:lnTo>
                    <a:pt x="9774" y="9582"/>
                  </a:lnTo>
                  <a:lnTo>
                    <a:pt x="9727" y="9631"/>
                  </a:lnTo>
                  <a:lnTo>
                    <a:pt x="9679" y="9680"/>
                  </a:lnTo>
                  <a:lnTo>
                    <a:pt x="9631" y="9727"/>
                  </a:lnTo>
                  <a:lnTo>
                    <a:pt x="9582" y="9775"/>
                  </a:lnTo>
                  <a:lnTo>
                    <a:pt x="9532" y="9821"/>
                  </a:lnTo>
                  <a:lnTo>
                    <a:pt x="9482" y="9867"/>
                  </a:lnTo>
                  <a:lnTo>
                    <a:pt x="9432" y="9913"/>
                  </a:lnTo>
                  <a:lnTo>
                    <a:pt x="9380" y="9958"/>
                  </a:lnTo>
                  <a:lnTo>
                    <a:pt x="9329" y="10002"/>
                  </a:lnTo>
                  <a:lnTo>
                    <a:pt x="9277" y="10046"/>
                  </a:lnTo>
                  <a:lnTo>
                    <a:pt x="9224" y="10089"/>
                  </a:lnTo>
                  <a:lnTo>
                    <a:pt x="9170" y="10131"/>
                  </a:lnTo>
                  <a:lnTo>
                    <a:pt x="9117" y="10173"/>
                  </a:lnTo>
                  <a:lnTo>
                    <a:pt x="9062" y="10214"/>
                  </a:lnTo>
                  <a:lnTo>
                    <a:pt x="9008" y="10254"/>
                  </a:lnTo>
                  <a:lnTo>
                    <a:pt x="8952" y="10294"/>
                  </a:lnTo>
                  <a:lnTo>
                    <a:pt x="8896" y="10333"/>
                  </a:lnTo>
                  <a:lnTo>
                    <a:pt x="8840" y="10372"/>
                  </a:lnTo>
                  <a:lnTo>
                    <a:pt x="8783" y="10410"/>
                  </a:lnTo>
                  <a:lnTo>
                    <a:pt x="8726" y="10447"/>
                  </a:lnTo>
                  <a:lnTo>
                    <a:pt x="8668" y="10484"/>
                  </a:lnTo>
                  <a:lnTo>
                    <a:pt x="8610" y="10519"/>
                  </a:lnTo>
                  <a:lnTo>
                    <a:pt x="8551" y="10555"/>
                  </a:lnTo>
                  <a:lnTo>
                    <a:pt x="8492" y="10589"/>
                  </a:lnTo>
                  <a:lnTo>
                    <a:pt x="8433" y="10623"/>
                  </a:lnTo>
                  <a:lnTo>
                    <a:pt x="8373" y="10656"/>
                  </a:lnTo>
                  <a:lnTo>
                    <a:pt x="8312" y="10688"/>
                  </a:lnTo>
                  <a:lnTo>
                    <a:pt x="8251" y="10720"/>
                  </a:lnTo>
                  <a:lnTo>
                    <a:pt x="8190" y="10751"/>
                  </a:lnTo>
                  <a:lnTo>
                    <a:pt x="8128" y="10781"/>
                  </a:lnTo>
                  <a:lnTo>
                    <a:pt x="8066" y="10811"/>
                  </a:lnTo>
                  <a:lnTo>
                    <a:pt x="8003" y="10839"/>
                  </a:lnTo>
                  <a:lnTo>
                    <a:pt x="7940" y="10867"/>
                  </a:lnTo>
                  <a:lnTo>
                    <a:pt x="7877" y="10895"/>
                  </a:lnTo>
                  <a:lnTo>
                    <a:pt x="7813" y="10921"/>
                  </a:lnTo>
                  <a:lnTo>
                    <a:pt x="7749" y="10947"/>
                  </a:lnTo>
                  <a:lnTo>
                    <a:pt x="7685" y="10972"/>
                  </a:lnTo>
                  <a:lnTo>
                    <a:pt x="7620" y="10996"/>
                  </a:lnTo>
                  <a:lnTo>
                    <a:pt x="7554" y="11020"/>
                  </a:lnTo>
                  <a:lnTo>
                    <a:pt x="7489" y="11042"/>
                  </a:lnTo>
                  <a:lnTo>
                    <a:pt x="7423" y="11064"/>
                  </a:lnTo>
                  <a:lnTo>
                    <a:pt x="7356" y="11085"/>
                  </a:lnTo>
                  <a:lnTo>
                    <a:pt x="7289" y="11106"/>
                  </a:lnTo>
                  <a:lnTo>
                    <a:pt x="7222" y="11125"/>
                  </a:lnTo>
                  <a:lnTo>
                    <a:pt x="7155" y="11144"/>
                  </a:lnTo>
                  <a:lnTo>
                    <a:pt x="7087" y="11162"/>
                  </a:lnTo>
                  <a:lnTo>
                    <a:pt x="7019" y="11179"/>
                  </a:lnTo>
                  <a:lnTo>
                    <a:pt x="6951" y="11195"/>
                  </a:lnTo>
                  <a:lnTo>
                    <a:pt x="6882" y="11210"/>
                  </a:lnTo>
                  <a:lnTo>
                    <a:pt x="6813" y="11225"/>
                  </a:lnTo>
                  <a:lnTo>
                    <a:pt x="6744" y="11239"/>
                  </a:lnTo>
                  <a:lnTo>
                    <a:pt x="6674" y="11252"/>
                  </a:lnTo>
                  <a:lnTo>
                    <a:pt x="6604" y="11264"/>
                  </a:lnTo>
                  <a:lnTo>
                    <a:pt x="6534" y="11275"/>
                  </a:lnTo>
                  <a:lnTo>
                    <a:pt x="6463" y="11285"/>
                  </a:lnTo>
                  <a:lnTo>
                    <a:pt x="6392" y="11295"/>
                  </a:lnTo>
                  <a:lnTo>
                    <a:pt x="6321" y="11303"/>
                  </a:lnTo>
                  <a:lnTo>
                    <a:pt x="6250" y="11311"/>
                  </a:lnTo>
                  <a:lnTo>
                    <a:pt x="6178" y="11318"/>
                  </a:lnTo>
                  <a:lnTo>
                    <a:pt x="6107" y="11324"/>
                  </a:lnTo>
                  <a:lnTo>
                    <a:pt x="6034" y="11329"/>
                  </a:lnTo>
                  <a:lnTo>
                    <a:pt x="5962" y="11333"/>
                  </a:lnTo>
                  <a:lnTo>
                    <a:pt x="5890" y="11336"/>
                  </a:lnTo>
                  <a:lnTo>
                    <a:pt x="5817" y="11338"/>
                  </a:lnTo>
                  <a:lnTo>
                    <a:pt x="5744" y="11340"/>
                  </a:lnTo>
                  <a:lnTo>
                    <a:pt x="5669" y="11340"/>
                  </a:lnTo>
                  <a:lnTo>
                    <a:pt x="5669" y="11340"/>
                  </a:lnTo>
                  <a:lnTo>
                    <a:pt x="5596" y="11340"/>
                  </a:lnTo>
                  <a:lnTo>
                    <a:pt x="5523" y="11338"/>
                  </a:lnTo>
                  <a:lnTo>
                    <a:pt x="5450" y="11336"/>
                  </a:lnTo>
                  <a:lnTo>
                    <a:pt x="5378" y="11333"/>
                  </a:lnTo>
                  <a:lnTo>
                    <a:pt x="5305" y="11329"/>
                  </a:lnTo>
                  <a:lnTo>
                    <a:pt x="5233" y="11324"/>
                  </a:lnTo>
                  <a:lnTo>
                    <a:pt x="5161" y="11318"/>
                  </a:lnTo>
                  <a:lnTo>
                    <a:pt x="5090" y="11311"/>
                  </a:lnTo>
                  <a:lnTo>
                    <a:pt x="5018" y="11303"/>
                  </a:lnTo>
                  <a:lnTo>
                    <a:pt x="4947" y="11295"/>
                  </a:lnTo>
                  <a:lnTo>
                    <a:pt x="4876" y="11285"/>
                  </a:lnTo>
                  <a:lnTo>
                    <a:pt x="4806" y="11275"/>
                  </a:lnTo>
                  <a:lnTo>
                    <a:pt x="4736" y="11264"/>
                  </a:lnTo>
                  <a:lnTo>
                    <a:pt x="4666" y="11252"/>
                  </a:lnTo>
                  <a:lnTo>
                    <a:pt x="4596" y="11239"/>
                  </a:lnTo>
                  <a:lnTo>
                    <a:pt x="4527" y="11225"/>
                  </a:lnTo>
                  <a:lnTo>
                    <a:pt x="4458" y="11210"/>
                  </a:lnTo>
                  <a:lnTo>
                    <a:pt x="4389" y="11195"/>
                  </a:lnTo>
                  <a:lnTo>
                    <a:pt x="4320" y="11179"/>
                  </a:lnTo>
                  <a:lnTo>
                    <a:pt x="4252" y="11162"/>
                  </a:lnTo>
                  <a:lnTo>
                    <a:pt x="4185" y="11144"/>
                  </a:lnTo>
                  <a:lnTo>
                    <a:pt x="4117" y="11125"/>
                  </a:lnTo>
                  <a:lnTo>
                    <a:pt x="4050" y="11106"/>
                  </a:lnTo>
                  <a:lnTo>
                    <a:pt x="3983" y="11085"/>
                  </a:lnTo>
                  <a:lnTo>
                    <a:pt x="3917" y="11064"/>
                  </a:lnTo>
                  <a:lnTo>
                    <a:pt x="3851" y="11042"/>
                  </a:lnTo>
                  <a:lnTo>
                    <a:pt x="3785" y="11020"/>
                  </a:lnTo>
                  <a:lnTo>
                    <a:pt x="3720" y="10996"/>
                  </a:lnTo>
                  <a:lnTo>
                    <a:pt x="3655" y="10972"/>
                  </a:lnTo>
                  <a:lnTo>
                    <a:pt x="3590" y="10947"/>
                  </a:lnTo>
                  <a:lnTo>
                    <a:pt x="3526" y="10921"/>
                  </a:lnTo>
                  <a:lnTo>
                    <a:pt x="3462" y="10895"/>
                  </a:lnTo>
                  <a:lnTo>
                    <a:pt x="3399" y="10867"/>
                  </a:lnTo>
                  <a:lnTo>
                    <a:pt x="3336" y="10839"/>
                  </a:lnTo>
                  <a:lnTo>
                    <a:pt x="3273" y="10811"/>
                  </a:lnTo>
                  <a:lnTo>
                    <a:pt x="3211" y="10781"/>
                  </a:lnTo>
                  <a:lnTo>
                    <a:pt x="3150" y="10751"/>
                  </a:lnTo>
                  <a:lnTo>
                    <a:pt x="3088" y="10720"/>
                  </a:lnTo>
                  <a:lnTo>
                    <a:pt x="3027" y="10688"/>
                  </a:lnTo>
                  <a:lnTo>
                    <a:pt x="2967" y="10656"/>
                  </a:lnTo>
                  <a:lnTo>
                    <a:pt x="2907" y="10623"/>
                  </a:lnTo>
                  <a:lnTo>
                    <a:pt x="2847" y="10589"/>
                  </a:lnTo>
                  <a:lnTo>
                    <a:pt x="2788" y="10555"/>
                  </a:lnTo>
                  <a:lnTo>
                    <a:pt x="2729" y="10519"/>
                  </a:lnTo>
                  <a:lnTo>
                    <a:pt x="2671" y="10484"/>
                  </a:lnTo>
                  <a:lnTo>
                    <a:pt x="2613" y="10447"/>
                  </a:lnTo>
                  <a:lnTo>
                    <a:pt x="2556" y="10410"/>
                  </a:lnTo>
                  <a:lnTo>
                    <a:pt x="2499" y="10372"/>
                  </a:lnTo>
                  <a:lnTo>
                    <a:pt x="2443" y="10333"/>
                  </a:lnTo>
                  <a:lnTo>
                    <a:pt x="2387" y="10294"/>
                  </a:lnTo>
                  <a:lnTo>
                    <a:pt x="2332" y="10254"/>
                  </a:lnTo>
                  <a:lnTo>
                    <a:pt x="2277" y="10214"/>
                  </a:lnTo>
                  <a:lnTo>
                    <a:pt x="2223" y="10173"/>
                  </a:lnTo>
                  <a:lnTo>
                    <a:pt x="2169" y="10131"/>
                  </a:lnTo>
                  <a:lnTo>
                    <a:pt x="2116" y="10089"/>
                  </a:lnTo>
                  <a:lnTo>
                    <a:pt x="2063" y="10046"/>
                  </a:lnTo>
                  <a:lnTo>
                    <a:pt x="2011" y="10002"/>
                  </a:lnTo>
                  <a:lnTo>
                    <a:pt x="1959" y="9958"/>
                  </a:lnTo>
                  <a:lnTo>
                    <a:pt x="1908" y="9913"/>
                  </a:lnTo>
                  <a:lnTo>
                    <a:pt x="1857" y="9867"/>
                  </a:lnTo>
                  <a:lnTo>
                    <a:pt x="1807" y="9821"/>
                  </a:lnTo>
                  <a:lnTo>
                    <a:pt x="1758" y="9775"/>
                  </a:lnTo>
                  <a:lnTo>
                    <a:pt x="1709" y="9727"/>
                  </a:lnTo>
                  <a:lnTo>
                    <a:pt x="1660" y="9680"/>
                  </a:lnTo>
                  <a:lnTo>
                    <a:pt x="1613" y="9631"/>
                  </a:lnTo>
                  <a:lnTo>
                    <a:pt x="1565" y="9582"/>
                  </a:lnTo>
                  <a:lnTo>
                    <a:pt x="1519" y="9533"/>
                  </a:lnTo>
                  <a:lnTo>
                    <a:pt x="1473" y="9483"/>
                  </a:lnTo>
                  <a:lnTo>
                    <a:pt x="1427" y="9432"/>
                  </a:lnTo>
                  <a:lnTo>
                    <a:pt x="1382" y="9381"/>
                  </a:lnTo>
                  <a:lnTo>
                    <a:pt x="1338" y="9329"/>
                  </a:lnTo>
                  <a:lnTo>
                    <a:pt x="1294" y="9277"/>
                  </a:lnTo>
                  <a:lnTo>
                    <a:pt x="1251" y="9224"/>
                  </a:lnTo>
                  <a:lnTo>
                    <a:pt x="1209" y="9171"/>
                  </a:lnTo>
                  <a:lnTo>
                    <a:pt x="1167" y="9117"/>
                  </a:lnTo>
                  <a:lnTo>
                    <a:pt x="1126" y="9063"/>
                  </a:lnTo>
                  <a:lnTo>
                    <a:pt x="1086" y="9008"/>
                  </a:lnTo>
                  <a:lnTo>
                    <a:pt x="1046" y="8953"/>
                  </a:lnTo>
                  <a:lnTo>
                    <a:pt x="1007" y="8897"/>
                  </a:lnTo>
                  <a:lnTo>
                    <a:pt x="968" y="8840"/>
                  </a:lnTo>
                  <a:lnTo>
                    <a:pt x="930" y="8784"/>
                  </a:lnTo>
                  <a:lnTo>
                    <a:pt x="893" y="8726"/>
                  </a:lnTo>
                  <a:lnTo>
                    <a:pt x="856" y="8669"/>
                  </a:lnTo>
                  <a:lnTo>
                    <a:pt x="821" y="8610"/>
                  </a:lnTo>
                  <a:lnTo>
                    <a:pt x="785" y="8552"/>
                  </a:lnTo>
                  <a:lnTo>
                    <a:pt x="751" y="8493"/>
                  </a:lnTo>
                  <a:lnTo>
                    <a:pt x="717" y="8433"/>
                  </a:lnTo>
                  <a:lnTo>
                    <a:pt x="684" y="8373"/>
                  </a:lnTo>
                  <a:lnTo>
                    <a:pt x="652" y="8313"/>
                  </a:lnTo>
                  <a:lnTo>
                    <a:pt x="620" y="8252"/>
                  </a:lnTo>
                  <a:lnTo>
                    <a:pt x="589" y="8190"/>
                  </a:lnTo>
                  <a:lnTo>
                    <a:pt x="559" y="8129"/>
                  </a:lnTo>
                  <a:lnTo>
                    <a:pt x="529" y="8066"/>
                  </a:lnTo>
                  <a:lnTo>
                    <a:pt x="501" y="8004"/>
                  </a:lnTo>
                  <a:lnTo>
                    <a:pt x="473" y="7941"/>
                  </a:lnTo>
                  <a:lnTo>
                    <a:pt x="445" y="7877"/>
                  </a:lnTo>
                  <a:lnTo>
                    <a:pt x="419" y="7814"/>
                  </a:lnTo>
                  <a:lnTo>
                    <a:pt x="393" y="7749"/>
                  </a:lnTo>
                  <a:lnTo>
                    <a:pt x="368" y="7685"/>
                  </a:lnTo>
                  <a:lnTo>
                    <a:pt x="344" y="7620"/>
                  </a:lnTo>
                  <a:lnTo>
                    <a:pt x="320" y="7555"/>
                  </a:lnTo>
                  <a:lnTo>
                    <a:pt x="298" y="7489"/>
                  </a:lnTo>
                  <a:lnTo>
                    <a:pt x="276" y="7423"/>
                  </a:lnTo>
                  <a:lnTo>
                    <a:pt x="255" y="7357"/>
                  </a:lnTo>
                  <a:lnTo>
                    <a:pt x="234" y="7290"/>
                  </a:lnTo>
                  <a:lnTo>
                    <a:pt x="215" y="7223"/>
                  </a:lnTo>
                  <a:lnTo>
                    <a:pt x="196" y="7155"/>
                  </a:lnTo>
                  <a:lnTo>
                    <a:pt x="178" y="7088"/>
                  </a:lnTo>
                  <a:lnTo>
                    <a:pt x="161" y="7019"/>
                  </a:lnTo>
                  <a:lnTo>
                    <a:pt x="145" y="6951"/>
                  </a:lnTo>
                  <a:lnTo>
                    <a:pt x="130" y="6882"/>
                  </a:lnTo>
                  <a:lnTo>
                    <a:pt x="115" y="6813"/>
                  </a:lnTo>
                  <a:lnTo>
                    <a:pt x="101" y="6744"/>
                  </a:lnTo>
                  <a:lnTo>
                    <a:pt x="88" y="6674"/>
                  </a:lnTo>
                  <a:lnTo>
                    <a:pt x="76" y="6604"/>
                  </a:lnTo>
                  <a:lnTo>
                    <a:pt x="65" y="6534"/>
                  </a:lnTo>
                  <a:lnTo>
                    <a:pt x="55" y="6464"/>
                  </a:lnTo>
                  <a:lnTo>
                    <a:pt x="45" y="6393"/>
                  </a:lnTo>
                  <a:lnTo>
                    <a:pt x="37" y="6322"/>
                  </a:lnTo>
                  <a:lnTo>
                    <a:pt x="29" y="6250"/>
                  </a:lnTo>
                  <a:lnTo>
                    <a:pt x="22" y="6179"/>
                  </a:lnTo>
                  <a:lnTo>
                    <a:pt x="16" y="6107"/>
                  </a:lnTo>
                  <a:lnTo>
                    <a:pt x="11" y="6035"/>
                  </a:lnTo>
                  <a:lnTo>
                    <a:pt x="7" y="5962"/>
                  </a:lnTo>
                  <a:lnTo>
                    <a:pt x="4" y="5890"/>
                  </a:lnTo>
                  <a:lnTo>
                    <a:pt x="2" y="5817"/>
                  </a:lnTo>
                  <a:lnTo>
                    <a:pt x="0" y="5744"/>
                  </a:lnTo>
                  <a:lnTo>
                    <a:pt x="0" y="5671"/>
                  </a:lnTo>
                  <a:lnTo>
                    <a:pt x="0" y="5671"/>
                  </a:lnTo>
                  <a:lnTo>
                    <a:pt x="0" y="5596"/>
                  </a:lnTo>
                  <a:lnTo>
                    <a:pt x="2" y="5523"/>
                  </a:lnTo>
                  <a:lnTo>
                    <a:pt x="4" y="5451"/>
                  </a:lnTo>
                  <a:lnTo>
                    <a:pt x="7" y="5378"/>
                  </a:lnTo>
                  <a:lnTo>
                    <a:pt x="11" y="5306"/>
                  </a:lnTo>
                  <a:lnTo>
                    <a:pt x="16" y="5233"/>
                  </a:lnTo>
                  <a:lnTo>
                    <a:pt x="22" y="5162"/>
                  </a:lnTo>
                  <a:lnTo>
                    <a:pt x="29" y="5090"/>
                  </a:lnTo>
                  <a:lnTo>
                    <a:pt x="37" y="5019"/>
                  </a:lnTo>
                  <a:lnTo>
                    <a:pt x="45" y="4948"/>
                  </a:lnTo>
                  <a:lnTo>
                    <a:pt x="55" y="4877"/>
                  </a:lnTo>
                  <a:lnTo>
                    <a:pt x="65" y="4806"/>
                  </a:lnTo>
                  <a:lnTo>
                    <a:pt x="76" y="4736"/>
                  </a:lnTo>
                  <a:lnTo>
                    <a:pt x="88" y="4666"/>
                  </a:lnTo>
                  <a:lnTo>
                    <a:pt x="101" y="4596"/>
                  </a:lnTo>
                  <a:lnTo>
                    <a:pt x="115" y="4527"/>
                  </a:lnTo>
                  <a:lnTo>
                    <a:pt x="130" y="4458"/>
                  </a:lnTo>
                  <a:lnTo>
                    <a:pt x="145" y="4389"/>
                  </a:lnTo>
                  <a:lnTo>
                    <a:pt x="161" y="4321"/>
                  </a:lnTo>
                  <a:lnTo>
                    <a:pt x="178" y="4253"/>
                  </a:lnTo>
                  <a:lnTo>
                    <a:pt x="196" y="4185"/>
                  </a:lnTo>
                  <a:lnTo>
                    <a:pt x="215" y="4118"/>
                  </a:lnTo>
                  <a:lnTo>
                    <a:pt x="234" y="4050"/>
                  </a:lnTo>
                  <a:lnTo>
                    <a:pt x="255" y="3984"/>
                  </a:lnTo>
                  <a:lnTo>
                    <a:pt x="276" y="3917"/>
                  </a:lnTo>
                  <a:lnTo>
                    <a:pt x="298" y="3851"/>
                  </a:lnTo>
                  <a:lnTo>
                    <a:pt x="320" y="3786"/>
                  </a:lnTo>
                  <a:lnTo>
                    <a:pt x="344" y="3720"/>
                  </a:lnTo>
                  <a:lnTo>
                    <a:pt x="368" y="3655"/>
                  </a:lnTo>
                  <a:lnTo>
                    <a:pt x="393" y="3591"/>
                  </a:lnTo>
                  <a:lnTo>
                    <a:pt x="419" y="3527"/>
                  </a:lnTo>
                  <a:lnTo>
                    <a:pt x="445" y="3463"/>
                  </a:lnTo>
                  <a:lnTo>
                    <a:pt x="473" y="3399"/>
                  </a:lnTo>
                  <a:lnTo>
                    <a:pt x="501" y="3336"/>
                  </a:lnTo>
                  <a:lnTo>
                    <a:pt x="529" y="3274"/>
                  </a:lnTo>
                  <a:lnTo>
                    <a:pt x="559" y="3212"/>
                  </a:lnTo>
                  <a:lnTo>
                    <a:pt x="589" y="3150"/>
                  </a:lnTo>
                  <a:lnTo>
                    <a:pt x="620" y="3089"/>
                  </a:lnTo>
                  <a:lnTo>
                    <a:pt x="652" y="3028"/>
                  </a:lnTo>
                  <a:lnTo>
                    <a:pt x="684" y="2967"/>
                  </a:lnTo>
                  <a:lnTo>
                    <a:pt x="717" y="2907"/>
                  </a:lnTo>
                  <a:lnTo>
                    <a:pt x="751" y="2848"/>
                  </a:lnTo>
                  <a:lnTo>
                    <a:pt x="785" y="2788"/>
                  </a:lnTo>
                  <a:lnTo>
                    <a:pt x="821" y="2730"/>
                  </a:lnTo>
                  <a:lnTo>
                    <a:pt x="856" y="2672"/>
                  </a:lnTo>
                  <a:lnTo>
                    <a:pt x="893" y="2614"/>
                  </a:lnTo>
                  <a:lnTo>
                    <a:pt x="930" y="2557"/>
                  </a:lnTo>
                  <a:lnTo>
                    <a:pt x="968" y="2500"/>
                  </a:lnTo>
                  <a:lnTo>
                    <a:pt x="1007" y="2443"/>
                  </a:lnTo>
                  <a:lnTo>
                    <a:pt x="1046" y="2388"/>
                  </a:lnTo>
                  <a:lnTo>
                    <a:pt x="1086" y="2332"/>
                  </a:lnTo>
                  <a:lnTo>
                    <a:pt x="1126" y="2277"/>
                  </a:lnTo>
                  <a:lnTo>
                    <a:pt x="1167" y="2223"/>
                  </a:lnTo>
                  <a:lnTo>
                    <a:pt x="1209" y="2169"/>
                  </a:lnTo>
                  <a:lnTo>
                    <a:pt x="1251" y="2116"/>
                  </a:lnTo>
                  <a:lnTo>
                    <a:pt x="1294" y="2063"/>
                  </a:lnTo>
                  <a:lnTo>
                    <a:pt x="1338" y="2011"/>
                  </a:lnTo>
                  <a:lnTo>
                    <a:pt x="1382" y="1959"/>
                  </a:lnTo>
                  <a:lnTo>
                    <a:pt x="1427" y="1908"/>
                  </a:lnTo>
                  <a:lnTo>
                    <a:pt x="1473" y="1858"/>
                  </a:lnTo>
                  <a:lnTo>
                    <a:pt x="1519" y="1807"/>
                  </a:lnTo>
                  <a:lnTo>
                    <a:pt x="1565" y="1758"/>
                  </a:lnTo>
                  <a:lnTo>
                    <a:pt x="1613" y="1709"/>
                  </a:lnTo>
                  <a:lnTo>
                    <a:pt x="1660" y="1661"/>
                  </a:lnTo>
                  <a:lnTo>
                    <a:pt x="1709" y="1613"/>
                  </a:lnTo>
                  <a:lnTo>
                    <a:pt x="1758" y="1566"/>
                  </a:lnTo>
                  <a:lnTo>
                    <a:pt x="1807" y="1519"/>
                  </a:lnTo>
                  <a:lnTo>
                    <a:pt x="1857" y="1473"/>
                  </a:lnTo>
                  <a:lnTo>
                    <a:pt x="1908" y="1427"/>
                  </a:lnTo>
                  <a:lnTo>
                    <a:pt x="1959" y="1383"/>
                  </a:lnTo>
                  <a:lnTo>
                    <a:pt x="2011" y="1338"/>
                  </a:lnTo>
                  <a:lnTo>
                    <a:pt x="2063" y="1295"/>
                  </a:lnTo>
                  <a:lnTo>
                    <a:pt x="2116" y="1252"/>
                  </a:lnTo>
                  <a:lnTo>
                    <a:pt x="2169" y="1209"/>
                  </a:lnTo>
                  <a:lnTo>
                    <a:pt x="2223" y="1168"/>
                  </a:lnTo>
                  <a:lnTo>
                    <a:pt x="2277" y="1126"/>
                  </a:lnTo>
                  <a:lnTo>
                    <a:pt x="2332" y="1086"/>
                  </a:lnTo>
                  <a:lnTo>
                    <a:pt x="2387" y="1046"/>
                  </a:lnTo>
                  <a:lnTo>
                    <a:pt x="2443" y="1007"/>
                  </a:lnTo>
                  <a:lnTo>
                    <a:pt x="2499" y="968"/>
                  </a:lnTo>
                  <a:lnTo>
                    <a:pt x="2556" y="930"/>
                  </a:lnTo>
                  <a:lnTo>
                    <a:pt x="2613" y="893"/>
                  </a:lnTo>
                  <a:lnTo>
                    <a:pt x="2671" y="857"/>
                  </a:lnTo>
                  <a:lnTo>
                    <a:pt x="2729" y="821"/>
                  </a:lnTo>
                  <a:lnTo>
                    <a:pt x="2788" y="786"/>
                  </a:lnTo>
                  <a:lnTo>
                    <a:pt x="2847" y="751"/>
                  </a:lnTo>
                  <a:lnTo>
                    <a:pt x="2907" y="717"/>
                  </a:lnTo>
                  <a:lnTo>
                    <a:pt x="2967" y="684"/>
                  </a:lnTo>
                  <a:lnTo>
                    <a:pt x="3027" y="652"/>
                  </a:lnTo>
                  <a:lnTo>
                    <a:pt x="3088" y="620"/>
                  </a:lnTo>
                  <a:lnTo>
                    <a:pt x="3150" y="589"/>
                  </a:lnTo>
                  <a:lnTo>
                    <a:pt x="3211" y="559"/>
                  </a:lnTo>
                  <a:lnTo>
                    <a:pt x="3273" y="530"/>
                  </a:lnTo>
                  <a:lnTo>
                    <a:pt x="3336" y="501"/>
                  </a:lnTo>
                  <a:lnTo>
                    <a:pt x="3399" y="473"/>
                  </a:lnTo>
                  <a:lnTo>
                    <a:pt x="3462" y="446"/>
                  </a:lnTo>
                  <a:lnTo>
                    <a:pt x="3526" y="419"/>
                  </a:lnTo>
                  <a:lnTo>
                    <a:pt x="3590" y="393"/>
                  </a:lnTo>
                  <a:lnTo>
                    <a:pt x="3655" y="368"/>
                  </a:lnTo>
                  <a:lnTo>
                    <a:pt x="3720" y="344"/>
                  </a:lnTo>
                  <a:lnTo>
                    <a:pt x="3785" y="321"/>
                  </a:lnTo>
                  <a:lnTo>
                    <a:pt x="3851" y="298"/>
                  </a:lnTo>
                  <a:lnTo>
                    <a:pt x="3917" y="276"/>
                  </a:lnTo>
                  <a:lnTo>
                    <a:pt x="3983" y="255"/>
                  </a:lnTo>
                  <a:lnTo>
                    <a:pt x="4050" y="235"/>
                  </a:lnTo>
                  <a:lnTo>
                    <a:pt x="4117" y="215"/>
                  </a:lnTo>
                  <a:lnTo>
                    <a:pt x="4185" y="197"/>
                  </a:lnTo>
                  <a:lnTo>
                    <a:pt x="4252" y="179"/>
                  </a:lnTo>
                  <a:lnTo>
                    <a:pt x="4320" y="162"/>
                  </a:lnTo>
                  <a:lnTo>
                    <a:pt x="4389" y="145"/>
                  </a:lnTo>
                  <a:lnTo>
                    <a:pt x="4458" y="130"/>
                  </a:lnTo>
                  <a:lnTo>
                    <a:pt x="4527" y="115"/>
                  </a:lnTo>
                  <a:lnTo>
                    <a:pt x="4596" y="102"/>
                  </a:lnTo>
                  <a:lnTo>
                    <a:pt x="4666" y="89"/>
                  </a:lnTo>
                  <a:lnTo>
                    <a:pt x="4736" y="77"/>
                  </a:lnTo>
                  <a:lnTo>
                    <a:pt x="4806" y="65"/>
                  </a:lnTo>
                  <a:lnTo>
                    <a:pt x="4876" y="55"/>
                  </a:lnTo>
                  <a:lnTo>
                    <a:pt x="4947" y="46"/>
                  </a:lnTo>
                  <a:lnTo>
                    <a:pt x="5018" y="37"/>
                  </a:lnTo>
                  <a:lnTo>
                    <a:pt x="5090" y="29"/>
                  </a:lnTo>
                  <a:lnTo>
                    <a:pt x="5161" y="23"/>
                  </a:lnTo>
                  <a:lnTo>
                    <a:pt x="5233" y="17"/>
                  </a:lnTo>
                  <a:lnTo>
                    <a:pt x="5305" y="12"/>
                  </a:lnTo>
                  <a:lnTo>
                    <a:pt x="5378" y="8"/>
                  </a:lnTo>
                  <a:lnTo>
                    <a:pt x="5450" y="4"/>
                  </a:lnTo>
                  <a:lnTo>
                    <a:pt x="5523" y="2"/>
                  </a:lnTo>
                  <a:lnTo>
                    <a:pt x="5596" y="1"/>
                  </a:lnTo>
                  <a:lnTo>
                    <a:pt x="5669" y="0"/>
                  </a:lnTo>
                  <a:lnTo>
                    <a:pt x="5669" y="0"/>
                  </a:lnTo>
                  <a:lnTo>
                    <a:pt x="5744" y="1"/>
                  </a:lnTo>
                  <a:lnTo>
                    <a:pt x="5817" y="2"/>
                  </a:lnTo>
                  <a:lnTo>
                    <a:pt x="5890" y="4"/>
                  </a:lnTo>
                  <a:lnTo>
                    <a:pt x="5962" y="8"/>
                  </a:lnTo>
                  <a:lnTo>
                    <a:pt x="6034" y="12"/>
                  </a:lnTo>
                  <a:lnTo>
                    <a:pt x="6107" y="17"/>
                  </a:lnTo>
                  <a:lnTo>
                    <a:pt x="6178" y="23"/>
                  </a:lnTo>
                  <a:lnTo>
                    <a:pt x="6250" y="29"/>
                  </a:lnTo>
                  <a:lnTo>
                    <a:pt x="6321" y="37"/>
                  </a:lnTo>
                  <a:lnTo>
                    <a:pt x="6392" y="46"/>
                  </a:lnTo>
                  <a:lnTo>
                    <a:pt x="6463" y="55"/>
                  </a:lnTo>
                  <a:lnTo>
                    <a:pt x="6534" y="65"/>
                  </a:lnTo>
                  <a:lnTo>
                    <a:pt x="6604" y="77"/>
                  </a:lnTo>
                  <a:lnTo>
                    <a:pt x="6674" y="89"/>
                  </a:lnTo>
                  <a:lnTo>
                    <a:pt x="6744" y="102"/>
                  </a:lnTo>
                  <a:lnTo>
                    <a:pt x="6813" y="115"/>
                  </a:lnTo>
                  <a:lnTo>
                    <a:pt x="6882" y="130"/>
                  </a:lnTo>
                  <a:lnTo>
                    <a:pt x="6951" y="145"/>
                  </a:lnTo>
                  <a:lnTo>
                    <a:pt x="7019" y="162"/>
                  </a:lnTo>
                  <a:lnTo>
                    <a:pt x="7087" y="179"/>
                  </a:lnTo>
                  <a:lnTo>
                    <a:pt x="7155" y="197"/>
                  </a:lnTo>
                  <a:lnTo>
                    <a:pt x="7222" y="215"/>
                  </a:lnTo>
                  <a:lnTo>
                    <a:pt x="7289" y="235"/>
                  </a:lnTo>
                  <a:lnTo>
                    <a:pt x="7356" y="255"/>
                  </a:lnTo>
                  <a:lnTo>
                    <a:pt x="7423" y="276"/>
                  </a:lnTo>
                  <a:lnTo>
                    <a:pt x="7489" y="298"/>
                  </a:lnTo>
                  <a:lnTo>
                    <a:pt x="7554" y="321"/>
                  </a:lnTo>
                  <a:lnTo>
                    <a:pt x="7620" y="344"/>
                  </a:lnTo>
                  <a:lnTo>
                    <a:pt x="7685" y="368"/>
                  </a:lnTo>
                  <a:lnTo>
                    <a:pt x="7749" y="393"/>
                  </a:lnTo>
                  <a:lnTo>
                    <a:pt x="7813" y="419"/>
                  </a:lnTo>
                  <a:lnTo>
                    <a:pt x="7877" y="446"/>
                  </a:lnTo>
                  <a:lnTo>
                    <a:pt x="7940" y="473"/>
                  </a:lnTo>
                  <a:lnTo>
                    <a:pt x="8003" y="501"/>
                  </a:lnTo>
                  <a:lnTo>
                    <a:pt x="8066" y="530"/>
                  </a:lnTo>
                  <a:lnTo>
                    <a:pt x="8128" y="559"/>
                  </a:lnTo>
                  <a:lnTo>
                    <a:pt x="8190" y="589"/>
                  </a:lnTo>
                  <a:lnTo>
                    <a:pt x="8251" y="620"/>
                  </a:lnTo>
                  <a:lnTo>
                    <a:pt x="8312" y="652"/>
                  </a:lnTo>
                  <a:lnTo>
                    <a:pt x="8373" y="684"/>
                  </a:lnTo>
                  <a:lnTo>
                    <a:pt x="8433" y="717"/>
                  </a:lnTo>
                  <a:lnTo>
                    <a:pt x="8492" y="751"/>
                  </a:lnTo>
                  <a:lnTo>
                    <a:pt x="8551" y="786"/>
                  </a:lnTo>
                  <a:lnTo>
                    <a:pt x="8610" y="821"/>
                  </a:lnTo>
                  <a:lnTo>
                    <a:pt x="8668" y="857"/>
                  </a:lnTo>
                  <a:lnTo>
                    <a:pt x="8726" y="893"/>
                  </a:lnTo>
                  <a:lnTo>
                    <a:pt x="8783" y="930"/>
                  </a:lnTo>
                  <a:lnTo>
                    <a:pt x="8840" y="968"/>
                  </a:lnTo>
                  <a:lnTo>
                    <a:pt x="8896" y="1007"/>
                  </a:lnTo>
                  <a:lnTo>
                    <a:pt x="8952" y="1046"/>
                  </a:lnTo>
                  <a:lnTo>
                    <a:pt x="9008" y="1086"/>
                  </a:lnTo>
                  <a:lnTo>
                    <a:pt x="9062" y="1126"/>
                  </a:lnTo>
                  <a:lnTo>
                    <a:pt x="9117" y="1168"/>
                  </a:lnTo>
                  <a:lnTo>
                    <a:pt x="9170" y="1209"/>
                  </a:lnTo>
                  <a:lnTo>
                    <a:pt x="9224" y="1252"/>
                  </a:lnTo>
                  <a:lnTo>
                    <a:pt x="9277" y="1295"/>
                  </a:lnTo>
                  <a:lnTo>
                    <a:pt x="9329" y="1338"/>
                  </a:lnTo>
                  <a:lnTo>
                    <a:pt x="9380" y="1383"/>
                  </a:lnTo>
                  <a:lnTo>
                    <a:pt x="9432" y="1427"/>
                  </a:lnTo>
                  <a:lnTo>
                    <a:pt x="9482" y="1473"/>
                  </a:lnTo>
                  <a:lnTo>
                    <a:pt x="9532" y="1519"/>
                  </a:lnTo>
                  <a:lnTo>
                    <a:pt x="9582" y="1566"/>
                  </a:lnTo>
                  <a:lnTo>
                    <a:pt x="9631" y="1613"/>
                  </a:lnTo>
                  <a:lnTo>
                    <a:pt x="9679" y="1661"/>
                  </a:lnTo>
                  <a:lnTo>
                    <a:pt x="9727" y="1709"/>
                  </a:lnTo>
                  <a:lnTo>
                    <a:pt x="9774" y="1758"/>
                  </a:lnTo>
                  <a:lnTo>
                    <a:pt x="9821" y="1807"/>
                  </a:lnTo>
                  <a:lnTo>
                    <a:pt x="9867" y="1858"/>
                  </a:lnTo>
                  <a:lnTo>
                    <a:pt x="9912" y="1908"/>
                  </a:lnTo>
                  <a:lnTo>
                    <a:pt x="9957" y="1959"/>
                  </a:lnTo>
                  <a:lnTo>
                    <a:pt x="10001" y="2011"/>
                  </a:lnTo>
                  <a:lnTo>
                    <a:pt x="10045" y="2063"/>
                  </a:lnTo>
                  <a:lnTo>
                    <a:pt x="10088" y="2116"/>
                  </a:lnTo>
                  <a:lnTo>
                    <a:pt x="10130" y="2169"/>
                  </a:lnTo>
                  <a:lnTo>
                    <a:pt x="10172" y="2223"/>
                  </a:lnTo>
                  <a:lnTo>
                    <a:pt x="10213" y="2277"/>
                  </a:lnTo>
                  <a:lnTo>
                    <a:pt x="10254" y="2332"/>
                  </a:lnTo>
                  <a:lnTo>
                    <a:pt x="10294" y="2388"/>
                  </a:lnTo>
                  <a:lnTo>
                    <a:pt x="10333" y="2443"/>
                  </a:lnTo>
                  <a:lnTo>
                    <a:pt x="10371" y="2500"/>
                  </a:lnTo>
                  <a:lnTo>
                    <a:pt x="10409" y="2557"/>
                  </a:lnTo>
                  <a:lnTo>
                    <a:pt x="10446" y="2614"/>
                  </a:lnTo>
                  <a:lnTo>
                    <a:pt x="10483" y="2672"/>
                  </a:lnTo>
                  <a:lnTo>
                    <a:pt x="10519" y="2730"/>
                  </a:lnTo>
                  <a:lnTo>
                    <a:pt x="10554" y="2788"/>
                  </a:lnTo>
                  <a:lnTo>
                    <a:pt x="10588" y="2848"/>
                  </a:lnTo>
                  <a:lnTo>
                    <a:pt x="10622" y="2907"/>
                  </a:lnTo>
                  <a:lnTo>
                    <a:pt x="10655" y="2967"/>
                  </a:lnTo>
                  <a:lnTo>
                    <a:pt x="10688" y="3028"/>
                  </a:lnTo>
                  <a:lnTo>
                    <a:pt x="10719" y="3089"/>
                  </a:lnTo>
                  <a:lnTo>
                    <a:pt x="10750" y="3150"/>
                  </a:lnTo>
                  <a:lnTo>
                    <a:pt x="10780" y="3212"/>
                  </a:lnTo>
                  <a:lnTo>
                    <a:pt x="10810" y="3274"/>
                  </a:lnTo>
                  <a:lnTo>
                    <a:pt x="10839" y="3336"/>
                  </a:lnTo>
                  <a:lnTo>
                    <a:pt x="10867" y="3399"/>
                  </a:lnTo>
                  <a:lnTo>
                    <a:pt x="10894" y="3463"/>
                  </a:lnTo>
                  <a:lnTo>
                    <a:pt x="10921" y="3527"/>
                  </a:lnTo>
                  <a:lnTo>
                    <a:pt x="10946" y="3591"/>
                  </a:lnTo>
                  <a:lnTo>
                    <a:pt x="10971" y="3655"/>
                  </a:lnTo>
                  <a:lnTo>
                    <a:pt x="10996" y="3720"/>
                  </a:lnTo>
                  <a:lnTo>
                    <a:pt x="11019" y="3786"/>
                  </a:lnTo>
                  <a:lnTo>
                    <a:pt x="11042" y="3851"/>
                  </a:lnTo>
                  <a:lnTo>
                    <a:pt x="11064" y="3917"/>
                  </a:lnTo>
                  <a:lnTo>
                    <a:pt x="11085" y="3984"/>
                  </a:lnTo>
                  <a:lnTo>
                    <a:pt x="11105" y="4050"/>
                  </a:lnTo>
                  <a:lnTo>
                    <a:pt x="11124" y="4118"/>
                  </a:lnTo>
                  <a:lnTo>
                    <a:pt x="11143" y="4185"/>
                  </a:lnTo>
                  <a:lnTo>
                    <a:pt x="11161" y="4253"/>
                  </a:lnTo>
                  <a:lnTo>
                    <a:pt x="11178" y="4321"/>
                  </a:lnTo>
                  <a:lnTo>
                    <a:pt x="11194" y="4389"/>
                  </a:lnTo>
                  <a:lnTo>
                    <a:pt x="11210" y="4458"/>
                  </a:lnTo>
                  <a:lnTo>
                    <a:pt x="11224" y="4527"/>
                  </a:lnTo>
                  <a:lnTo>
                    <a:pt x="11238" y="4596"/>
                  </a:lnTo>
                  <a:lnTo>
                    <a:pt x="11251" y="4666"/>
                  </a:lnTo>
                  <a:lnTo>
                    <a:pt x="11263" y="4736"/>
                  </a:lnTo>
                  <a:lnTo>
                    <a:pt x="11274" y="4806"/>
                  </a:lnTo>
                  <a:lnTo>
                    <a:pt x="11285" y="4877"/>
                  </a:lnTo>
                  <a:lnTo>
                    <a:pt x="11294" y="4948"/>
                  </a:lnTo>
                  <a:lnTo>
                    <a:pt x="11303" y="5019"/>
                  </a:lnTo>
                  <a:lnTo>
                    <a:pt x="11310" y="5090"/>
                  </a:lnTo>
                  <a:lnTo>
                    <a:pt x="11317" y="5162"/>
                  </a:lnTo>
                  <a:lnTo>
                    <a:pt x="11323" y="5233"/>
                  </a:lnTo>
                  <a:lnTo>
                    <a:pt x="11328" y="5306"/>
                  </a:lnTo>
                  <a:lnTo>
                    <a:pt x="11332" y="5378"/>
                  </a:lnTo>
                  <a:lnTo>
                    <a:pt x="11335" y="5451"/>
                  </a:lnTo>
                  <a:lnTo>
                    <a:pt x="11338" y="5523"/>
                  </a:lnTo>
                  <a:lnTo>
                    <a:pt x="11339" y="5596"/>
                  </a:lnTo>
                  <a:lnTo>
                    <a:pt x="11340" y="567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213" name="Freeform 8">
              <a:extLst>
                <a:ext uri="{FF2B5EF4-FFF2-40B4-BE49-F238E27FC236}">
                  <a16:creationId xmlns:a16="http://schemas.microsoft.com/office/drawing/2014/main" id="{B4B808D2-327B-4E00-A631-EADF57641E4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10" y="1566"/>
              <a:ext cx="1615" cy="1653"/>
            </a:xfrm>
            <a:custGeom>
              <a:avLst/>
              <a:gdLst/>
              <a:ahLst/>
              <a:cxnLst>
                <a:cxn ang="0">
                  <a:pos x="4319" y="2213"/>
                </a:cxn>
                <a:cxn ang="0">
                  <a:pos x="4796" y="1894"/>
                </a:cxn>
                <a:cxn ang="0">
                  <a:pos x="4876" y="1759"/>
                </a:cxn>
                <a:cxn ang="0">
                  <a:pos x="4526" y="1075"/>
                </a:cxn>
                <a:cxn ang="0">
                  <a:pos x="4005" y="1264"/>
                </a:cxn>
                <a:cxn ang="0">
                  <a:pos x="3815" y="1225"/>
                </a:cxn>
                <a:cxn ang="0">
                  <a:pos x="3367" y="807"/>
                </a:cxn>
                <a:cxn ang="0">
                  <a:pos x="3456" y="245"/>
                </a:cxn>
                <a:cxn ang="0">
                  <a:pos x="2745" y="3"/>
                </a:cxn>
                <a:cxn ang="0">
                  <a:pos x="2590" y="70"/>
                </a:cxn>
                <a:cxn ang="0">
                  <a:pos x="2416" y="615"/>
                </a:cxn>
                <a:cxn ang="0">
                  <a:pos x="1822" y="774"/>
                </a:cxn>
                <a:cxn ang="0">
                  <a:pos x="1644" y="700"/>
                </a:cxn>
                <a:cxn ang="0">
                  <a:pos x="1252" y="324"/>
                </a:cxn>
                <a:cxn ang="0">
                  <a:pos x="653" y="807"/>
                </a:cxn>
                <a:cxn ang="0">
                  <a:pos x="942" y="1274"/>
                </a:cxn>
                <a:cxn ang="0">
                  <a:pos x="960" y="1467"/>
                </a:cxn>
                <a:cxn ang="0">
                  <a:pos x="660" y="2003"/>
                </a:cxn>
                <a:cxn ang="0">
                  <a:pos x="90" y="2042"/>
                </a:cxn>
                <a:cxn ang="0">
                  <a:pos x="0" y="2797"/>
                </a:cxn>
                <a:cxn ang="0">
                  <a:pos x="86" y="2927"/>
                </a:cxn>
                <a:cxn ang="0">
                  <a:pos x="656" y="2972"/>
                </a:cxn>
                <a:cxn ang="0">
                  <a:pos x="952" y="3509"/>
                </a:cxn>
                <a:cxn ang="0">
                  <a:pos x="932" y="3702"/>
                </a:cxn>
                <a:cxn ang="0">
                  <a:pos x="640" y="4167"/>
                </a:cxn>
                <a:cxn ang="0">
                  <a:pos x="1235" y="4655"/>
                </a:cxn>
                <a:cxn ang="0">
                  <a:pos x="1630" y="4283"/>
                </a:cxn>
                <a:cxn ang="0">
                  <a:pos x="1809" y="4210"/>
                </a:cxn>
                <a:cxn ang="0">
                  <a:pos x="2403" y="4373"/>
                </a:cxn>
                <a:cxn ang="0">
                  <a:pos x="2574" y="4919"/>
                </a:cxn>
                <a:cxn ang="0">
                  <a:pos x="2728" y="4987"/>
                </a:cxn>
                <a:cxn ang="0">
                  <a:pos x="3441" y="4750"/>
                </a:cxn>
                <a:cxn ang="0">
                  <a:pos x="3356" y="4187"/>
                </a:cxn>
                <a:cxn ang="0">
                  <a:pos x="3806" y="3773"/>
                </a:cxn>
                <a:cxn ang="0">
                  <a:pos x="3997" y="3735"/>
                </a:cxn>
                <a:cxn ang="0">
                  <a:pos x="4516" y="3927"/>
                </a:cxn>
                <a:cxn ang="0">
                  <a:pos x="4871" y="3245"/>
                </a:cxn>
                <a:cxn ang="0">
                  <a:pos x="4421" y="2930"/>
                </a:cxn>
                <a:cxn ang="0">
                  <a:pos x="4317" y="2787"/>
                </a:cxn>
                <a:cxn ang="0">
                  <a:pos x="3788" y="2500"/>
                </a:cxn>
                <a:cxn ang="0">
                  <a:pos x="3728" y="2887"/>
                </a:cxn>
                <a:cxn ang="0">
                  <a:pos x="3545" y="3252"/>
                </a:cxn>
                <a:cxn ang="0">
                  <a:pos x="3261" y="3541"/>
                </a:cxn>
                <a:cxn ang="0">
                  <a:pos x="2899" y="3730"/>
                </a:cxn>
                <a:cxn ang="0">
                  <a:pos x="2481" y="3796"/>
                </a:cxn>
                <a:cxn ang="0">
                  <a:pos x="2093" y="3736"/>
                </a:cxn>
                <a:cxn ang="0">
                  <a:pos x="1728" y="3553"/>
                </a:cxn>
                <a:cxn ang="0">
                  <a:pos x="1439" y="3269"/>
                </a:cxn>
                <a:cxn ang="0">
                  <a:pos x="1250" y="2907"/>
                </a:cxn>
                <a:cxn ang="0">
                  <a:pos x="1184" y="2490"/>
                </a:cxn>
                <a:cxn ang="0">
                  <a:pos x="1244" y="2102"/>
                </a:cxn>
                <a:cxn ang="0">
                  <a:pos x="1427" y="1736"/>
                </a:cxn>
                <a:cxn ang="0">
                  <a:pos x="1711" y="1448"/>
                </a:cxn>
                <a:cxn ang="0">
                  <a:pos x="2073" y="1259"/>
                </a:cxn>
                <a:cxn ang="0">
                  <a:pos x="2492" y="1192"/>
                </a:cxn>
                <a:cxn ang="0">
                  <a:pos x="2878" y="1252"/>
                </a:cxn>
                <a:cxn ang="0">
                  <a:pos x="3244" y="1435"/>
                </a:cxn>
                <a:cxn ang="0">
                  <a:pos x="3532" y="1719"/>
                </a:cxn>
                <a:cxn ang="0">
                  <a:pos x="3721" y="2081"/>
                </a:cxn>
                <a:cxn ang="0">
                  <a:pos x="3788" y="2500"/>
                </a:cxn>
              </a:cxnLst>
              <a:rect l="0" t="0" r="r" b="b"/>
              <a:pathLst>
                <a:path w="4876" h="4990">
                  <a:moveTo>
                    <a:pt x="4332" y="2502"/>
                  </a:moveTo>
                  <a:lnTo>
                    <a:pt x="4332" y="2502"/>
                  </a:lnTo>
                  <a:lnTo>
                    <a:pt x="4331" y="2455"/>
                  </a:lnTo>
                  <a:lnTo>
                    <a:pt x="4329" y="2412"/>
                  </a:lnTo>
                  <a:lnTo>
                    <a:pt x="4327" y="2373"/>
                  </a:lnTo>
                  <a:lnTo>
                    <a:pt x="4324" y="2340"/>
                  </a:lnTo>
                  <a:lnTo>
                    <a:pt x="4319" y="2291"/>
                  </a:lnTo>
                  <a:lnTo>
                    <a:pt x="4317" y="2273"/>
                  </a:lnTo>
                  <a:lnTo>
                    <a:pt x="4317" y="2273"/>
                  </a:lnTo>
                  <a:lnTo>
                    <a:pt x="4315" y="2258"/>
                  </a:lnTo>
                  <a:lnTo>
                    <a:pt x="4315" y="2243"/>
                  </a:lnTo>
                  <a:lnTo>
                    <a:pt x="4317" y="2228"/>
                  </a:lnTo>
                  <a:lnTo>
                    <a:pt x="4319" y="2213"/>
                  </a:lnTo>
                  <a:lnTo>
                    <a:pt x="4323" y="2199"/>
                  </a:lnTo>
                  <a:lnTo>
                    <a:pt x="4327" y="2184"/>
                  </a:lnTo>
                  <a:lnTo>
                    <a:pt x="4333" y="2170"/>
                  </a:lnTo>
                  <a:lnTo>
                    <a:pt x="4340" y="2156"/>
                  </a:lnTo>
                  <a:lnTo>
                    <a:pt x="4348" y="2142"/>
                  </a:lnTo>
                  <a:lnTo>
                    <a:pt x="4356" y="2130"/>
                  </a:lnTo>
                  <a:lnTo>
                    <a:pt x="4366" y="2117"/>
                  </a:lnTo>
                  <a:lnTo>
                    <a:pt x="4376" y="2106"/>
                  </a:lnTo>
                  <a:lnTo>
                    <a:pt x="4387" y="2096"/>
                  </a:lnTo>
                  <a:lnTo>
                    <a:pt x="4399" y="2087"/>
                  </a:lnTo>
                  <a:lnTo>
                    <a:pt x="4411" y="2078"/>
                  </a:lnTo>
                  <a:lnTo>
                    <a:pt x="4424" y="2071"/>
                  </a:lnTo>
                  <a:lnTo>
                    <a:pt x="4796" y="1894"/>
                  </a:lnTo>
                  <a:lnTo>
                    <a:pt x="4796" y="1894"/>
                  </a:lnTo>
                  <a:lnTo>
                    <a:pt x="4809" y="1887"/>
                  </a:lnTo>
                  <a:lnTo>
                    <a:pt x="4820" y="1879"/>
                  </a:lnTo>
                  <a:lnTo>
                    <a:pt x="4831" y="1870"/>
                  </a:lnTo>
                  <a:lnTo>
                    <a:pt x="4841" y="1860"/>
                  </a:lnTo>
                  <a:lnTo>
                    <a:pt x="4849" y="1849"/>
                  </a:lnTo>
                  <a:lnTo>
                    <a:pt x="4857" y="1838"/>
                  </a:lnTo>
                  <a:lnTo>
                    <a:pt x="4863" y="1826"/>
                  </a:lnTo>
                  <a:lnTo>
                    <a:pt x="4868" y="1813"/>
                  </a:lnTo>
                  <a:lnTo>
                    <a:pt x="4872" y="1800"/>
                  </a:lnTo>
                  <a:lnTo>
                    <a:pt x="4875" y="1787"/>
                  </a:lnTo>
                  <a:lnTo>
                    <a:pt x="4876" y="1773"/>
                  </a:lnTo>
                  <a:lnTo>
                    <a:pt x="4876" y="1759"/>
                  </a:lnTo>
                  <a:lnTo>
                    <a:pt x="4875" y="1746"/>
                  </a:lnTo>
                  <a:lnTo>
                    <a:pt x="4872" y="1732"/>
                  </a:lnTo>
                  <a:lnTo>
                    <a:pt x="4868" y="1718"/>
                  </a:lnTo>
                  <a:lnTo>
                    <a:pt x="4863" y="1705"/>
                  </a:lnTo>
                  <a:lnTo>
                    <a:pt x="4595" y="1142"/>
                  </a:lnTo>
                  <a:lnTo>
                    <a:pt x="4595" y="1142"/>
                  </a:lnTo>
                  <a:lnTo>
                    <a:pt x="4588" y="1130"/>
                  </a:lnTo>
                  <a:lnTo>
                    <a:pt x="4580" y="1118"/>
                  </a:lnTo>
                  <a:lnTo>
                    <a:pt x="4571" y="1107"/>
                  </a:lnTo>
                  <a:lnTo>
                    <a:pt x="4561" y="1097"/>
                  </a:lnTo>
                  <a:lnTo>
                    <a:pt x="4550" y="1089"/>
                  </a:lnTo>
                  <a:lnTo>
                    <a:pt x="4539" y="1081"/>
                  </a:lnTo>
                  <a:lnTo>
                    <a:pt x="4526" y="1075"/>
                  </a:lnTo>
                  <a:lnTo>
                    <a:pt x="4514" y="1070"/>
                  </a:lnTo>
                  <a:lnTo>
                    <a:pt x="4501" y="1066"/>
                  </a:lnTo>
                  <a:lnTo>
                    <a:pt x="4487" y="1063"/>
                  </a:lnTo>
                  <a:lnTo>
                    <a:pt x="4474" y="1062"/>
                  </a:lnTo>
                  <a:lnTo>
                    <a:pt x="4460" y="1062"/>
                  </a:lnTo>
                  <a:lnTo>
                    <a:pt x="4446" y="1063"/>
                  </a:lnTo>
                  <a:lnTo>
                    <a:pt x="4433" y="1066"/>
                  </a:lnTo>
                  <a:lnTo>
                    <a:pt x="4419" y="1070"/>
                  </a:lnTo>
                  <a:lnTo>
                    <a:pt x="4406" y="1075"/>
                  </a:lnTo>
                  <a:lnTo>
                    <a:pt x="4033" y="1253"/>
                  </a:lnTo>
                  <a:lnTo>
                    <a:pt x="4033" y="1253"/>
                  </a:lnTo>
                  <a:lnTo>
                    <a:pt x="4019" y="1259"/>
                  </a:lnTo>
                  <a:lnTo>
                    <a:pt x="4005" y="1264"/>
                  </a:lnTo>
                  <a:lnTo>
                    <a:pt x="3990" y="1267"/>
                  </a:lnTo>
                  <a:lnTo>
                    <a:pt x="3975" y="1269"/>
                  </a:lnTo>
                  <a:lnTo>
                    <a:pt x="3960" y="1271"/>
                  </a:lnTo>
                  <a:lnTo>
                    <a:pt x="3944" y="1271"/>
                  </a:lnTo>
                  <a:lnTo>
                    <a:pt x="3928" y="1270"/>
                  </a:lnTo>
                  <a:lnTo>
                    <a:pt x="3913" y="1267"/>
                  </a:lnTo>
                  <a:lnTo>
                    <a:pt x="3897" y="1264"/>
                  </a:lnTo>
                  <a:lnTo>
                    <a:pt x="3882" y="1260"/>
                  </a:lnTo>
                  <a:lnTo>
                    <a:pt x="3867" y="1255"/>
                  </a:lnTo>
                  <a:lnTo>
                    <a:pt x="3853" y="1249"/>
                  </a:lnTo>
                  <a:lnTo>
                    <a:pt x="3839" y="1242"/>
                  </a:lnTo>
                  <a:lnTo>
                    <a:pt x="3827" y="1234"/>
                  </a:lnTo>
                  <a:lnTo>
                    <a:pt x="3815" y="1225"/>
                  </a:lnTo>
                  <a:lnTo>
                    <a:pt x="3804" y="1215"/>
                  </a:lnTo>
                  <a:lnTo>
                    <a:pt x="3451" y="932"/>
                  </a:lnTo>
                  <a:lnTo>
                    <a:pt x="3451" y="932"/>
                  </a:lnTo>
                  <a:lnTo>
                    <a:pt x="3439" y="924"/>
                  </a:lnTo>
                  <a:lnTo>
                    <a:pt x="3428" y="914"/>
                  </a:lnTo>
                  <a:lnTo>
                    <a:pt x="3417" y="903"/>
                  </a:lnTo>
                  <a:lnTo>
                    <a:pt x="3407" y="891"/>
                  </a:lnTo>
                  <a:lnTo>
                    <a:pt x="3398" y="879"/>
                  </a:lnTo>
                  <a:lnTo>
                    <a:pt x="3390" y="865"/>
                  </a:lnTo>
                  <a:lnTo>
                    <a:pt x="3383" y="852"/>
                  </a:lnTo>
                  <a:lnTo>
                    <a:pt x="3376" y="837"/>
                  </a:lnTo>
                  <a:lnTo>
                    <a:pt x="3371" y="822"/>
                  </a:lnTo>
                  <a:lnTo>
                    <a:pt x="3367" y="807"/>
                  </a:lnTo>
                  <a:lnTo>
                    <a:pt x="3363" y="792"/>
                  </a:lnTo>
                  <a:lnTo>
                    <a:pt x="3361" y="777"/>
                  </a:lnTo>
                  <a:lnTo>
                    <a:pt x="3360" y="761"/>
                  </a:lnTo>
                  <a:lnTo>
                    <a:pt x="3360" y="746"/>
                  </a:lnTo>
                  <a:lnTo>
                    <a:pt x="3362" y="731"/>
                  </a:lnTo>
                  <a:lnTo>
                    <a:pt x="3364" y="717"/>
                  </a:lnTo>
                  <a:lnTo>
                    <a:pt x="3458" y="314"/>
                  </a:lnTo>
                  <a:lnTo>
                    <a:pt x="3458" y="314"/>
                  </a:lnTo>
                  <a:lnTo>
                    <a:pt x="3460" y="300"/>
                  </a:lnTo>
                  <a:lnTo>
                    <a:pt x="3461" y="286"/>
                  </a:lnTo>
                  <a:lnTo>
                    <a:pt x="3461" y="272"/>
                  </a:lnTo>
                  <a:lnTo>
                    <a:pt x="3459" y="258"/>
                  </a:lnTo>
                  <a:lnTo>
                    <a:pt x="3456" y="245"/>
                  </a:lnTo>
                  <a:lnTo>
                    <a:pt x="3452" y="232"/>
                  </a:lnTo>
                  <a:lnTo>
                    <a:pt x="3447" y="219"/>
                  </a:lnTo>
                  <a:lnTo>
                    <a:pt x="3440" y="207"/>
                  </a:lnTo>
                  <a:lnTo>
                    <a:pt x="3432" y="196"/>
                  </a:lnTo>
                  <a:lnTo>
                    <a:pt x="3423" y="186"/>
                  </a:lnTo>
                  <a:lnTo>
                    <a:pt x="3414" y="176"/>
                  </a:lnTo>
                  <a:lnTo>
                    <a:pt x="3403" y="168"/>
                  </a:lnTo>
                  <a:lnTo>
                    <a:pt x="3391" y="160"/>
                  </a:lnTo>
                  <a:lnTo>
                    <a:pt x="3379" y="153"/>
                  </a:lnTo>
                  <a:lnTo>
                    <a:pt x="3366" y="148"/>
                  </a:lnTo>
                  <a:lnTo>
                    <a:pt x="3352" y="144"/>
                  </a:lnTo>
                  <a:lnTo>
                    <a:pt x="2745" y="3"/>
                  </a:lnTo>
                  <a:lnTo>
                    <a:pt x="2745" y="3"/>
                  </a:lnTo>
                  <a:lnTo>
                    <a:pt x="2730" y="1"/>
                  </a:lnTo>
                  <a:lnTo>
                    <a:pt x="2716" y="0"/>
                  </a:lnTo>
                  <a:lnTo>
                    <a:pt x="2702" y="0"/>
                  </a:lnTo>
                  <a:lnTo>
                    <a:pt x="2688" y="2"/>
                  </a:lnTo>
                  <a:lnTo>
                    <a:pt x="2675" y="5"/>
                  </a:lnTo>
                  <a:lnTo>
                    <a:pt x="2662" y="9"/>
                  </a:lnTo>
                  <a:lnTo>
                    <a:pt x="2649" y="15"/>
                  </a:lnTo>
                  <a:lnTo>
                    <a:pt x="2638" y="21"/>
                  </a:lnTo>
                  <a:lnTo>
                    <a:pt x="2626" y="29"/>
                  </a:lnTo>
                  <a:lnTo>
                    <a:pt x="2616" y="38"/>
                  </a:lnTo>
                  <a:lnTo>
                    <a:pt x="2606" y="48"/>
                  </a:lnTo>
                  <a:lnTo>
                    <a:pt x="2598" y="58"/>
                  </a:lnTo>
                  <a:lnTo>
                    <a:pt x="2590" y="70"/>
                  </a:lnTo>
                  <a:lnTo>
                    <a:pt x="2584" y="82"/>
                  </a:lnTo>
                  <a:lnTo>
                    <a:pt x="2578" y="96"/>
                  </a:lnTo>
                  <a:lnTo>
                    <a:pt x="2574" y="110"/>
                  </a:lnTo>
                  <a:lnTo>
                    <a:pt x="2481" y="512"/>
                  </a:lnTo>
                  <a:lnTo>
                    <a:pt x="2481" y="512"/>
                  </a:lnTo>
                  <a:lnTo>
                    <a:pt x="2477" y="526"/>
                  </a:lnTo>
                  <a:lnTo>
                    <a:pt x="2472" y="540"/>
                  </a:lnTo>
                  <a:lnTo>
                    <a:pt x="2465" y="554"/>
                  </a:lnTo>
                  <a:lnTo>
                    <a:pt x="2457" y="567"/>
                  </a:lnTo>
                  <a:lnTo>
                    <a:pt x="2448" y="580"/>
                  </a:lnTo>
                  <a:lnTo>
                    <a:pt x="2438" y="592"/>
                  </a:lnTo>
                  <a:lnTo>
                    <a:pt x="2428" y="604"/>
                  </a:lnTo>
                  <a:lnTo>
                    <a:pt x="2416" y="615"/>
                  </a:lnTo>
                  <a:lnTo>
                    <a:pt x="2404" y="625"/>
                  </a:lnTo>
                  <a:lnTo>
                    <a:pt x="2392" y="634"/>
                  </a:lnTo>
                  <a:lnTo>
                    <a:pt x="2378" y="643"/>
                  </a:lnTo>
                  <a:lnTo>
                    <a:pt x="2365" y="650"/>
                  </a:lnTo>
                  <a:lnTo>
                    <a:pt x="2351" y="656"/>
                  </a:lnTo>
                  <a:lnTo>
                    <a:pt x="2336" y="661"/>
                  </a:lnTo>
                  <a:lnTo>
                    <a:pt x="2322" y="665"/>
                  </a:lnTo>
                  <a:lnTo>
                    <a:pt x="2308" y="668"/>
                  </a:lnTo>
                  <a:lnTo>
                    <a:pt x="1866" y="766"/>
                  </a:lnTo>
                  <a:lnTo>
                    <a:pt x="1866" y="766"/>
                  </a:lnTo>
                  <a:lnTo>
                    <a:pt x="1852" y="770"/>
                  </a:lnTo>
                  <a:lnTo>
                    <a:pt x="1837" y="772"/>
                  </a:lnTo>
                  <a:lnTo>
                    <a:pt x="1822" y="774"/>
                  </a:lnTo>
                  <a:lnTo>
                    <a:pt x="1807" y="774"/>
                  </a:lnTo>
                  <a:lnTo>
                    <a:pt x="1792" y="774"/>
                  </a:lnTo>
                  <a:lnTo>
                    <a:pt x="1776" y="772"/>
                  </a:lnTo>
                  <a:lnTo>
                    <a:pt x="1761" y="769"/>
                  </a:lnTo>
                  <a:lnTo>
                    <a:pt x="1745" y="765"/>
                  </a:lnTo>
                  <a:lnTo>
                    <a:pt x="1730" y="760"/>
                  </a:lnTo>
                  <a:lnTo>
                    <a:pt x="1716" y="754"/>
                  </a:lnTo>
                  <a:lnTo>
                    <a:pt x="1702" y="747"/>
                  </a:lnTo>
                  <a:lnTo>
                    <a:pt x="1689" y="739"/>
                  </a:lnTo>
                  <a:lnTo>
                    <a:pt x="1676" y="730"/>
                  </a:lnTo>
                  <a:lnTo>
                    <a:pt x="1664" y="721"/>
                  </a:lnTo>
                  <a:lnTo>
                    <a:pt x="1654" y="711"/>
                  </a:lnTo>
                  <a:lnTo>
                    <a:pt x="1644" y="700"/>
                  </a:lnTo>
                  <a:lnTo>
                    <a:pt x="1387" y="375"/>
                  </a:lnTo>
                  <a:lnTo>
                    <a:pt x="1387" y="375"/>
                  </a:lnTo>
                  <a:lnTo>
                    <a:pt x="1378" y="365"/>
                  </a:lnTo>
                  <a:lnTo>
                    <a:pt x="1368" y="355"/>
                  </a:lnTo>
                  <a:lnTo>
                    <a:pt x="1356" y="346"/>
                  </a:lnTo>
                  <a:lnTo>
                    <a:pt x="1345" y="339"/>
                  </a:lnTo>
                  <a:lnTo>
                    <a:pt x="1332" y="333"/>
                  </a:lnTo>
                  <a:lnTo>
                    <a:pt x="1319" y="328"/>
                  </a:lnTo>
                  <a:lnTo>
                    <a:pt x="1306" y="325"/>
                  </a:lnTo>
                  <a:lnTo>
                    <a:pt x="1293" y="323"/>
                  </a:lnTo>
                  <a:lnTo>
                    <a:pt x="1279" y="322"/>
                  </a:lnTo>
                  <a:lnTo>
                    <a:pt x="1265" y="322"/>
                  </a:lnTo>
                  <a:lnTo>
                    <a:pt x="1252" y="324"/>
                  </a:lnTo>
                  <a:lnTo>
                    <a:pt x="1238" y="327"/>
                  </a:lnTo>
                  <a:lnTo>
                    <a:pt x="1225" y="331"/>
                  </a:lnTo>
                  <a:lnTo>
                    <a:pt x="1213" y="337"/>
                  </a:lnTo>
                  <a:lnTo>
                    <a:pt x="1200" y="344"/>
                  </a:lnTo>
                  <a:lnTo>
                    <a:pt x="1188" y="352"/>
                  </a:lnTo>
                  <a:lnTo>
                    <a:pt x="700" y="739"/>
                  </a:lnTo>
                  <a:lnTo>
                    <a:pt x="700" y="739"/>
                  </a:lnTo>
                  <a:lnTo>
                    <a:pt x="689" y="748"/>
                  </a:lnTo>
                  <a:lnTo>
                    <a:pt x="679" y="759"/>
                  </a:lnTo>
                  <a:lnTo>
                    <a:pt x="671" y="770"/>
                  </a:lnTo>
                  <a:lnTo>
                    <a:pt x="664" y="782"/>
                  </a:lnTo>
                  <a:lnTo>
                    <a:pt x="658" y="794"/>
                  </a:lnTo>
                  <a:lnTo>
                    <a:pt x="653" y="807"/>
                  </a:lnTo>
                  <a:lnTo>
                    <a:pt x="649" y="820"/>
                  </a:lnTo>
                  <a:lnTo>
                    <a:pt x="647" y="834"/>
                  </a:lnTo>
                  <a:lnTo>
                    <a:pt x="646" y="847"/>
                  </a:lnTo>
                  <a:lnTo>
                    <a:pt x="647" y="861"/>
                  </a:lnTo>
                  <a:lnTo>
                    <a:pt x="648" y="874"/>
                  </a:lnTo>
                  <a:lnTo>
                    <a:pt x="651" y="888"/>
                  </a:lnTo>
                  <a:lnTo>
                    <a:pt x="656" y="901"/>
                  </a:lnTo>
                  <a:lnTo>
                    <a:pt x="661" y="914"/>
                  </a:lnTo>
                  <a:lnTo>
                    <a:pt x="668" y="926"/>
                  </a:lnTo>
                  <a:lnTo>
                    <a:pt x="677" y="938"/>
                  </a:lnTo>
                  <a:lnTo>
                    <a:pt x="933" y="1262"/>
                  </a:lnTo>
                  <a:lnTo>
                    <a:pt x="933" y="1262"/>
                  </a:lnTo>
                  <a:lnTo>
                    <a:pt x="942" y="1274"/>
                  </a:lnTo>
                  <a:lnTo>
                    <a:pt x="950" y="1287"/>
                  </a:lnTo>
                  <a:lnTo>
                    <a:pt x="956" y="1301"/>
                  </a:lnTo>
                  <a:lnTo>
                    <a:pt x="962" y="1315"/>
                  </a:lnTo>
                  <a:lnTo>
                    <a:pt x="966" y="1330"/>
                  </a:lnTo>
                  <a:lnTo>
                    <a:pt x="970" y="1345"/>
                  </a:lnTo>
                  <a:lnTo>
                    <a:pt x="972" y="1361"/>
                  </a:lnTo>
                  <a:lnTo>
                    <a:pt x="974" y="1376"/>
                  </a:lnTo>
                  <a:lnTo>
                    <a:pt x="974" y="1392"/>
                  </a:lnTo>
                  <a:lnTo>
                    <a:pt x="973" y="1408"/>
                  </a:lnTo>
                  <a:lnTo>
                    <a:pt x="971" y="1423"/>
                  </a:lnTo>
                  <a:lnTo>
                    <a:pt x="969" y="1438"/>
                  </a:lnTo>
                  <a:lnTo>
                    <a:pt x="965" y="1453"/>
                  </a:lnTo>
                  <a:lnTo>
                    <a:pt x="960" y="1467"/>
                  </a:lnTo>
                  <a:lnTo>
                    <a:pt x="954" y="1481"/>
                  </a:lnTo>
                  <a:lnTo>
                    <a:pt x="947" y="1494"/>
                  </a:lnTo>
                  <a:lnTo>
                    <a:pt x="749" y="1901"/>
                  </a:lnTo>
                  <a:lnTo>
                    <a:pt x="749" y="1901"/>
                  </a:lnTo>
                  <a:lnTo>
                    <a:pt x="744" y="1914"/>
                  </a:lnTo>
                  <a:lnTo>
                    <a:pt x="737" y="1927"/>
                  </a:lnTo>
                  <a:lnTo>
                    <a:pt x="728" y="1940"/>
                  </a:lnTo>
                  <a:lnTo>
                    <a:pt x="719" y="1952"/>
                  </a:lnTo>
                  <a:lnTo>
                    <a:pt x="709" y="1964"/>
                  </a:lnTo>
                  <a:lnTo>
                    <a:pt x="698" y="1975"/>
                  </a:lnTo>
                  <a:lnTo>
                    <a:pt x="686" y="1985"/>
                  </a:lnTo>
                  <a:lnTo>
                    <a:pt x="673" y="1994"/>
                  </a:lnTo>
                  <a:lnTo>
                    <a:pt x="660" y="2003"/>
                  </a:lnTo>
                  <a:lnTo>
                    <a:pt x="646" y="2010"/>
                  </a:lnTo>
                  <a:lnTo>
                    <a:pt x="632" y="2017"/>
                  </a:lnTo>
                  <a:lnTo>
                    <a:pt x="617" y="2023"/>
                  </a:lnTo>
                  <a:lnTo>
                    <a:pt x="603" y="2027"/>
                  </a:lnTo>
                  <a:lnTo>
                    <a:pt x="588" y="2030"/>
                  </a:lnTo>
                  <a:lnTo>
                    <a:pt x="573" y="2032"/>
                  </a:lnTo>
                  <a:lnTo>
                    <a:pt x="558" y="2033"/>
                  </a:lnTo>
                  <a:lnTo>
                    <a:pt x="145" y="2031"/>
                  </a:lnTo>
                  <a:lnTo>
                    <a:pt x="145" y="2031"/>
                  </a:lnTo>
                  <a:lnTo>
                    <a:pt x="130" y="2032"/>
                  </a:lnTo>
                  <a:lnTo>
                    <a:pt x="116" y="2034"/>
                  </a:lnTo>
                  <a:lnTo>
                    <a:pt x="103" y="2037"/>
                  </a:lnTo>
                  <a:lnTo>
                    <a:pt x="90" y="2042"/>
                  </a:lnTo>
                  <a:lnTo>
                    <a:pt x="77" y="2048"/>
                  </a:lnTo>
                  <a:lnTo>
                    <a:pt x="65" y="2055"/>
                  </a:lnTo>
                  <a:lnTo>
                    <a:pt x="55" y="2063"/>
                  </a:lnTo>
                  <a:lnTo>
                    <a:pt x="44" y="2072"/>
                  </a:lnTo>
                  <a:lnTo>
                    <a:pt x="35" y="2083"/>
                  </a:lnTo>
                  <a:lnTo>
                    <a:pt x="27" y="2093"/>
                  </a:lnTo>
                  <a:lnTo>
                    <a:pt x="20" y="2105"/>
                  </a:lnTo>
                  <a:lnTo>
                    <a:pt x="14" y="2117"/>
                  </a:lnTo>
                  <a:lnTo>
                    <a:pt x="9" y="2130"/>
                  </a:lnTo>
                  <a:lnTo>
                    <a:pt x="5" y="2144"/>
                  </a:lnTo>
                  <a:lnTo>
                    <a:pt x="3" y="2158"/>
                  </a:lnTo>
                  <a:lnTo>
                    <a:pt x="2" y="2172"/>
                  </a:lnTo>
                  <a:lnTo>
                    <a:pt x="0" y="2797"/>
                  </a:lnTo>
                  <a:lnTo>
                    <a:pt x="0" y="2797"/>
                  </a:lnTo>
                  <a:lnTo>
                    <a:pt x="1" y="2811"/>
                  </a:lnTo>
                  <a:lnTo>
                    <a:pt x="3" y="2825"/>
                  </a:lnTo>
                  <a:lnTo>
                    <a:pt x="6" y="2839"/>
                  </a:lnTo>
                  <a:lnTo>
                    <a:pt x="11" y="2852"/>
                  </a:lnTo>
                  <a:lnTo>
                    <a:pt x="17" y="2864"/>
                  </a:lnTo>
                  <a:lnTo>
                    <a:pt x="24" y="2876"/>
                  </a:lnTo>
                  <a:lnTo>
                    <a:pt x="32" y="2887"/>
                  </a:lnTo>
                  <a:lnTo>
                    <a:pt x="41" y="2897"/>
                  </a:lnTo>
                  <a:lnTo>
                    <a:pt x="51" y="2906"/>
                  </a:lnTo>
                  <a:lnTo>
                    <a:pt x="62" y="2914"/>
                  </a:lnTo>
                  <a:lnTo>
                    <a:pt x="74" y="2921"/>
                  </a:lnTo>
                  <a:lnTo>
                    <a:pt x="86" y="2927"/>
                  </a:lnTo>
                  <a:lnTo>
                    <a:pt x="99" y="2932"/>
                  </a:lnTo>
                  <a:lnTo>
                    <a:pt x="113" y="2936"/>
                  </a:lnTo>
                  <a:lnTo>
                    <a:pt x="127" y="2938"/>
                  </a:lnTo>
                  <a:lnTo>
                    <a:pt x="141" y="2939"/>
                  </a:lnTo>
                  <a:lnTo>
                    <a:pt x="555" y="2941"/>
                  </a:lnTo>
                  <a:lnTo>
                    <a:pt x="555" y="2941"/>
                  </a:lnTo>
                  <a:lnTo>
                    <a:pt x="570" y="2941"/>
                  </a:lnTo>
                  <a:lnTo>
                    <a:pt x="584" y="2944"/>
                  </a:lnTo>
                  <a:lnTo>
                    <a:pt x="599" y="2947"/>
                  </a:lnTo>
                  <a:lnTo>
                    <a:pt x="614" y="2951"/>
                  </a:lnTo>
                  <a:lnTo>
                    <a:pt x="628" y="2957"/>
                  </a:lnTo>
                  <a:lnTo>
                    <a:pt x="642" y="2964"/>
                  </a:lnTo>
                  <a:lnTo>
                    <a:pt x="656" y="2972"/>
                  </a:lnTo>
                  <a:lnTo>
                    <a:pt x="669" y="2980"/>
                  </a:lnTo>
                  <a:lnTo>
                    <a:pt x="682" y="2990"/>
                  </a:lnTo>
                  <a:lnTo>
                    <a:pt x="694" y="3000"/>
                  </a:lnTo>
                  <a:lnTo>
                    <a:pt x="705" y="3011"/>
                  </a:lnTo>
                  <a:lnTo>
                    <a:pt x="715" y="3023"/>
                  </a:lnTo>
                  <a:lnTo>
                    <a:pt x="724" y="3035"/>
                  </a:lnTo>
                  <a:lnTo>
                    <a:pt x="732" y="3048"/>
                  </a:lnTo>
                  <a:lnTo>
                    <a:pt x="739" y="3061"/>
                  </a:lnTo>
                  <a:lnTo>
                    <a:pt x="745" y="3075"/>
                  </a:lnTo>
                  <a:lnTo>
                    <a:pt x="939" y="3482"/>
                  </a:lnTo>
                  <a:lnTo>
                    <a:pt x="939" y="3482"/>
                  </a:lnTo>
                  <a:lnTo>
                    <a:pt x="946" y="3495"/>
                  </a:lnTo>
                  <a:lnTo>
                    <a:pt x="952" y="3509"/>
                  </a:lnTo>
                  <a:lnTo>
                    <a:pt x="956" y="3523"/>
                  </a:lnTo>
                  <a:lnTo>
                    <a:pt x="960" y="3538"/>
                  </a:lnTo>
                  <a:lnTo>
                    <a:pt x="963" y="3553"/>
                  </a:lnTo>
                  <a:lnTo>
                    <a:pt x="964" y="3569"/>
                  </a:lnTo>
                  <a:lnTo>
                    <a:pt x="965" y="3585"/>
                  </a:lnTo>
                  <a:lnTo>
                    <a:pt x="965" y="3600"/>
                  </a:lnTo>
                  <a:lnTo>
                    <a:pt x="963" y="3616"/>
                  </a:lnTo>
                  <a:lnTo>
                    <a:pt x="960" y="3632"/>
                  </a:lnTo>
                  <a:lnTo>
                    <a:pt x="957" y="3647"/>
                  </a:lnTo>
                  <a:lnTo>
                    <a:pt x="952" y="3661"/>
                  </a:lnTo>
                  <a:lnTo>
                    <a:pt x="947" y="3676"/>
                  </a:lnTo>
                  <a:lnTo>
                    <a:pt x="940" y="3689"/>
                  </a:lnTo>
                  <a:lnTo>
                    <a:pt x="932" y="3702"/>
                  </a:lnTo>
                  <a:lnTo>
                    <a:pt x="924" y="3714"/>
                  </a:lnTo>
                  <a:lnTo>
                    <a:pt x="664" y="4036"/>
                  </a:lnTo>
                  <a:lnTo>
                    <a:pt x="664" y="4036"/>
                  </a:lnTo>
                  <a:lnTo>
                    <a:pt x="656" y="4048"/>
                  </a:lnTo>
                  <a:lnTo>
                    <a:pt x="649" y="4060"/>
                  </a:lnTo>
                  <a:lnTo>
                    <a:pt x="643" y="4073"/>
                  </a:lnTo>
                  <a:lnTo>
                    <a:pt x="639" y="4086"/>
                  </a:lnTo>
                  <a:lnTo>
                    <a:pt x="636" y="4100"/>
                  </a:lnTo>
                  <a:lnTo>
                    <a:pt x="634" y="4113"/>
                  </a:lnTo>
                  <a:lnTo>
                    <a:pt x="633" y="4127"/>
                  </a:lnTo>
                  <a:lnTo>
                    <a:pt x="634" y="4141"/>
                  </a:lnTo>
                  <a:lnTo>
                    <a:pt x="636" y="4154"/>
                  </a:lnTo>
                  <a:lnTo>
                    <a:pt x="640" y="4167"/>
                  </a:lnTo>
                  <a:lnTo>
                    <a:pt x="644" y="4180"/>
                  </a:lnTo>
                  <a:lnTo>
                    <a:pt x="650" y="4192"/>
                  </a:lnTo>
                  <a:lnTo>
                    <a:pt x="657" y="4204"/>
                  </a:lnTo>
                  <a:lnTo>
                    <a:pt x="666" y="4216"/>
                  </a:lnTo>
                  <a:lnTo>
                    <a:pt x="675" y="4226"/>
                  </a:lnTo>
                  <a:lnTo>
                    <a:pt x="686" y="4236"/>
                  </a:lnTo>
                  <a:lnTo>
                    <a:pt x="1172" y="4626"/>
                  </a:lnTo>
                  <a:lnTo>
                    <a:pt x="1172" y="4626"/>
                  </a:lnTo>
                  <a:lnTo>
                    <a:pt x="1183" y="4634"/>
                  </a:lnTo>
                  <a:lnTo>
                    <a:pt x="1196" y="4642"/>
                  </a:lnTo>
                  <a:lnTo>
                    <a:pt x="1208" y="4647"/>
                  </a:lnTo>
                  <a:lnTo>
                    <a:pt x="1221" y="4652"/>
                  </a:lnTo>
                  <a:lnTo>
                    <a:pt x="1235" y="4655"/>
                  </a:lnTo>
                  <a:lnTo>
                    <a:pt x="1248" y="4657"/>
                  </a:lnTo>
                  <a:lnTo>
                    <a:pt x="1262" y="4657"/>
                  </a:lnTo>
                  <a:lnTo>
                    <a:pt x="1276" y="4656"/>
                  </a:lnTo>
                  <a:lnTo>
                    <a:pt x="1289" y="4654"/>
                  </a:lnTo>
                  <a:lnTo>
                    <a:pt x="1302" y="4651"/>
                  </a:lnTo>
                  <a:lnTo>
                    <a:pt x="1315" y="4646"/>
                  </a:lnTo>
                  <a:lnTo>
                    <a:pt x="1328" y="4640"/>
                  </a:lnTo>
                  <a:lnTo>
                    <a:pt x="1339" y="4633"/>
                  </a:lnTo>
                  <a:lnTo>
                    <a:pt x="1351" y="4625"/>
                  </a:lnTo>
                  <a:lnTo>
                    <a:pt x="1361" y="4615"/>
                  </a:lnTo>
                  <a:lnTo>
                    <a:pt x="1371" y="4604"/>
                  </a:lnTo>
                  <a:lnTo>
                    <a:pt x="1630" y="4283"/>
                  </a:lnTo>
                  <a:lnTo>
                    <a:pt x="1630" y="4283"/>
                  </a:lnTo>
                  <a:lnTo>
                    <a:pt x="1639" y="4272"/>
                  </a:lnTo>
                  <a:lnTo>
                    <a:pt x="1650" y="4262"/>
                  </a:lnTo>
                  <a:lnTo>
                    <a:pt x="1662" y="4252"/>
                  </a:lnTo>
                  <a:lnTo>
                    <a:pt x="1675" y="4244"/>
                  </a:lnTo>
                  <a:lnTo>
                    <a:pt x="1688" y="4236"/>
                  </a:lnTo>
                  <a:lnTo>
                    <a:pt x="1702" y="4229"/>
                  </a:lnTo>
                  <a:lnTo>
                    <a:pt x="1717" y="4223"/>
                  </a:lnTo>
                  <a:lnTo>
                    <a:pt x="1732" y="4219"/>
                  </a:lnTo>
                  <a:lnTo>
                    <a:pt x="1747" y="4215"/>
                  </a:lnTo>
                  <a:lnTo>
                    <a:pt x="1762" y="4212"/>
                  </a:lnTo>
                  <a:lnTo>
                    <a:pt x="1778" y="4210"/>
                  </a:lnTo>
                  <a:lnTo>
                    <a:pt x="1793" y="4210"/>
                  </a:lnTo>
                  <a:lnTo>
                    <a:pt x="1809" y="4210"/>
                  </a:lnTo>
                  <a:lnTo>
                    <a:pt x="1824" y="4212"/>
                  </a:lnTo>
                  <a:lnTo>
                    <a:pt x="1838" y="4215"/>
                  </a:lnTo>
                  <a:lnTo>
                    <a:pt x="1852" y="4219"/>
                  </a:lnTo>
                  <a:lnTo>
                    <a:pt x="2295" y="4319"/>
                  </a:lnTo>
                  <a:lnTo>
                    <a:pt x="2295" y="4319"/>
                  </a:lnTo>
                  <a:lnTo>
                    <a:pt x="2309" y="4322"/>
                  </a:lnTo>
                  <a:lnTo>
                    <a:pt x="2324" y="4326"/>
                  </a:lnTo>
                  <a:lnTo>
                    <a:pt x="2338" y="4331"/>
                  </a:lnTo>
                  <a:lnTo>
                    <a:pt x="2352" y="4337"/>
                  </a:lnTo>
                  <a:lnTo>
                    <a:pt x="2366" y="4345"/>
                  </a:lnTo>
                  <a:lnTo>
                    <a:pt x="2379" y="4353"/>
                  </a:lnTo>
                  <a:lnTo>
                    <a:pt x="2391" y="4363"/>
                  </a:lnTo>
                  <a:lnTo>
                    <a:pt x="2403" y="4373"/>
                  </a:lnTo>
                  <a:lnTo>
                    <a:pt x="2415" y="4384"/>
                  </a:lnTo>
                  <a:lnTo>
                    <a:pt x="2425" y="4396"/>
                  </a:lnTo>
                  <a:lnTo>
                    <a:pt x="2435" y="4408"/>
                  </a:lnTo>
                  <a:lnTo>
                    <a:pt x="2443" y="4421"/>
                  </a:lnTo>
                  <a:lnTo>
                    <a:pt x="2451" y="4434"/>
                  </a:lnTo>
                  <a:lnTo>
                    <a:pt x="2457" y="4448"/>
                  </a:lnTo>
                  <a:lnTo>
                    <a:pt x="2464" y="4462"/>
                  </a:lnTo>
                  <a:lnTo>
                    <a:pt x="2468" y="4476"/>
                  </a:lnTo>
                  <a:lnTo>
                    <a:pt x="2558" y="4880"/>
                  </a:lnTo>
                  <a:lnTo>
                    <a:pt x="2558" y="4880"/>
                  </a:lnTo>
                  <a:lnTo>
                    <a:pt x="2562" y="4894"/>
                  </a:lnTo>
                  <a:lnTo>
                    <a:pt x="2567" y="4907"/>
                  </a:lnTo>
                  <a:lnTo>
                    <a:pt x="2574" y="4919"/>
                  </a:lnTo>
                  <a:lnTo>
                    <a:pt x="2581" y="4931"/>
                  </a:lnTo>
                  <a:lnTo>
                    <a:pt x="2590" y="4942"/>
                  </a:lnTo>
                  <a:lnTo>
                    <a:pt x="2600" y="4952"/>
                  </a:lnTo>
                  <a:lnTo>
                    <a:pt x="2610" y="4960"/>
                  </a:lnTo>
                  <a:lnTo>
                    <a:pt x="2621" y="4968"/>
                  </a:lnTo>
                  <a:lnTo>
                    <a:pt x="2633" y="4975"/>
                  </a:lnTo>
                  <a:lnTo>
                    <a:pt x="2645" y="4981"/>
                  </a:lnTo>
                  <a:lnTo>
                    <a:pt x="2658" y="4985"/>
                  </a:lnTo>
                  <a:lnTo>
                    <a:pt x="2672" y="4988"/>
                  </a:lnTo>
                  <a:lnTo>
                    <a:pt x="2685" y="4990"/>
                  </a:lnTo>
                  <a:lnTo>
                    <a:pt x="2699" y="4990"/>
                  </a:lnTo>
                  <a:lnTo>
                    <a:pt x="2714" y="4989"/>
                  </a:lnTo>
                  <a:lnTo>
                    <a:pt x="2728" y="4987"/>
                  </a:lnTo>
                  <a:lnTo>
                    <a:pt x="3336" y="4850"/>
                  </a:lnTo>
                  <a:lnTo>
                    <a:pt x="3336" y="4850"/>
                  </a:lnTo>
                  <a:lnTo>
                    <a:pt x="3350" y="4846"/>
                  </a:lnTo>
                  <a:lnTo>
                    <a:pt x="3363" y="4841"/>
                  </a:lnTo>
                  <a:lnTo>
                    <a:pt x="3376" y="4835"/>
                  </a:lnTo>
                  <a:lnTo>
                    <a:pt x="3387" y="4827"/>
                  </a:lnTo>
                  <a:lnTo>
                    <a:pt x="3398" y="4819"/>
                  </a:lnTo>
                  <a:lnTo>
                    <a:pt x="3408" y="4809"/>
                  </a:lnTo>
                  <a:lnTo>
                    <a:pt x="3417" y="4799"/>
                  </a:lnTo>
                  <a:lnTo>
                    <a:pt x="3425" y="4787"/>
                  </a:lnTo>
                  <a:lnTo>
                    <a:pt x="3431" y="4776"/>
                  </a:lnTo>
                  <a:lnTo>
                    <a:pt x="3437" y="4763"/>
                  </a:lnTo>
                  <a:lnTo>
                    <a:pt x="3441" y="4750"/>
                  </a:lnTo>
                  <a:lnTo>
                    <a:pt x="3444" y="4737"/>
                  </a:lnTo>
                  <a:lnTo>
                    <a:pt x="3446" y="4723"/>
                  </a:lnTo>
                  <a:lnTo>
                    <a:pt x="3447" y="4709"/>
                  </a:lnTo>
                  <a:lnTo>
                    <a:pt x="3446" y="4695"/>
                  </a:lnTo>
                  <a:lnTo>
                    <a:pt x="3443" y="4681"/>
                  </a:lnTo>
                  <a:lnTo>
                    <a:pt x="3352" y="4278"/>
                  </a:lnTo>
                  <a:lnTo>
                    <a:pt x="3352" y="4278"/>
                  </a:lnTo>
                  <a:lnTo>
                    <a:pt x="3350" y="4263"/>
                  </a:lnTo>
                  <a:lnTo>
                    <a:pt x="3349" y="4248"/>
                  </a:lnTo>
                  <a:lnTo>
                    <a:pt x="3349" y="4233"/>
                  </a:lnTo>
                  <a:lnTo>
                    <a:pt x="3350" y="4218"/>
                  </a:lnTo>
                  <a:lnTo>
                    <a:pt x="3352" y="4203"/>
                  </a:lnTo>
                  <a:lnTo>
                    <a:pt x="3356" y="4187"/>
                  </a:lnTo>
                  <a:lnTo>
                    <a:pt x="3360" y="4172"/>
                  </a:lnTo>
                  <a:lnTo>
                    <a:pt x="3366" y="4158"/>
                  </a:lnTo>
                  <a:lnTo>
                    <a:pt x="3372" y="4143"/>
                  </a:lnTo>
                  <a:lnTo>
                    <a:pt x="3379" y="4129"/>
                  </a:lnTo>
                  <a:lnTo>
                    <a:pt x="3388" y="4116"/>
                  </a:lnTo>
                  <a:lnTo>
                    <a:pt x="3397" y="4103"/>
                  </a:lnTo>
                  <a:lnTo>
                    <a:pt x="3407" y="4092"/>
                  </a:lnTo>
                  <a:lnTo>
                    <a:pt x="3417" y="4081"/>
                  </a:lnTo>
                  <a:lnTo>
                    <a:pt x="3429" y="4071"/>
                  </a:lnTo>
                  <a:lnTo>
                    <a:pt x="3441" y="4063"/>
                  </a:lnTo>
                  <a:lnTo>
                    <a:pt x="3795" y="3783"/>
                  </a:lnTo>
                  <a:lnTo>
                    <a:pt x="3795" y="3783"/>
                  </a:lnTo>
                  <a:lnTo>
                    <a:pt x="3806" y="3773"/>
                  </a:lnTo>
                  <a:lnTo>
                    <a:pt x="3818" y="3764"/>
                  </a:lnTo>
                  <a:lnTo>
                    <a:pt x="3831" y="3756"/>
                  </a:lnTo>
                  <a:lnTo>
                    <a:pt x="3845" y="3749"/>
                  </a:lnTo>
                  <a:lnTo>
                    <a:pt x="3859" y="3743"/>
                  </a:lnTo>
                  <a:lnTo>
                    <a:pt x="3874" y="3738"/>
                  </a:lnTo>
                  <a:lnTo>
                    <a:pt x="3889" y="3734"/>
                  </a:lnTo>
                  <a:lnTo>
                    <a:pt x="3905" y="3731"/>
                  </a:lnTo>
                  <a:lnTo>
                    <a:pt x="3920" y="3729"/>
                  </a:lnTo>
                  <a:lnTo>
                    <a:pt x="3936" y="3728"/>
                  </a:lnTo>
                  <a:lnTo>
                    <a:pt x="3952" y="3728"/>
                  </a:lnTo>
                  <a:lnTo>
                    <a:pt x="3967" y="3730"/>
                  </a:lnTo>
                  <a:lnTo>
                    <a:pt x="3982" y="3732"/>
                  </a:lnTo>
                  <a:lnTo>
                    <a:pt x="3997" y="3735"/>
                  </a:lnTo>
                  <a:lnTo>
                    <a:pt x="4011" y="3740"/>
                  </a:lnTo>
                  <a:lnTo>
                    <a:pt x="4024" y="3746"/>
                  </a:lnTo>
                  <a:lnTo>
                    <a:pt x="4396" y="3926"/>
                  </a:lnTo>
                  <a:lnTo>
                    <a:pt x="4396" y="3926"/>
                  </a:lnTo>
                  <a:lnTo>
                    <a:pt x="4409" y="3932"/>
                  </a:lnTo>
                  <a:lnTo>
                    <a:pt x="4423" y="3936"/>
                  </a:lnTo>
                  <a:lnTo>
                    <a:pt x="4436" y="3939"/>
                  </a:lnTo>
                  <a:lnTo>
                    <a:pt x="4450" y="3940"/>
                  </a:lnTo>
                  <a:lnTo>
                    <a:pt x="4464" y="3940"/>
                  </a:lnTo>
                  <a:lnTo>
                    <a:pt x="4477" y="3939"/>
                  </a:lnTo>
                  <a:lnTo>
                    <a:pt x="4491" y="3936"/>
                  </a:lnTo>
                  <a:lnTo>
                    <a:pt x="4504" y="3932"/>
                  </a:lnTo>
                  <a:lnTo>
                    <a:pt x="4516" y="3927"/>
                  </a:lnTo>
                  <a:lnTo>
                    <a:pt x="4529" y="3921"/>
                  </a:lnTo>
                  <a:lnTo>
                    <a:pt x="4540" y="3914"/>
                  </a:lnTo>
                  <a:lnTo>
                    <a:pt x="4551" y="3905"/>
                  </a:lnTo>
                  <a:lnTo>
                    <a:pt x="4561" y="3896"/>
                  </a:lnTo>
                  <a:lnTo>
                    <a:pt x="4570" y="3885"/>
                  </a:lnTo>
                  <a:lnTo>
                    <a:pt x="4578" y="3873"/>
                  </a:lnTo>
                  <a:lnTo>
                    <a:pt x="4585" y="3860"/>
                  </a:lnTo>
                  <a:lnTo>
                    <a:pt x="4857" y="3300"/>
                  </a:lnTo>
                  <a:lnTo>
                    <a:pt x="4857" y="3300"/>
                  </a:lnTo>
                  <a:lnTo>
                    <a:pt x="4863" y="3286"/>
                  </a:lnTo>
                  <a:lnTo>
                    <a:pt x="4867" y="3273"/>
                  </a:lnTo>
                  <a:lnTo>
                    <a:pt x="4870" y="3259"/>
                  </a:lnTo>
                  <a:lnTo>
                    <a:pt x="4871" y="3245"/>
                  </a:lnTo>
                  <a:lnTo>
                    <a:pt x="4872" y="3231"/>
                  </a:lnTo>
                  <a:lnTo>
                    <a:pt x="4870" y="3218"/>
                  </a:lnTo>
                  <a:lnTo>
                    <a:pt x="4868" y="3204"/>
                  </a:lnTo>
                  <a:lnTo>
                    <a:pt x="4864" y="3191"/>
                  </a:lnTo>
                  <a:lnTo>
                    <a:pt x="4859" y="3179"/>
                  </a:lnTo>
                  <a:lnTo>
                    <a:pt x="4853" y="3167"/>
                  </a:lnTo>
                  <a:lnTo>
                    <a:pt x="4845" y="3155"/>
                  </a:lnTo>
                  <a:lnTo>
                    <a:pt x="4837" y="3144"/>
                  </a:lnTo>
                  <a:lnTo>
                    <a:pt x="4827" y="3134"/>
                  </a:lnTo>
                  <a:lnTo>
                    <a:pt x="4816" y="3125"/>
                  </a:lnTo>
                  <a:lnTo>
                    <a:pt x="4805" y="3117"/>
                  </a:lnTo>
                  <a:lnTo>
                    <a:pt x="4792" y="3110"/>
                  </a:lnTo>
                  <a:lnTo>
                    <a:pt x="4421" y="2930"/>
                  </a:lnTo>
                  <a:lnTo>
                    <a:pt x="4421" y="2930"/>
                  </a:lnTo>
                  <a:lnTo>
                    <a:pt x="4408" y="2923"/>
                  </a:lnTo>
                  <a:lnTo>
                    <a:pt x="4396" y="2915"/>
                  </a:lnTo>
                  <a:lnTo>
                    <a:pt x="4384" y="2905"/>
                  </a:lnTo>
                  <a:lnTo>
                    <a:pt x="4373" y="2895"/>
                  </a:lnTo>
                  <a:lnTo>
                    <a:pt x="4363" y="2884"/>
                  </a:lnTo>
                  <a:lnTo>
                    <a:pt x="4354" y="2872"/>
                  </a:lnTo>
                  <a:lnTo>
                    <a:pt x="4345" y="2859"/>
                  </a:lnTo>
                  <a:lnTo>
                    <a:pt x="4338" y="2845"/>
                  </a:lnTo>
                  <a:lnTo>
                    <a:pt x="4331" y="2831"/>
                  </a:lnTo>
                  <a:lnTo>
                    <a:pt x="4325" y="2817"/>
                  </a:lnTo>
                  <a:lnTo>
                    <a:pt x="4321" y="2802"/>
                  </a:lnTo>
                  <a:lnTo>
                    <a:pt x="4317" y="2787"/>
                  </a:lnTo>
                  <a:lnTo>
                    <a:pt x="4315" y="2772"/>
                  </a:lnTo>
                  <a:lnTo>
                    <a:pt x="4314" y="2758"/>
                  </a:lnTo>
                  <a:lnTo>
                    <a:pt x="4314" y="2743"/>
                  </a:lnTo>
                  <a:lnTo>
                    <a:pt x="4316" y="2728"/>
                  </a:lnTo>
                  <a:lnTo>
                    <a:pt x="4316" y="2728"/>
                  </a:lnTo>
                  <a:lnTo>
                    <a:pt x="4318" y="2710"/>
                  </a:lnTo>
                  <a:lnTo>
                    <a:pt x="4323" y="2662"/>
                  </a:lnTo>
                  <a:lnTo>
                    <a:pt x="4326" y="2629"/>
                  </a:lnTo>
                  <a:lnTo>
                    <a:pt x="4329" y="2590"/>
                  </a:lnTo>
                  <a:lnTo>
                    <a:pt x="4331" y="2548"/>
                  </a:lnTo>
                  <a:lnTo>
                    <a:pt x="4332" y="2502"/>
                  </a:lnTo>
                  <a:lnTo>
                    <a:pt x="4332" y="2502"/>
                  </a:lnTo>
                  <a:close/>
                  <a:moveTo>
                    <a:pt x="3788" y="2500"/>
                  </a:moveTo>
                  <a:lnTo>
                    <a:pt x="3788" y="2500"/>
                  </a:lnTo>
                  <a:lnTo>
                    <a:pt x="3787" y="2533"/>
                  </a:lnTo>
                  <a:lnTo>
                    <a:pt x="3786" y="2567"/>
                  </a:lnTo>
                  <a:lnTo>
                    <a:pt x="3784" y="2600"/>
                  </a:lnTo>
                  <a:lnTo>
                    <a:pt x="3780" y="2633"/>
                  </a:lnTo>
                  <a:lnTo>
                    <a:pt x="3777" y="2666"/>
                  </a:lnTo>
                  <a:lnTo>
                    <a:pt x="3772" y="2698"/>
                  </a:lnTo>
                  <a:lnTo>
                    <a:pt x="3767" y="2730"/>
                  </a:lnTo>
                  <a:lnTo>
                    <a:pt x="3760" y="2762"/>
                  </a:lnTo>
                  <a:lnTo>
                    <a:pt x="3753" y="2794"/>
                  </a:lnTo>
                  <a:lnTo>
                    <a:pt x="3746" y="2825"/>
                  </a:lnTo>
                  <a:lnTo>
                    <a:pt x="3737" y="2856"/>
                  </a:lnTo>
                  <a:lnTo>
                    <a:pt x="3728" y="2887"/>
                  </a:lnTo>
                  <a:lnTo>
                    <a:pt x="3718" y="2917"/>
                  </a:lnTo>
                  <a:lnTo>
                    <a:pt x="3707" y="2947"/>
                  </a:lnTo>
                  <a:lnTo>
                    <a:pt x="3696" y="2977"/>
                  </a:lnTo>
                  <a:lnTo>
                    <a:pt x="3684" y="3006"/>
                  </a:lnTo>
                  <a:lnTo>
                    <a:pt x="3671" y="3035"/>
                  </a:lnTo>
                  <a:lnTo>
                    <a:pt x="3657" y="3064"/>
                  </a:lnTo>
                  <a:lnTo>
                    <a:pt x="3643" y="3092"/>
                  </a:lnTo>
                  <a:lnTo>
                    <a:pt x="3628" y="3120"/>
                  </a:lnTo>
                  <a:lnTo>
                    <a:pt x="3613" y="3147"/>
                  </a:lnTo>
                  <a:lnTo>
                    <a:pt x="3597" y="3174"/>
                  </a:lnTo>
                  <a:lnTo>
                    <a:pt x="3580" y="3201"/>
                  </a:lnTo>
                  <a:lnTo>
                    <a:pt x="3563" y="3227"/>
                  </a:lnTo>
                  <a:lnTo>
                    <a:pt x="3545" y="3252"/>
                  </a:lnTo>
                  <a:lnTo>
                    <a:pt x="3526" y="3278"/>
                  </a:lnTo>
                  <a:lnTo>
                    <a:pt x="3507" y="3302"/>
                  </a:lnTo>
                  <a:lnTo>
                    <a:pt x="3487" y="3327"/>
                  </a:lnTo>
                  <a:lnTo>
                    <a:pt x="3467" y="3350"/>
                  </a:lnTo>
                  <a:lnTo>
                    <a:pt x="3446" y="3374"/>
                  </a:lnTo>
                  <a:lnTo>
                    <a:pt x="3425" y="3396"/>
                  </a:lnTo>
                  <a:lnTo>
                    <a:pt x="3403" y="3419"/>
                  </a:lnTo>
                  <a:lnTo>
                    <a:pt x="3381" y="3440"/>
                  </a:lnTo>
                  <a:lnTo>
                    <a:pt x="3358" y="3462"/>
                  </a:lnTo>
                  <a:lnTo>
                    <a:pt x="3334" y="3482"/>
                  </a:lnTo>
                  <a:lnTo>
                    <a:pt x="3310" y="3502"/>
                  </a:lnTo>
                  <a:lnTo>
                    <a:pt x="3286" y="3522"/>
                  </a:lnTo>
                  <a:lnTo>
                    <a:pt x="3261" y="3541"/>
                  </a:lnTo>
                  <a:lnTo>
                    <a:pt x="3236" y="3559"/>
                  </a:lnTo>
                  <a:lnTo>
                    <a:pt x="3210" y="3577"/>
                  </a:lnTo>
                  <a:lnTo>
                    <a:pt x="3184" y="3594"/>
                  </a:lnTo>
                  <a:lnTo>
                    <a:pt x="3157" y="3611"/>
                  </a:lnTo>
                  <a:lnTo>
                    <a:pt x="3130" y="3626"/>
                  </a:lnTo>
                  <a:lnTo>
                    <a:pt x="3102" y="3642"/>
                  </a:lnTo>
                  <a:lnTo>
                    <a:pt x="3074" y="3656"/>
                  </a:lnTo>
                  <a:lnTo>
                    <a:pt x="3046" y="3670"/>
                  </a:lnTo>
                  <a:lnTo>
                    <a:pt x="3017" y="3683"/>
                  </a:lnTo>
                  <a:lnTo>
                    <a:pt x="2988" y="3696"/>
                  </a:lnTo>
                  <a:lnTo>
                    <a:pt x="2959" y="3708"/>
                  </a:lnTo>
                  <a:lnTo>
                    <a:pt x="2929" y="3719"/>
                  </a:lnTo>
                  <a:lnTo>
                    <a:pt x="2899" y="3730"/>
                  </a:lnTo>
                  <a:lnTo>
                    <a:pt x="2868" y="3739"/>
                  </a:lnTo>
                  <a:lnTo>
                    <a:pt x="2838" y="3748"/>
                  </a:lnTo>
                  <a:lnTo>
                    <a:pt x="2807" y="3757"/>
                  </a:lnTo>
                  <a:lnTo>
                    <a:pt x="2775" y="3764"/>
                  </a:lnTo>
                  <a:lnTo>
                    <a:pt x="2744" y="3771"/>
                  </a:lnTo>
                  <a:lnTo>
                    <a:pt x="2712" y="3777"/>
                  </a:lnTo>
                  <a:lnTo>
                    <a:pt x="2679" y="3782"/>
                  </a:lnTo>
                  <a:lnTo>
                    <a:pt x="2647" y="3787"/>
                  </a:lnTo>
                  <a:lnTo>
                    <a:pt x="2614" y="3790"/>
                  </a:lnTo>
                  <a:lnTo>
                    <a:pt x="2581" y="3793"/>
                  </a:lnTo>
                  <a:lnTo>
                    <a:pt x="2548" y="3795"/>
                  </a:lnTo>
                  <a:lnTo>
                    <a:pt x="2515" y="3796"/>
                  </a:lnTo>
                  <a:lnTo>
                    <a:pt x="2481" y="3796"/>
                  </a:lnTo>
                  <a:lnTo>
                    <a:pt x="2481" y="3796"/>
                  </a:lnTo>
                  <a:lnTo>
                    <a:pt x="2446" y="3796"/>
                  </a:lnTo>
                  <a:lnTo>
                    <a:pt x="2413" y="3794"/>
                  </a:lnTo>
                  <a:lnTo>
                    <a:pt x="2380" y="3792"/>
                  </a:lnTo>
                  <a:lnTo>
                    <a:pt x="2347" y="3789"/>
                  </a:lnTo>
                  <a:lnTo>
                    <a:pt x="2314" y="3785"/>
                  </a:lnTo>
                  <a:lnTo>
                    <a:pt x="2282" y="3781"/>
                  </a:lnTo>
                  <a:lnTo>
                    <a:pt x="2250" y="3775"/>
                  </a:lnTo>
                  <a:lnTo>
                    <a:pt x="2218" y="3769"/>
                  </a:lnTo>
                  <a:lnTo>
                    <a:pt x="2186" y="3762"/>
                  </a:lnTo>
                  <a:lnTo>
                    <a:pt x="2155" y="3754"/>
                  </a:lnTo>
                  <a:lnTo>
                    <a:pt x="2124" y="3746"/>
                  </a:lnTo>
                  <a:lnTo>
                    <a:pt x="2093" y="3736"/>
                  </a:lnTo>
                  <a:lnTo>
                    <a:pt x="2063" y="3726"/>
                  </a:lnTo>
                  <a:lnTo>
                    <a:pt x="2033" y="3716"/>
                  </a:lnTo>
                  <a:lnTo>
                    <a:pt x="2003" y="3704"/>
                  </a:lnTo>
                  <a:lnTo>
                    <a:pt x="1974" y="3692"/>
                  </a:lnTo>
                  <a:lnTo>
                    <a:pt x="1945" y="3679"/>
                  </a:lnTo>
                  <a:lnTo>
                    <a:pt x="1916" y="3666"/>
                  </a:lnTo>
                  <a:lnTo>
                    <a:pt x="1888" y="3652"/>
                  </a:lnTo>
                  <a:lnTo>
                    <a:pt x="1860" y="3637"/>
                  </a:lnTo>
                  <a:lnTo>
                    <a:pt x="1833" y="3621"/>
                  </a:lnTo>
                  <a:lnTo>
                    <a:pt x="1806" y="3605"/>
                  </a:lnTo>
                  <a:lnTo>
                    <a:pt x="1779" y="3589"/>
                  </a:lnTo>
                  <a:lnTo>
                    <a:pt x="1753" y="3571"/>
                  </a:lnTo>
                  <a:lnTo>
                    <a:pt x="1728" y="3553"/>
                  </a:lnTo>
                  <a:lnTo>
                    <a:pt x="1702" y="3535"/>
                  </a:lnTo>
                  <a:lnTo>
                    <a:pt x="1678" y="3516"/>
                  </a:lnTo>
                  <a:lnTo>
                    <a:pt x="1653" y="3496"/>
                  </a:lnTo>
                  <a:lnTo>
                    <a:pt x="1630" y="3476"/>
                  </a:lnTo>
                  <a:lnTo>
                    <a:pt x="1606" y="3455"/>
                  </a:lnTo>
                  <a:lnTo>
                    <a:pt x="1584" y="3433"/>
                  </a:lnTo>
                  <a:lnTo>
                    <a:pt x="1561" y="3412"/>
                  </a:lnTo>
                  <a:lnTo>
                    <a:pt x="1540" y="3389"/>
                  </a:lnTo>
                  <a:lnTo>
                    <a:pt x="1518" y="3366"/>
                  </a:lnTo>
                  <a:lnTo>
                    <a:pt x="1498" y="3343"/>
                  </a:lnTo>
                  <a:lnTo>
                    <a:pt x="1478" y="3319"/>
                  </a:lnTo>
                  <a:lnTo>
                    <a:pt x="1458" y="3294"/>
                  </a:lnTo>
                  <a:lnTo>
                    <a:pt x="1439" y="3269"/>
                  </a:lnTo>
                  <a:lnTo>
                    <a:pt x="1421" y="3244"/>
                  </a:lnTo>
                  <a:lnTo>
                    <a:pt x="1403" y="3218"/>
                  </a:lnTo>
                  <a:lnTo>
                    <a:pt x="1386" y="3192"/>
                  </a:lnTo>
                  <a:lnTo>
                    <a:pt x="1370" y="3165"/>
                  </a:lnTo>
                  <a:lnTo>
                    <a:pt x="1354" y="3138"/>
                  </a:lnTo>
                  <a:lnTo>
                    <a:pt x="1338" y="3111"/>
                  </a:lnTo>
                  <a:lnTo>
                    <a:pt x="1324" y="3083"/>
                  </a:lnTo>
                  <a:lnTo>
                    <a:pt x="1310" y="3054"/>
                  </a:lnTo>
                  <a:lnTo>
                    <a:pt x="1297" y="3026"/>
                  </a:lnTo>
                  <a:lnTo>
                    <a:pt x="1284" y="2997"/>
                  </a:lnTo>
                  <a:lnTo>
                    <a:pt x="1272" y="2967"/>
                  </a:lnTo>
                  <a:lnTo>
                    <a:pt x="1261" y="2937"/>
                  </a:lnTo>
                  <a:lnTo>
                    <a:pt x="1250" y="2907"/>
                  </a:lnTo>
                  <a:lnTo>
                    <a:pt x="1241" y="2877"/>
                  </a:lnTo>
                  <a:lnTo>
                    <a:pt x="1232" y="2846"/>
                  </a:lnTo>
                  <a:lnTo>
                    <a:pt x="1223" y="2815"/>
                  </a:lnTo>
                  <a:lnTo>
                    <a:pt x="1216" y="2784"/>
                  </a:lnTo>
                  <a:lnTo>
                    <a:pt x="1209" y="2752"/>
                  </a:lnTo>
                  <a:lnTo>
                    <a:pt x="1203" y="2720"/>
                  </a:lnTo>
                  <a:lnTo>
                    <a:pt x="1198" y="2688"/>
                  </a:lnTo>
                  <a:lnTo>
                    <a:pt x="1194" y="2655"/>
                  </a:lnTo>
                  <a:lnTo>
                    <a:pt x="1190" y="2623"/>
                  </a:lnTo>
                  <a:lnTo>
                    <a:pt x="1187" y="2590"/>
                  </a:lnTo>
                  <a:lnTo>
                    <a:pt x="1185" y="2557"/>
                  </a:lnTo>
                  <a:lnTo>
                    <a:pt x="1184" y="2523"/>
                  </a:lnTo>
                  <a:lnTo>
                    <a:pt x="1184" y="2490"/>
                  </a:lnTo>
                  <a:lnTo>
                    <a:pt x="1184" y="2490"/>
                  </a:lnTo>
                  <a:lnTo>
                    <a:pt x="1184" y="2455"/>
                  </a:lnTo>
                  <a:lnTo>
                    <a:pt x="1186" y="2422"/>
                  </a:lnTo>
                  <a:lnTo>
                    <a:pt x="1188" y="2388"/>
                  </a:lnTo>
                  <a:lnTo>
                    <a:pt x="1191" y="2356"/>
                  </a:lnTo>
                  <a:lnTo>
                    <a:pt x="1195" y="2323"/>
                  </a:lnTo>
                  <a:lnTo>
                    <a:pt x="1199" y="2290"/>
                  </a:lnTo>
                  <a:lnTo>
                    <a:pt x="1205" y="2258"/>
                  </a:lnTo>
                  <a:lnTo>
                    <a:pt x="1211" y="2226"/>
                  </a:lnTo>
                  <a:lnTo>
                    <a:pt x="1218" y="2195"/>
                  </a:lnTo>
                  <a:lnTo>
                    <a:pt x="1226" y="2163"/>
                  </a:lnTo>
                  <a:lnTo>
                    <a:pt x="1234" y="2132"/>
                  </a:lnTo>
                  <a:lnTo>
                    <a:pt x="1244" y="2102"/>
                  </a:lnTo>
                  <a:lnTo>
                    <a:pt x="1254" y="2071"/>
                  </a:lnTo>
                  <a:lnTo>
                    <a:pt x="1264" y="2041"/>
                  </a:lnTo>
                  <a:lnTo>
                    <a:pt x="1276" y="2012"/>
                  </a:lnTo>
                  <a:lnTo>
                    <a:pt x="1288" y="1982"/>
                  </a:lnTo>
                  <a:lnTo>
                    <a:pt x="1301" y="1953"/>
                  </a:lnTo>
                  <a:lnTo>
                    <a:pt x="1314" y="1925"/>
                  </a:lnTo>
                  <a:lnTo>
                    <a:pt x="1328" y="1897"/>
                  </a:lnTo>
                  <a:lnTo>
                    <a:pt x="1343" y="1869"/>
                  </a:lnTo>
                  <a:lnTo>
                    <a:pt x="1359" y="1841"/>
                  </a:lnTo>
                  <a:lnTo>
                    <a:pt x="1375" y="1814"/>
                  </a:lnTo>
                  <a:lnTo>
                    <a:pt x="1391" y="1788"/>
                  </a:lnTo>
                  <a:lnTo>
                    <a:pt x="1409" y="1762"/>
                  </a:lnTo>
                  <a:lnTo>
                    <a:pt x="1427" y="1736"/>
                  </a:lnTo>
                  <a:lnTo>
                    <a:pt x="1445" y="1711"/>
                  </a:lnTo>
                  <a:lnTo>
                    <a:pt x="1464" y="1686"/>
                  </a:lnTo>
                  <a:lnTo>
                    <a:pt x="1484" y="1662"/>
                  </a:lnTo>
                  <a:lnTo>
                    <a:pt x="1504" y="1638"/>
                  </a:lnTo>
                  <a:lnTo>
                    <a:pt x="1525" y="1615"/>
                  </a:lnTo>
                  <a:lnTo>
                    <a:pt x="1547" y="1592"/>
                  </a:lnTo>
                  <a:lnTo>
                    <a:pt x="1569" y="1570"/>
                  </a:lnTo>
                  <a:lnTo>
                    <a:pt x="1591" y="1548"/>
                  </a:lnTo>
                  <a:lnTo>
                    <a:pt x="1614" y="1527"/>
                  </a:lnTo>
                  <a:lnTo>
                    <a:pt x="1637" y="1506"/>
                  </a:lnTo>
                  <a:lnTo>
                    <a:pt x="1661" y="1486"/>
                  </a:lnTo>
                  <a:lnTo>
                    <a:pt x="1686" y="1467"/>
                  </a:lnTo>
                  <a:lnTo>
                    <a:pt x="1711" y="1448"/>
                  </a:lnTo>
                  <a:lnTo>
                    <a:pt x="1736" y="1429"/>
                  </a:lnTo>
                  <a:lnTo>
                    <a:pt x="1762" y="1412"/>
                  </a:lnTo>
                  <a:lnTo>
                    <a:pt x="1788" y="1395"/>
                  </a:lnTo>
                  <a:lnTo>
                    <a:pt x="1815" y="1378"/>
                  </a:lnTo>
                  <a:lnTo>
                    <a:pt x="1842" y="1362"/>
                  </a:lnTo>
                  <a:lnTo>
                    <a:pt x="1869" y="1347"/>
                  </a:lnTo>
                  <a:lnTo>
                    <a:pt x="1897" y="1332"/>
                  </a:lnTo>
                  <a:lnTo>
                    <a:pt x="1926" y="1318"/>
                  </a:lnTo>
                  <a:lnTo>
                    <a:pt x="1954" y="1305"/>
                  </a:lnTo>
                  <a:lnTo>
                    <a:pt x="1983" y="1293"/>
                  </a:lnTo>
                  <a:lnTo>
                    <a:pt x="2013" y="1281"/>
                  </a:lnTo>
                  <a:lnTo>
                    <a:pt x="2043" y="1270"/>
                  </a:lnTo>
                  <a:lnTo>
                    <a:pt x="2073" y="1259"/>
                  </a:lnTo>
                  <a:lnTo>
                    <a:pt x="2103" y="1249"/>
                  </a:lnTo>
                  <a:lnTo>
                    <a:pt x="2134" y="1240"/>
                  </a:lnTo>
                  <a:lnTo>
                    <a:pt x="2165" y="1232"/>
                  </a:lnTo>
                  <a:lnTo>
                    <a:pt x="2196" y="1225"/>
                  </a:lnTo>
                  <a:lnTo>
                    <a:pt x="2228" y="1218"/>
                  </a:lnTo>
                  <a:lnTo>
                    <a:pt x="2260" y="1212"/>
                  </a:lnTo>
                  <a:lnTo>
                    <a:pt x="2292" y="1207"/>
                  </a:lnTo>
                  <a:lnTo>
                    <a:pt x="2325" y="1202"/>
                  </a:lnTo>
                  <a:lnTo>
                    <a:pt x="2357" y="1199"/>
                  </a:lnTo>
                  <a:lnTo>
                    <a:pt x="2390" y="1196"/>
                  </a:lnTo>
                  <a:lnTo>
                    <a:pt x="2424" y="1194"/>
                  </a:lnTo>
                  <a:lnTo>
                    <a:pt x="2457" y="1193"/>
                  </a:lnTo>
                  <a:lnTo>
                    <a:pt x="2492" y="1192"/>
                  </a:lnTo>
                  <a:lnTo>
                    <a:pt x="2492" y="1192"/>
                  </a:lnTo>
                  <a:lnTo>
                    <a:pt x="2525" y="1193"/>
                  </a:lnTo>
                  <a:lnTo>
                    <a:pt x="2558" y="1194"/>
                  </a:lnTo>
                  <a:lnTo>
                    <a:pt x="2592" y="1197"/>
                  </a:lnTo>
                  <a:lnTo>
                    <a:pt x="2625" y="1200"/>
                  </a:lnTo>
                  <a:lnTo>
                    <a:pt x="2657" y="1204"/>
                  </a:lnTo>
                  <a:lnTo>
                    <a:pt x="2690" y="1208"/>
                  </a:lnTo>
                  <a:lnTo>
                    <a:pt x="2722" y="1214"/>
                  </a:lnTo>
                  <a:lnTo>
                    <a:pt x="2754" y="1220"/>
                  </a:lnTo>
                  <a:lnTo>
                    <a:pt x="2785" y="1227"/>
                  </a:lnTo>
                  <a:lnTo>
                    <a:pt x="2817" y="1235"/>
                  </a:lnTo>
                  <a:lnTo>
                    <a:pt x="2848" y="1243"/>
                  </a:lnTo>
                  <a:lnTo>
                    <a:pt x="2878" y="1252"/>
                  </a:lnTo>
                  <a:lnTo>
                    <a:pt x="2909" y="1262"/>
                  </a:lnTo>
                  <a:lnTo>
                    <a:pt x="2939" y="1273"/>
                  </a:lnTo>
                  <a:lnTo>
                    <a:pt x="2968" y="1285"/>
                  </a:lnTo>
                  <a:lnTo>
                    <a:pt x="2998" y="1297"/>
                  </a:lnTo>
                  <a:lnTo>
                    <a:pt x="3027" y="1309"/>
                  </a:lnTo>
                  <a:lnTo>
                    <a:pt x="3055" y="1323"/>
                  </a:lnTo>
                  <a:lnTo>
                    <a:pt x="3083" y="1337"/>
                  </a:lnTo>
                  <a:lnTo>
                    <a:pt x="3111" y="1352"/>
                  </a:lnTo>
                  <a:lnTo>
                    <a:pt x="3139" y="1367"/>
                  </a:lnTo>
                  <a:lnTo>
                    <a:pt x="3166" y="1383"/>
                  </a:lnTo>
                  <a:lnTo>
                    <a:pt x="3192" y="1400"/>
                  </a:lnTo>
                  <a:lnTo>
                    <a:pt x="3218" y="1418"/>
                  </a:lnTo>
                  <a:lnTo>
                    <a:pt x="3244" y="1435"/>
                  </a:lnTo>
                  <a:lnTo>
                    <a:pt x="3269" y="1454"/>
                  </a:lnTo>
                  <a:lnTo>
                    <a:pt x="3294" y="1473"/>
                  </a:lnTo>
                  <a:lnTo>
                    <a:pt x="3318" y="1493"/>
                  </a:lnTo>
                  <a:lnTo>
                    <a:pt x="3342" y="1513"/>
                  </a:lnTo>
                  <a:lnTo>
                    <a:pt x="3365" y="1534"/>
                  </a:lnTo>
                  <a:lnTo>
                    <a:pt x="3388" y="1555"/>
                  </a:lnTo>
                  <a:lnTo>
                    <a:pt x="3410" y="1577"/>
                  </a:lnTo>
                  <a:lnTo>
                    <a:pt x="3432" y="1600"/>
                  </a:lnTo>
                  <a:lnTo>
                    <a:pt x="3453" y="1623"/>
                  </a:lnTo>
                  <a:lnTo>
                    <a:pt x="3474" y="1646"/>
                  </a:lnTo>
                  <a:lnTo>
                    <a:pt x="3494" y="1670"/>
                  </a:lnTo>
                  <a:lnTo>
                    <a:pt x="3513" y="1694"/>
                  </a:lnTo>
                  <a:lnTo>
                    <a:pt x="3532" y="1719"/>
                  </a:lnTo>
                  <a:lnTo>
                    <a:pt x="3551" y="1745"/>
                  </a:lnTo>
                  <a:lnTo>
                    <a:pt x="3568" y="1770"/>
                  </a:lnTo>
                  <a:lnTo>
                    <a:pt x="3585" y="1797"/>
                  </a:lnTo>
                  <a:lnTo>
                    <a:pt x="3602" y="1823"/>
                  </a:lnTo>
                  <a:lnTo>
                    <a:pt x="3618" y="1850"/>
                  </a:lnTo>
                  <a:lnTo>
                    <a:pt x="3633" y="1878"/>
                  </a:lnTo>
                  <a:lnTo>
                    <a:pt x="3648" y="1906"/>
                  </a:lnTo>
                  <a:lnTo>
                    <a:pt x="3662" y="1934"/>
                  </a:lnTo>
                  <a:lnTo>
                    <a:pt x="3675" y="1963"/>
                  </a:lnTo>
                  <a:lnTo>
                    <a:pt x="3687" y="1992"/>
                  </a:lnTo>
                  <a:lnTo>
                    <a:pt x="3699" y="2021"/>
                  </a:lnTo>
                  <a:lnTo>
                    <a:pt x="3711" y="2051"/>
                  </a:lnTo>
                  <a:lnTo>
                    <a:pt x="3721" y="2081"/>
                  </a:lnTo>
                  <a:lnTo>
                    <a:pt x="3731" y="2112"/>
                  </a:lnTo>
                  <a:lnTo>
                    <a:pt x="3740" y="2142"/>
                  </a:lnTo>
                  <a:lnTo>
                    <a:pt x="3748" y="2173"/>
                  </a:lnTo>
                  <a:lnTo>
                    <a:pt x="3756" y="2205"/>
                  </a:lnTo>
                  <a:lnTo>
                    <a:pt x="3762" y="2236"/>
                  </a:lnTo>
                  <a:lnTo>
                    <a:pt x="3768" y="2268"/>
                  </a:lnTo>
                  <a:lnTo>
                    <a:pt x="3773" y="2301"/>
                  </a:lnTo>
                  <a:lnTo>
                    <a:pt x="3778" y="2333"/>
                  </a:lnTo>
                  <a:lnTo>
                    <a:pt x="3781" y="2366"/>
                  </a:lnTo>
                  <a:lnTo>
                    <a:pt x="3784" y="2399"/>
                  </a:lnTo>
                  <a:lnTo>
                    <a:pt x="3786" y="2432"/>
                  </a:lnTo>
                  <a:lnTo>
                    <a:pt x="3787" y="2466"/>
                  </a:lnTo>
                  <a:lnTo>
                    <a:pt x="3788" y="2500"/>
                  </a:lnTo>
                  <a:lnTo>
                    <a:pt x="3788" y="25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61" tIns="45731" rIns="91461" bIns="45731" numCol="1" anchor="t" anchorCtr="0" compatLnSpc="1">
              <a:prstTxWarp prst="textNoShape">
                <a:avLst/>
              </a:prstTxWarp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213" name="Gruppieren 8212">
            <a:extLst>
              <a:ext uri="{FF2B5EF4-FFF2-40B4-BE49-F238E27FC236}">
                <a16:creationId xmlns:a16="http://schemas.microsoft.com/office/drawing/2014/main" id="{A7BEE4E9-BEF0-49AA-8076-F4605E86F90F}"/>
              </a:ext>
            </a:extLst>
          </p:cNvPr>
          <p:cNvGrpSpPr/>
          <p:nvPr/>
        </p:nvGrpSpPr>
        <p:grpSpPr bwMode="gray">
          <a:xfrm>
            <a:off x="552754" y="3769051"/>
            <a:ext cx="5455913" cy="1865496"/>
            <a:chOff x="539750" y="3768179"/>
            <a:chExt cx="5454650" cy="1865064"/>
          </a:xfrm>
        </p:grpSpPr>
        <p:sp>
          <p:nvSpPr>
            <p:cNvPr id="170" name="TextBox 5">
              <a:extLst>
                <a:ext uri="{FF2B5EF4-FFF2-40B4-BE49-F238E27FC236}">
                  <a16:creationId xmlns:a16="http://schemas.microsoft.com/office/drawing/2014/main" id="{462D5AA6-4D64-455A-BC0D-B3735598AB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42131" y="3768179"/>
              <a:ext cx="5452269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57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58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144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143000" indent="-22860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371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1600"/>
                </a:spcBef>
                <a:buFontTx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583" fontAlgn="auto">
                <a:spcAft>
                  <a:spcPts val="0"/>
                </a:spcAft>
              </a:pPr>
              <a:r>
                <a:rPr lang="en-US" dirty="0">
                  <a:solidFill>
                    <a:srgbClr val="000000"/>
                  </a:solidFill>
                  <a:latin typeface="Calibri"/>
                </a:rPr>
                <a:t>Scanner Application </a:t>
              </a:r>
              <a:r>
                <a:rPr lang="en-US" dirty="0">
                  <a:solidFill>
                    <a:srgbClr val="000000"/>
                  </a:solidFill>
                  <a:latin typeface="Calibri"/>
                  <a:sym typeface="Wingdings" panose="05000000000000000000" pitchFamily="2" charset="2"/>
                </a:rPr>
                <a:t> more than 25000 systems</a:t>
              </a:r>
              <a:r>
                <a:rPr lang="en-US" dirty="0">
                  <a:solidFill>
                    <a:srgbClr val="000000"/>
                  </a:solidFill>
                  <a:latin typeface="Calibri"/>
                </a:rPr>
                <a:t> </a:t>
              </a:r>
              <a:br>
                <a:rPr lang="en-US" dirty="0">
                  <a:solidFill>
                    <a:srgbClr val="000000"/>
                  </a:solidFill>
                  <a:latin typeface="Calibri"/>
                </a:rPr>
              </a:br>
              <a:r>
                <a:rPr lang="en-US" b="0" dirty="0">
                  <a:solidFill>
                    <a:srgbClr val="000000"/>
                  </a:solidFill>
                  <a:latin typeface="Calibri"/>
                </a:rPr>
                <a:t>Heterogenous System/SW Deployment</a:t>
              </a:r>
            </a:p>
          </p:txBody>
        </p:sp>
        <p:grpSp>
          <p:nvGrpSpPr>
            <p:cNvPr id="8211" name="Gruppieren 8210">
              <a:extLst>
                <a:ext uri="{FF2B5EF4-FFF2-40B4-BE49-F238E27FC236}">
                  <a16:creationId xmlns:a16="http://schemas.microsoft.com/office/drawing/2014/main" id="{57DD76CF-1E5D-4A53-924C-2A98DEDB025B}"/>
                </a:ext>
              </a:extLst>
            </p:cNvPr>
            <p:cNvGrpSpPr/>
            <p:nvPr/>
          </p:nvGrpSpPr>
          <p:grpSpPr bwMode="gray">
            <a:xfrm>
              <a:off x="539750" y="4456087"/>
              <a:ext cx="4882861" cy="1177156"/>
              <a:chOff x="539750" y="4456087"/>
              <a:chExt cx="4882861" cy="1177156"/>
            </a:xfrm>
          </p:grpSpPr>
          <p:pic>
            <p:nvPicPr>
              <p:cNvPr id="222" name="Picture 2">
                <a:extLst>
                  <a:ext uri="{FF2B5EF4-FFF2-40B4-BE49-F238E27FC236}">
                    <a16:creationId xmlns:a16="http://schemas.microsoft.com/office/drawing/2014/main" id="{E1934575-1D7B-4F83-8DCD-9D7D43E760F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email"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backgroundRemoval t="0" b="100000" l="0" r="100000">
                            <a14:foregroundMark x1="38762" y1="61397" x2="51466" y2="60294"/>
                            <a14:foregroundMark x1="44300" y1="25000" x2="42671" y2="25000"/>
                            <a14:foregroundMark x1="5537" y1="35662" x2="5537" y2="87868"/>
                            <a14:foregroundMark x1="57329" y1="88235" x2="85342" y2="87132"/>
                            <a14:foregroundMark x1="35179" y1="88235" x2="20847" y2="87500"/>
                            <a14:foregroundMark x1="93485" y1="79779" x2="93485" y2="875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2647317" y="4456087"/>
                <a:ext cx="1326010" cy="1177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6" name="TextBox 39">
                <a:extLst>
                  <a:ext uri="{FF2B5EF4-FFF2-40B4-BE49-F238E27FC236}">
                    <a16:creationId xmlns:a16="http://schemas.microsoft.com/office/drawing/2014/main" id="{C2485431-514C-488E-9935-169ECB4A703B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539750" y="5262720"/>
                <a:ext cx="1203460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58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solidFill>
                      <a:srgbClr val="000000"/>
                    </a:solidFill>
                    <a:latin typeface="Calibri"/>
                    <a:ea typeface="+mn-ea"/>
                  </a:rPr>
                  <a:t>Application Package</a:t>
                </a:r>
              </a:p>
            </p:txBody>
          </p:sp>
          <p:grpSp>
            <p:nvGrpSpPr>
              <p:cNvPr id="282" name="Gruppieren 281">
                <a:extLst>
                  <a:ext uri="{FF2B5EF4-FFF2-40B4-BE49-F238E27FC236}">
                    <a16:creationId xmlns:a16="http://schemas.microsoft.com/office/drawing/2014/main" id="{256DE537-AD4F-4C0D-A518-84E9B4F90A0A}"/>
                  </a:ext>
                </a:extLst>
              </p:cNvPr>
              <p:cNvGrpSpPr/>
              <p:nvPr/>
            </p:nvGrpSpPr>
            <p:grpSpPr bwMode="gray">
              <a:xfrm>
                <a:off x="561363" y="4683965"/>
                <a:ext cx="1326304" cy="542755"/>
                <a:chOff x="561363" y="4683965"/>
                <a:chExt cx="1326304" cy="542755"/>
              </a:xfrm>
            </p:grpSpPr>
            <p:grpSp>
              <p:nvGrpSpPr>
                <p:cNvPr id="284" name="SAGD, Siemens, healthineers, evolve">
                  <a:extLst>
                    <a:ext uri="{FF2B5EF4-FFF2-40B4-BE49-F238E27FC236}">
                      <a16:creationId xmlns:a16="http://schemas.microsoft.com/office/drawing/2014/main" id="{03F69CCA-CF7B-47C8-AF43-89314E1904F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gray">
                <a:xfrm>
                  <a:off x="729778" y="4683965"/>
                  <a:ext cx="361963" cy="362730"/>
                  <a:chOff x="1188" y="1252"/>
                  <a:chExt cx="2268" cy="2268"/>
                </a:xfrm>
              </p:grpSpPr>
              <p:sp>
                <p:nvSpPr>
                  <p:cNvPr id="295" name="AutoShape 4">
                    <a:extLst>
                      <a:ext uri="{FF2B5EF4-FFF2-40B4-BE49-F238E27FC236}">
                        <a16:creationId xmlns:a16="http://schemas.microsoft.com/office/drawing/2014/main" id="{242FF069-05E9-43D5-9DB3-AAAD8D5EA76B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1188" y="1252"/>
                    <a:ext cx="2268" cy="226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  <p:sp>
                <p:nvSpPr>
                  <p:cNvPr id="296" name="Freeform 6">
                    <a:extLst>
                      <a:ext uri="{FF2B5EF4-FFF2-40B4-BE49-F238E27FC236}">
                        <a16:creationId xmlns:a16="http://schemas.microsoft.com/office/drawing/2014/main" id="{3318B2EB-FB38-4F65-A4A7-C21CFAB9631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88" y="1252"/>
                    <a:ext cx="2268" cy="2268"/>
                  </a:xfrm>
                  <a:custGeom>
                    <a:avLst/>
                    <a:gdLst/>
                    <a:ahLst/>
                    <a:cxnLst>
                      <a:cxn ang="0">
                        <a:pos x="11317" y="6179"/>
                      </a:cxn>
                      <a:cxn ang="0">
                        <a:pos x="11224" y="6813"/>
                      </a:cxn>
                      <a:cxn ang="0">
                        <a:pos x="11064" y="7423"/>
                      </a:cxn>
                      <a:cxn ang="0">
                        <a:pos x="10839" y="8004"/>
                      </a:cxn>
                      <a:cxn ang="0">
                        <a:pos x="10554" y="8552"/>
                      </a:cxn>
                      <a:cxn ang="0">
                        <a:pos x="10213" y="9063"/>
                      </a:cxn>
                      <a:cxn ang="0">
                        <a:pos x="9821" y="9533"/>
                      </a:cxn>
                      <a:cxn ang="0">
                        <a:pos x="9380" y="9958"/>
                      </a:cxn>
                      <a:cxn ang="0">
                        <a:pos x="8896" y="10333"/>
                      </a:cxn>
                      <a:cxn ang="0">
                        <a:pos x="8373" y="10656"/>
                      </a:cxn>
                      <a:cxn ang="0">
                        <a:pos x="7813" y="10921"/>
                      </a:cxn>
                      <a:cxn ang="0">
                        <a:pos x="7222" y="11125"/>
                      </a:cxn>
                      <a:cxn ang="0">
                        <a:pos x="6604" y="11264"/>
                      </a:cxn>
                      <a:cxn ang="0">
                        <a:pos x="5962" y="11333"/>
                      </a:cxn>
                      <a:cxn ang="0">
                        <a:pos x="5378" y="11333"/>
                      </a:cxn>
                      <a:cxn ang="0">
                        <a:pos x="4736" y="11264"/>
                      </a:cxn>
                      <a:cxn ang="0">
                        <a:pos x="4117" y="11125"/>
                      </a:cxn>
                      <a:cxn ang="0">
                        <a:pos x="3526" y="10921"/>
                      </a:cxn>
                      <a:cxn ang="0">
                        <a:pos x="2967" y="10656"/>
                      </a:cxn>
                      <a:cxn ang="0">
                        <a:pos x="2443" y="10333"/>
                      </a:cxn>
                      <a:cxn ang="0">
                        <a:pos x="1959" y="9958"/>
                      </a:cxn>
                      <a:cxn ang="0">
                        <a:pos x="1519" y="9533"/>
                      </a:cxn>
                      <a:cxn ang="0">
                        <a:pos x="1126" y="9063"/>
                      </a:cxn>
                      <a:cxn ang="0">
                        <a:pos x="785" y="8552"/>
                      </a:cxn>
                      <a:cxn ang="0">
                        <a:pos x="501" y="8004"/>
                      </a:cxn>
                      <a:cxn ang="0">
                        <a:pos x="276" y="7423"/>
                      </a:cxn>
                      <a:cxn ang="0">
                        <a:pos x="115" y="6813"/>
                      </a:cxn>
                      <a:cxn ang="0">
                        <a:pos x="22" y="6179"/>
                      </a:cxn>
                      <a:cxn ang="0">
                        <a:pos x="0" y="5596"/>
                      </a:cxn>
                      <a:cxn ang="0">
                        <a:pos x="45" y="4948"/>
                      </a:cxn>
                      <a:cxn ang="0">
                        <a:pos x="161" y="4321"/>
                      </a:cxn>
                      <a:cxn ang="0">
                        <a:pos x="344" y="3720"/>
                      </a:cxn>
                      <a:cxn ang="0">
                        <a:pos x="589" y="3150"/>
                      </a:cxn>
                      <a:cxn ang="0">
                        <a:pos x="893" y="2614"/>
                      </a:cxn>
                      <a:cxn ang="0">
                        <a:pos x="1251" y="2116"/>
                      </a:cxn>
                      <a:cxn ang="0">
                        <a:pos x="1660" y="1661"/>
                      </a:cxn>
                      <a:cxn ang="0">
                        <a:pos x="2116" y="1252"/>
                      </a:cxn>
                      <a:cxn ang="0">
                        <a:pos x="2613" y="893"/>
                      </a:cxn>
                      <a:cxn ang="0">
                        <a:pos x="3150" y="589"/>
                      </a:cxn>
                      <a:cxn ang="0">
                        <a:pos x="3720" y="344"/>
                      </a:cxn>
                      <a:cxn ang="0">
                        <a:pos x="4320" y="162"/>
                      </a:cxn>
                      <a:cxn ang="0">
                        <a:pos x="4947" y="46"/>
                      </a:cxn>
                      <a:cxn ang="0">
                        <a:pos x="5596" y="1"/>
                      </a:cxn>
                      <a:cxn ang="0">
                        <a:pos x="6178" y="23"/>
                      </a:cxn>
                      <a:cxn ang="0">
                        <a:pos x="6813" y="115"/>
                      </a:cxn>
                      <a:cxn ang="0">
                        <a:pos x="7423" y="276"/>
                      </a:cxn>
                      <a:cxn ang="0">
                        <a:pos x="8003" y="501"/>
                      </a:cxn>
                      <a:cxn ang="0">
                        <a:pos x="8551" y="786"/>
                      </a:cxn>
                      <a:cxn ang="0">
                        <a:pos x="9062" y="1126"/>
                      </a:cxn>
                      <a:cxn ang="0">
                        <a:pos x="9532" y="1519"/>
                      </a:cxn>
                      <a:cxn ang="0">
                        <a:pos x="9957" y="1959"/>
                      </a:cxn>
                      <a:cxn ang="0">
                        <a:pos x="10333" y="2443"/>
                      </a:cxn>
                      <a:cxn ang="0">
                        <a:pos x="10655" y="2967"/>
                      </a:cxn>
                      <a:cxn ang="0">
                        <a:pos x="10921" y="3527"/>
                      </a:cxn>
                      <a:cxn ang="0">
                        <a:pos x="11124" y="4118"/>
                      </a:cxn>
                      <a:cxn ang="0">
                        <a:pos x="11263" y="4736"/>
                      </a:cxn>
                      <a:cxn ang="0">
                        <a:pos x="11332" y="5378"/>
                      </a:cxn>
                    </a:cxnLst>
                    <a:rect l="0" t="0" r="r" b="b"/>
                    <a:pathLst>
                      <a:path w="11340" h="11340">
                        <a:moveTo>
                          <a:pt x="11340" y="5671"/>
                        </a:moveTo>
                        <a:lnTo>
                          <a:pt x="11340" y="5671"/>
                        </a:lnTo>
                        <a:lnTo>
                          <a:pt x="11339" y="5744"/>
                        </a:lnTo>
                        <a:lnTo>
                          <a:pt x="11338" y="5817"/>
                        </a:lnTo>
                        <a:lnTo>
                          <a:pt x="11335" y="5890"/>
                        </a:lnTo>
                        <a:lnTo>
                          <a:pt x="11332" y="5962"/>
                        </a:lnTo>
                        <a:lnTo>
                          <a:pt x="11328" y="6035"/>
                        </a:lnTo>
                        <a:lnTo>
                          <a:pt x="11323" y="6107"/>
                        </a:lnTo>
                        <a:lnTo>
                          <a:pt x="11317" y="6179"/>
                        </a:lnTo>
                        <a:lnTo>
                          <a:pt x="11310" y="6250"/>
                        </a:lnTo>
                        <a:lnTo>
                          <a:pt x="11303" y="6322"/>
                        </a:lnTo>
                        <a:lnTo>
                          <a:pt x="11294" y="6393"/>
                        </a:lnTo>
                        <a:lnTo>
                          <a:pt x="11285" y="6464"/>
                        </a:lnTo>
                        <a:lnTo>
                          <a:pt x="11274" y="6534"/>
                        </a:lnTo>
                        <a:lnTo>
                          <a:pt x="11263" y="6604"/>
                        </a:lnTo>
                        <a:lnTo>
                          <a:pt x="11251" y="6674"/>
                        </a:lnTo>
                        <a:lnTo>
                          <a:pt x="11238" y="6744"/>
                        </a:lnTo>
                        <a:lnTo>
                          <a:pt x="11224" y="6813"/>
                        </a:lnTo>
                        <a:lnTo>
                          <a:pt x="11210" y="6882"/>
                        </a:lnTo>
                        <a:lnTo>
                          <a:pt x="11194" y="6951"/>
                        </a:lnTo>
                        <a:lnTo>
                          <a:pt x="11178" y="7019"/>
                        </a:lnTo>
                        <a:lnTo>
                          <a:pt x="11161" y="7088"/>
                        </a:lnTo>
                        <a:lnTo>
                          <a:pt x="11143" y="7155"/>
                        </a:lnTo>
                        <a:lnTo>
                          <a:pt x="11124" y="7223"/>
                        </a:lnTo>
                        <a:lnTo>
                          <a:pt x="11105" y="7290"/>
                        </a:lnTo>
                        <a:lnTo>
                          <a:pt x="11085" y="7357"/>
                        </a:lnTo>
                        <a:lnTo>
                          <a:pt x="11064" y="7423"/>
                        </a:lnTo>
                        <a:lnTo>
                          <a:pt x="11042" y="7489"/>
                        </a:lnTo>
                        <a:lnTo>
                          <a:pt x="11019" y="7555"/>
                        </a:lnTo>
                        <a:lnTo>
                          <a:pt x="10996" y="7620"/>
                        </a:lnTo>
                        <a:lnTo>
                          <a:pt x="10971" y="7685"/>
                        </a:lnTo>
                        <a:lnTo>
                          <a:pt x="10946" y="7749"/>
                        </a:lnTo>
                        <a:lnTo>
                          <a:pt x="10921" y="7814"/>
                        </a:lnTo>
                        <a:lnTo>
                          <a:pt x="10894" y="7877"/>
                        </a:lnTo>
                        <a:lnTo>
                          <a:pt x="10867" y="7941"/>
                        </a:lnTo>
                        <a:lnTo>
                          <a:pt x="10839" y="8004"/>
                        </a:lnTo>
                        <a:lnTo>
                          <a:pt x="10810" y="8066"/>
                        </a:lnTo>
                        <a:lnTo>
                          <a:pt x="10780" y="8129"/>
                        </a:lnTo>
                        <a:lnTo>
                          <a:pt x="10750" y="8190"/>
                        </a:lnTo>
                        <a:lnTo>
                          <a:pt x="10719" y="8252"/>
                        </a:lnTo>
                        <a:lnTo>
                          <a:pt x="10688" y="8313"/>
                        </a:lnTo>
                        <a:lnTo>
                          <a:pt x="10655" y="8373"/>
                        </a:lnTo>
                        <a:lnTo>
                          <a:pt x="10622" y="8433"/>
                        </a:lnTo>
                        <a:lnTo>
                          <a:pt x="10588" y="8493"/>
                        </a:lnTo>
                        <a:lnTo>
                          <a:pt x="10554" y="8552"/>
                        </a:lnTo>
                        <a:lnTo>
                          <a:pt x="10519" y="8610"/>
                        </a:lnTo>
                        <a:lnTo>
                          <a:pt x="10483" y="8669"/>
                        </a:lnTo>
                        <a:lnTo>
                          <a:pt x="10446" y="8726"/>
                        </a:lnTo>
                        <a:lnTo>
                          <a:pt x="10409" y="8784"/>
                        </a:lnTo>
                        <a:lnTo>
                          <a:pt x="10371" y="8840"/>
                        </a:lnTo>
                        <a:lnTo>
                          <a:pt x="10333" y="8897"/>
                        </a:lnTo>
                        <a:lnTo>
                          <a:pt x="10294" y="8953"/>
                        </a:lnTo>
                        <a:lnTo>
                          <a:pt x="10254" y="9008"/>
                        </a:lnTo>
                        <a:lnTo>
                          <a:pt x="10213" y="9063"/>
                        </a:lnTo>
                        <a:lnTo>
                          <a:pt x="10172" y="9117"/>
                        </a:lnTo>
                        <a:lnTo>
                          <a:pt x="10130" y="9171"/>
                        </a:lnTo>
                        <a:lnTo>
                          <a:pt x="10088" y="9224"/>
                        </a:lnTo>
                        <a:lnTo>
                          <a:pt x="10045" y="9277"/>
                        </a:lnTo>
                        <a:lnTo>
                          <a:pt x="10001" y="9329"/>
                        </a:lnTo>
                        <a:lnTo>
                          <a:pt x="9957" y="9381"/>
                        </a:lnTo>
                        <a:lnTo>
                          <a:pt x="9912" y="9432"/>
                        </a:lnTo>
                        <a:lnTo>
                          <a:pt x="9867" y="9483"/>
                        </a:lnTo>
                        <a:lnTo>
                          <a:pt x="9821" y="9533"/>
                        </a:lnTo>
                        <a:lnTo>
                          <a:pt x="9774" y="9582"/>
                        </a:lnTo>
                        <a:lnTo>
                          <a:pt x="9727" y="9631"/>
                        </a:lnTo>
                        <a:lnTo>
                          <a:pt x="9679" y="9680"/>
                        </a:lnTo>
                        <a:lnTo>
                          <a:pt x="9631" y="9727"/>
                        </a:lnTo>
                        <a:lnTo>
                          <a:pt x="9582" y="9775"/>
                        </a:lnTo>
                        <a:lnTo>
                          <a:pt x="9532" y="9821"/>
                        </a:lnTo>
                        <a:lnTo>
                          <a:pt x="9482" y="9867"/>
                        </a:lnTo>
                        <a:lnTo>
                          <a:pt x="9432" y="9913"/>
                        </a:lnTo>
                        <a:lnTo>
                          <a:pt x="9380" y="9958"/>
                        </a:lnTo>
                        <a:lnTo>
                          <a:pt x="9329" y="10002"/>
                        </a:lnTo>
                        <a:lnTo>
                          <a:pt x="9277" y="10046"/>
                        </a:lnTo>
                        <a:lnTo>
                          <a:pt x="9224" y="10089"/>
                        </a:lnTo>
                        <a:lnTo>
                          <a:pt x="9170" y="10131"/>
                        </a:lnTo>
                        <a:lnTo>
                          <a:pt x="9117" y="10173"/>
                        </a:lnTo>
                        <a:lnTo>
                          <a:pt x="9062" y="10214"/>
                        </a:lnTo>
                        <a:lnTo>
                          <a:pt x="9008" y="10254"/>
                        </a:lnTo>
                        <a:lnTo>
                          <a:pt x="8952" y="10294"/>
                        </a:lnTo>
                        <a:lnTo>
                          <a:pt x="8896" y="10333"/>
                        </a:lnTo>
                        <a:lnTo>
                          <a:pt x="8840" y="10372"/>
                        </a:lnTo>
                        <a:lnTo>
                          <a:pt x="8783" y="10410"/>
                        </a:lnTo>
                        <a:lnTo>
                          <a:pt x="8726" y="10447"/>
                        </a:lnTo>
                        <a:lnTo>
                          <a:pt x="8668" y="10484"/>
                        </a:lnTo>
                        <a:lnTo>
                          <a:pt x="8610" y="10519"/>
                        </a:lnTo>
                        <a:lnTo>
                          <a:pt x="8551" y="10555"/>
                        </a:lnTo>
                        <a:lnTo>
                          <a:pt x="8492" y="10589"/>
                        </a:lnTo>
                        <a:lnTo>
                          <a:pt x="8433" y="10623"/>
                        </a:lnTo>
                        <a:lnTo>
                          <a:pt x="8373" y="10656"/>
                        </a:lnTo>
                        <a:lnTo>
                          <a:pt x="8312" y="10688"/>
                        </a:lnTo>
                        <a:lnTo>
                          <a:pt x="8251" y="10720"/>
                        </a:lnTo>
                        <a:lnTo>
                          <a:pt x="8190" y="10751"/>
                        </a:lnTo>
                        <a:lnTo>
                          <a:pt x="8128" y="10781"/>
                        </a:lnTo>
                        <a:lnTo>
                          <a:pt x="8066" y="10811"/>
                        </a:lnTo>
                        <a:lnTo>
                          <a:pt x="8003" y="10839"/>
                        </a:lnTo>
                        <a:lnTo>
                          <a:pt x="7940" y="10867"/>
                        </a:lnTo>
                        <a:lnTo>
                          <a:pt x="7877" y="10895"/>
                        </a:lnTo>
                        <a:lnTo>
                          <a:pt x="7813" y="10921"/>
                        </a:lnTo>
                        <a:lnTo>
                          <a:pt x="7749" y="10947"/>
                        </a:lnTo>
                        <a:lnTo>
                          <a:pt x="7685" y="10972"/>
                        </a:lnTo>
                        <a:lnTo>
                          <a:pt x="7620" y="10996"/>
                        </a:lnTo>
                        <a:lnTo>
                          <a:pt x="7554" y="11020"/>
                        </a:lnTo>
                        <a:lnTo>
                          <a:pt x="7489" y="11042"/>
                        </a:lnTo>
                        <a:lnTo>
                          <a:pt x="7423" y="11064"/>
                        </a:lnTo>
                        <a:lnTo>
                          <a:pt x="7356" y="11085"/>
                        </a:lnTo>
                        <a:lnTo>
                          <a:pt x="7289" y="11106"/>
                        </a:lnTo>
                        <a:lnTo>
                          <a:pt x="7222" y="11125"/>
                        </a:lnTo>
                        <a:lnTo>
                          <a:pt x="7155" y="11144"/>
                        </a:lnTo>
                        <a:lnTo>
                          <a:pt x="7087" y="11162"/>
                        </a:lnTo>
                        <a:lnTo>
                          <a:pt x="7019" y="11179"/>
                        </a:lnTo>
                        <a:lnTo>
                          <a:pt x="6951" y="11195"/>
                        </a:lnTo>
                        <a:lnTo>
                          <a:pt x="6882" y="11210"/>
                        </a:lnTo>
                        <a:lnTo>
                          <a:pt x="6813" y="11225"/>
                        </a:lnTo>
                        <a:lnTo>
                          <a:pt x="6744" y="11239"/>
                        </a:lnTo>
                        <a:lnTo>
                          <a:pt x="6674" y="11252"/>
                        </a:lnTo>
                        <a:lnTo>
                          <a:pt x="6604" y="11264"/>
                        </a:lnTo>
                        <a:lnTo>
                          <a:pt x="6534" y="11275"/>
                        </a:lnTo>
                        <a:lnTo>
                          <a:pt x="6463" y="11285"/>
                        </a:lnTo>
                        <a:lnTo>
                          <a:pt x="6392" y="11295"/>
                        </a:lnTo>
                        <a:lnTo>
                          <a:pt x="6321" y="11303"/>
                        </a:lnTo>
                        <a:lnTo>
                          <a:pt x="6250" y="11311"/>
                        </a:lnTo>
                        <a:lnTo>
                          <a:pt x="6178" y="11318"/>
                        </a:lnTo>
                        <a:lnTo>
                          <a:pt x="6107" y="11324"/>
                        </a:lnTo>
                        <a:lnTo>
                          <a:pt x="6034" y="11329"/>
                        </a:lnTo>
                        <a:lnTo>
                          <a:pt x="5962" y="11333"/>
                        </a:lnTo>
                        <a:lnTo>
                          <a:pt x="5890" y="11336"/>
                        </a:lnTo>
                        <a:lnTo>
                          <a:pt x="5817" y="11338"/>
                        </a:lnTo>
                        <a:lnTo>
                          <a:pt x="5744" y="11340"/>
                        </a:lnTo>
                        <a:lnTo>
                          <a:pt x="5669" y="11340"/>
                        </a:lnTo>
                        <a:lnTo>
                          <a:pt x="5669" y="11340"/>
                        </a:lnTo>
                        <a:lnTo>
                          <a:pt x="5596" y="11340"/>
                        </a:lnTo>
                        <a:lnTo>
                          <a:pt x="5523" y="11338"/>
                        </a:lnTo>
                        <a:lnTo>
                          <a:pt x="5450" y="11336"/>
                        </a:lnTo>
                        <a:lnTo>
                          <a:pt x="5378" y="11333"/>
                        </a:lnTo>
                        <a:lnTo>
                          <a:pt x="5305" y="11329"/>
                        </a:lnTo>
                        <a:lnTo>
                          <a:pt x="5233" y="11324"/>
                        </a:lnTo>
                        <a:lnTo>
                          <a:pt x="5161" y="11318"/>
                        </a:lnTo>
                        <a:lnTo>
                          <a:pt x="5090" y="11311"/>
                        </a:lnTo>
                        <a:lnTo>
                          <a:pt x="5018" y="11303"/>
                        </a:lnTo>
                        <a:lnTo>
                          <a:pt x="4947" y="11295"/>
                        </a:lnTo>
                        <a:lnTo>
                          <a:pt x="4876" y="11285"/>
                        </a:lnTo>
                        <a:lnTo>
                          <a:pt x="4806" y="11275"/>
                        </a:lnTo>
                        <a:lnTo>
                          <a:pt x="4736" y="11264"/>
                        </a:lnTo>
                        <a:lnTo>
                          <a:pt x="4666" y="11252"/>
                        </a:lnTo>
                        <a:lnTo>
                          <a:pt x="4596" y="11239"/>
                        </a:lnTo>
                        <a:lnTo>
                          <a:pt x="4527" y="11225"/>
                        </a:lnTo>
                        <a:lnTo>
                          <a:pt x="4458" y="11210"/>
                        </a:lnTo>
                        <a:lnTo>
                          <a:pt x="4389" y="11195"/>
                        </a:lnTo>
                        <a:lnTo>
                          <a:pt x="4320" y="11179"/>
                        </a:lnTo>
                        <a:lnTo>
                          <a:pt x="4252" y="11162"/>
                        </a:lnTo>
                        <a:lnTo>
                          <a:pt x="4185" y="11144"/>
                        </a:lnTo>
                        <a:lnTo>
                          <a:pt x="4117" y="11125"/>
                        </a:lnTo>
                        <a:lnTo>
                          <a:pt x="4050" y="11106"/>
                        </a:lnTo>
                        <a:lnTo>
                          <a:pt x="3983" y="11085"/>
                        </a:lnTo>
                        <a:lnTo>
                          <a:pt x="3917" y="11064"/>
                        </a:lnTo>
                        <a:lnTo>
                          <a:pt x="3851" y="11042"/>
                        </a:lnTo>
                        <a:lnTo>
                          <a:pt x="3785" y="11020"/>
                        </a:lnTo>
                        <a:lnTo>
                          <a:pt x="3720" y="10996"/>
                        </a:lnTo>
                        <a:lnTo>
                          <a:pt x="3655" y="10972"/>
                        </a:lnTo>
                        <a:lnTo>
                          <a:pt x="3590" y="10947"/>
                        </a:lnTo>
                        <a:lnTo>
                          <a:pt x="3526" y="10921"/>
                        </a:lnTo>
                        <a:lnTo>
                          <a:pt x="3462" y="10895"/>
                        </a:lnTo>
                        <a:lnTo>
                          <a:pt x="3399" y="10867"/>
                        </a:lnTo>
                        <a:lnTo>
                          <a:pt x="3336" y="10839"/>
                        </a:lnTo>
                        <a:lnTo>
                          <a:pt x="3273" y="10811"/>
                        </a:lnTo>
                        <a:lnTo>
                          <a:pt x="3211" y="10781"/>
                        </a:lnTo>
                        <a:lnTo>
                          <a:pt x="3150" y="10751"/>
                        </a:lnTo>
                        <a:lnTo>
                          <a:pt x="3088" y="10720"/>
                        </a:lnTo>
                        <a:lnTo>
                          <a:pt x="3027" y="10688"/>
                        </a:lnTo>
                        <a:lnTo>
                          <a:pt x="2967" y="10656"/>
                        </a:lnTo>
                        <a:lnTo>
                          <a:pt x="2907" y="10623"/>
                        </a:lnTo>
                        <a:lnTo>
                          <a:pt x="2847" y="10589"/>
                        </a:lnTo>
                        <a:lnTo>
                          <a:pt x="2788" y="10555"/>
                        </a:lnTo>
                        <a:lnTo>
                          <a:pt x="2729" y="10519"/>
                        </a:lnTo>
                        <a:lnTo>
                          <a:pt x="2671" y="10484"/>
                        </a:lnTo>
                        <a:lnTo>
                          <a:pt x="2613" y="10447"/>
                        </a:lnTo>
                        <a:lnTo>
                          <a:pt x="2556" y="10410"/>
                        </a:lnTo>
                        <a:lnTo>
                          <a:pt x="2499" y="10372"/>
                        </a:lnTo>
                        <a:lnTo>
                          <a:pt x="2443" y="10333"/>
                        </a:lnTo>
                        <a:lnTo>
                          <a:pt x="2387" y="10294"/>
                        </a:lnTo>
                        <a:lnTo>
                          <a:pt x="2332" y="10254"/>
                        </a:lnTo>
                        <a:lnTo>
                          <a:pt x="2277" y="10214"/>
                        </a:lnTo>
                        <a:lnTo>
                          <a:pt x="2223" y="10173"/>
                        </a:lnTo>
                        <a:lnTo>
                          <a:pt x="2169" y="10131"/>
                        </a:lnTo>
                        <a:lnTo>
                          <a:pt x="2116" y="10089"/>
                        </a:lnTo>
                        <a:lnTo>
                          <a:pt x="2063" y="10046"/>
                        </a:lnTo>
                        <a:lnTo>
                          <a:pt x="2011" y="10002"/>
                        </a:lnTo>
                        <a:lnTo>
                          <a:pt x="1959" y="9958"/>
                        </a:lnTo>
                        <a:lnTo>
                          <a:pt x="1908" y="9913"/>
                        </a:lnTo>
                        <a:lnTo>
                          <a:pt x="1857" y="9867"/>
                        </a:lnTo>
                        <a:lnTo>
                          <a:pt x="1807" y="9821"/>
                        </a:lnTo>
                        <a:lnTo>
                          <a:pt x="1758" y="9775"/>
                        </a:lnTo>
                        <a:lnTo>
                          <a:pt x="1709" y="9727"/>
                        </a:lnTo>
                        <a:lnTo>
                          <a:pt x="1660" y="9680"/>
                        </a:lnTo>
                        <a:lnTo>
                          <a:pt x="1613" y="9631"/>
                        </a:lnTo>
                        <a:lnTo>
                          <a:pt x="1565" y="9582"/>
                        </a:lnTo>
                        <a:lnTo>
                          <a:pt x="1519" y="9533"/>
                        </a:lnTo>
                        <a:lnTo>
                          <a:pt x="1473" y="9483"/>
                        </a:lnTo>
                        <a:lnTo>
                          <a:pt x="1427" y="9432"/>
                        </a:lnTo>
                        <a:lnTo>
                          <a:pt x="1382" y="9381"/>
                        </a:lnTo>
                        <a:lnTo>
                          <a:pt x="1338" y="9329"/>
                        </a:lnTo>
                        <a:lnTo>
                          <a:pt x="1294" y="9277"/>
                        </a:lnTo>
                        <a:lnTo>
                          <a:pt x="1251" y="9224"/>
                        </a:lnTo>
                        <a:lnTo>
                          <a:pt x="1209" y="9171"/>
                        </a:lnTo>
                        <a:lnTo>
                          <a:pt x="1167" y="9117"/>
                        </a:lnTo>
                        <a:lnTo>
                          <a:pt x="1126" y="9063"/>
                        </a:lnTo>
                        <a:lnTo>
                          <a:pt x="1086" y="9008"/>
                        </a:lnTo>
                        <a:lnTo>
                          <a:pt x="1046" y="8953"/>
                        </a:lnTo>
                        <a:lnTo>
                          <a:pt x="1007" y="8897"/>
                        </a:lnTo>
                        <a:lnTo>
                          <a:pt x="968" y="8840"/>
                        </a:lnTo>
                        <a:lnTo>
                          <a:pt x="930" y="8784"/>
                        </a:lnTo>
                        <a:lnTo>
                          <a:pt x="893" y="8726"/>
                        </a:lnTo>
                        <a:lnTo>
                          <a:pt x="856" y="8669"/>
                        </a:lnTo>
                        <a:lnTo>
                          <a:pt x="821" y="8610"/>
                        </a:lnTo>
                        <a:lnTo>
                          <a:pt x="785" y="8552"/>
                        </a:lnTo>
                        <a:lnTo>
                          <a:pt x="751" y="8493"/>
                        </a:lnTo>
                        <a:lnTo>
                          <a:pt x="717" y="8433"/>
                        </a:lnTo>
                        <a:lnTo>
                          <a:pt x="684" y="8373"/>
                        </a:lnTo>
                        <a:lnTo>
                          <a:pt x="652" y="8313"/>
                        </a:lnTo>
                        <a:lnTo>
                          <a:pt x="620" y="8252"/>
                        </a:lnTo>
                        <a:lnTo>
                          <a:pt x="589" y="8190"/>
                        </a:lnTo>
                        <a:lnTo>
                          <a:pt x="559" y="8129"/>
                        </a:lnTo>
                        <a:lnTo>
                          <a:pt x="529" y="8066"/>
                        </a:lnTo>
                        <a:lnTo>
                          <a:pt x="501" y="8004"/>
                        </a:lnTo>
                        <a:lnTo>
                          <a:pt x="473" y="7941"/>
                        </a:lnTo>
                        <a:lnTo>
                          <a:pt x="445" y="7877"/>
                        </a:lnTo>
                        <a:lnTo>
                          <a:pt x="419" y="7814"/>
                        </a:lnTo>
                        <a:lnTo>
                          <a:pt x="393" y="7749"/>
                        </a:lnTo>
                        <a:lnTo>
                          <a:pt x="368" y="7685"/>
                        </a:lnTo>
                        <a:lnTo>
                          <a:pt x="344" y="7620"/>
                        </a:lnTo>
                        <a:lnTo>
                          <a:pt x="320" y="7555"/>
                        </a:lnTo>
                        <a:lnTo>
                          <a:pt x="298" y="7489"/>
                        </a:lnTo>
                        <a:lnTo>
                          <a:pt x="276" y="7423"/>
                        </a:lnTo>
                        <a:lnTo>
                          <a:pt x="255" y="7357"/>
                        </a:lnTo>
                        <a:lnTo>
                          <a:pt x="234" y="7290"/>
                        </a:lnTo>
                        <a:lnTo>
                          <a:pt x="215" y="7223"/>
                        </a:lnTo>
                        <a:lnTo>
                          <a:pt x="196" y="7155"/>
                        </a:lnTo>
                        <a:lnTo>
                          <a:pt x="178" y="7088"/>
                        </a:lnTo>
                        <a:lnTo>
                          <a:pt x="161" y="7019"/>
                        </a:lnTo>
                        <a:lnTo>
                          <a:pt x="145" y="6951"/>
                        </a:lnTo>
                        <a:lnTo>
                          <a:pt x="130" y="6882"/>
                        </a:lnTo>
                        <a:lnTo>
                          <a:pt x="115" y="6813"/>
                        </a:lnTo>
                        <a:lnTo>
                          <a:pt x="101" y="6744"/>
                        </a:lnTo>
                        <a:lnTo>
                          <a:pt x="88" y="6674"/>
                        </a:lnTo>
                        <a:lnTo>
                          <a:pt x="76" y="6604"/>
                        </a:lnTo>
                        <a:lnTo>
                          <a:pt x="65" y="6534"/>
                        </a:lnTo>
                        <a:lnTo>
                          <a:pt x="55" y="6464"/>
                        </a:lnTo>
                        <a:lnTo>
                          <a:pt x="45" y="6393"/>
                        </a:lnTo>
                        <a:lnTo>
                          <a:pt x="37" y="6322"/>
                        </a:lnTo>
                        <a:lnTo>
                          <a:pt x="29" y="6250"/>
                        </a:lnTo>
                        <a:lnTo>
                          <a:pt x="22" y="6179"/>
                        </a:lnTo>
                        <a:lnTo>
                          <a:pt x="16" y="6107"/>
                        </a:lnTo>
                        <a:lnTo>
                          <a:pt x="11" y="6035"/>
                        </a:lnTo>
                        <a:lnTo>
                          <a:pt x="7" y="5962"/>
                        </a:lnTo>
                        <a:lnTo>
                          <a:pt x="4" y="5890"/>
                        </a:lnTo>
                        <a:lnTo>
                          <a:pt x="2" y="5817"/>
                        </a:lnTo>
                        <a:lnTo>
                          <a:pt x="0" y="5744"/>
                        </a:lnTo>
                        <a:lnTo>
                          <a:pt x="0" y="5671"/>
                        </a:lnTo>
                        <a:lnTo>
                          <a:pt x="0" y="5671"/>
                        </a:lnTo>
                        <a:lnTo>
                          <a:pt x="0" y="5596"/>
                        </a:lnTo>
                        <a:lnTo>
                          <a:pt x="2" y="5523"/>
                        </a:lnTo>
                        <a:lnTo>
                          <a:pt x="4" y="5451"/>
                        </a:lnTo>
                        <a:lnTo>
                          <a:pt x="7" y="5378"/>
                        </a:lnTo>
                        <a:lnTo>
                          <a:pt x="11" y="5306"/>
                        </a:lnTo>
                        <a:lnTo>
                          <a:pt x="16" y="5233"/>
                        </a:lnTo>
                        <a:lnTo>
                          <a:pt x="22" y="5162"/>
                        </a:lnTo>
                        <a:lnTo>
                          <a:pt x="29" y="5090"/>
                        </a:lnTo>
                        <a:lnTo>
                          <a:pt x="37" y="5019"/>
                        </a:lnTo>
                        <a:lnTo>
                          <a:pt x="45" y="4948"/>
                        </a:lnTo>
                        <a:lnTo>
                          <a:pt x="55" y="4877"/>
                        </a:lnTo>
                        <a:lnTo>
                          <a:pt x="65" y="4806"/>
                        </a:lnTo>
                        <a:lnTo>
                          <a:pt x="76" y="4736"/>
                        </a:lnTo>
                        <a:lnTo>
                          <a:pt x="88" y="4666"/>
                        </a:lnTo>
                        <a:lnTo>
                          <a:pt x="101" y="4596"/>
                        </a:lnTo>
                        <a:lnTo>
                          <a:pt x="115" y="4527"/>
                        </a:lnTo>
                        <a:lnTo>
                          <a:pt x="130" y="4458"/>
                        </a:lnTo>
                        <a:lnTo>
                          <a:pt x="145" y="4389"/>
                        </a:lnTo>
                        <a:lnTo>
                          <a:pt x="161" y="4321"/>
                        </a:lnTo>
                        <a:lnTo>
                          <a:pt x="178" y="4253"/>
                        </a:lnTo>
                        <a:lnTo>
                          <a:pt x="196" y="4185"/>
                        </a:lnTo>
                        <a:lnTo>
                          <a:pt x="215" y="4118"/>
                        </a:lnTo>
                        <a:lnTo>
                          <a:pt x="234" y="4050"/>
                        </a:lnTo>
                        <a:lnTo>
                          <a:pt x="255" y="3984"/>
                        </a:lnTo>
                        <a:lnTo>
                          <a:pt x="276" y="3917"/>
                        </a:lnTo>
                        <a:lnTo>
                          <a:pt x="298" y="3851"/>
                        </a:lnTo>
                        <a:lnTo>
                          <a:pt x="320" y="3786"/>
                        </a:lnTo>
                        <a:lnTo>
                          <a:pt x="344" y="3720"/>
                        </a:lnTo>
                        <a:lnTo>
                          <a:pt x="368" y="3655"/>
                        </a:lnTo>
                        <a:lnTo>
                          <a:pt x="393" y="3591"/>
                        </a:lnTo>
                        <a:lnTo>
                          <a:pt x="419" y="3527"/>
                        </a:lnTo>
                        <a:lnTo>
                          <a:pt x="445" y="3463"/>
                        </a:lnTo>
                        <a:lnTo>
                          <a:pt x="473" y="3399"/>
                        </a:lnTo>
                        <a:lnTo>
                          <a:pt x="501" y="3336"/>
                        </a:lnTo>
                        <a:lnTo>
                          <a:pt x="529" y="3274"/>
                        </a:lnTo>
                        <a:lnTo>
                          <a:pt x="559" y="3212"/>
                        </a:lnTo>
                        <a:lnTo>
                          <a:pt x="589" y="3150"/>
                        </a:lnTo>
                        <a:lnTo>
                          <a:pt x="620" y="3089"/>
                        </a:lnTo>
                        <a:lnTo>
                          <a:pt x="652" y="3028"/>
                        </a:lnTo>
                        <a:lnTo>
                          <a:pt x="684" y="2967"/>
                        </a:lnTo>
                        <a:lnTo>
                          <a:pt x="717" y="2907"/>
                        </a:lnTo>
                        <a:lnTo>
                          <a:pt x="751" y="2848"/>
                        </a:lnTo>
                        <a:lnTo>
                          <a:pt x="785" y="2788"/>
                        </a:lnTo>
                        <a:lnTo>
                          <a:pt x="821" y="2730"/>
                        </a:lnTo>
                        <a:lnTo>
                          <a:pt x="856" y="2672"/>
                        </a:lnTo>
                        <a:lnTo>
                          <a:pt x="893" y="2614"/>
                        </a:lnTo>
                        <a:lnTo>
                          <a:pt x="930" y="2557"/>
                        </a:lnTo>
                        <a:lnTo>
                          <a:pt x="968" y="2500"/>
                        </a:lnTo>
                        <a:lnTo>
                          <a:pt x="1007" y="2443"/>
                        </a:lnTo>
                        <a:lnTo>
                          <a:pt x="1046" y="2388"/>
                        </a:lnTo>
                        <a:lnTo>
                          <a:pt x="1086" y="2332"/>
                        </a:lnTo>
                        <a:lnTo>
                          <a:pt x="1126" y="2277"/>
                        </a:lnTo>
                        <a:lnTo>
                          <a:pt x="1167" y="2223"/>
                        </a:lnTo>
                        <a:lnTo>
                          <a:pt x="1209" y="2169"/>
                        </a:lnTo>
                        <a:lnTo>
                          <a:pt x="1251" y="2116"/>
                        </a:lnTo>
                        <a:lnTo>
                          <a:pt x="1294" y="2063"/>
                        </a:lnTo>
                        <a:lnTo>
                          <a:pt x="1338" y="2011"/>
                        </a:lnTo>
                        <a:lnTo>
                          <a:pt x="1382" y="1959"/>
                        </a:lnTo>
                        <a:lnTo>
                          <a:pt x="1427" y="1908"/>
                        </a:lnTo>
                        <a:lnTo>
                          <a:pt x="1473" y="1858"/>
                        </a:lnTo>
                        <a:lnTo>
                          <a:pt x="1519" y="1807"/>
                        </a:lnTo>
                        <a:lnTo>
                          <a:pt x="1565" y="1758"/>
                        </a:lnTo>
                        <a:lnTo>
                          <a:pt x="1613" y="1709"/>
                        </a:lnTo>
                        <a:lnTo>
                          <a:pt x="1660" y="1661"/>
                        </a:lnTo>
                        <a:lnTo>
                          <a:pt x="1709" y="1613"/>
                        </a:lnTo>
                        <a:lnTo>
                          <a:pt x="1758" y="1566"/>
                        </a:lnTo>
                        <a:lnTo>
                          <a:pt x="1807" y="1519"/>
                        </a:lnTo>
                        <a:lnTo>
                          <a:pt x="1857" y="1473"/>
                        </a:lnTo>
                        <a:lnTo>
                          <a:pt x="1908" y="1427"/>
                        </a:lnTo>
                        <a:lnTo>
                          <a:pt x="1959" y="1383"/>
                        </a:lnTo>
                        <a:lnTo>
                          <a:pt x="2011" y="1338"/>
                        </a:lnTo>
                        <a:lnTo>
                          <a:pt x="2063" y="1295"/>
                        </a:lnTo>
                        <a:lnTo>
                          <a:pt x="2116" y="1252"/>
                        </a:lnTo>
                        <a:lnTo>
                          <a:pt x="2169" y="1209"/>
                        </a:lnTo>
                        <a:lnTo>
                          <a:pt x="2223" y="1168"/>
                        </a:lnTo>
                        <a:lnTo>
                          <a:pt x="2277" y="1126"/>
                        </a:lnTo>
                        <a:lnTo>
                          <a:pt x="2332" y="1086"/>
                        </a:lnTo>
                        <a:lnTo>
                          <a:pt x="2387" y="1046"/>
                        </a:lnTo>
                        <a:lnTo>
                          <a:pt x="2443" y="1007"/>
                        </a:lnTo>
                        <a:lnTo>
                          <a:pt x="2499" y="968"/>
                        </a:lnTo>
                        <a:lnTo>
                          <a:pt x="2556" y="930"/>
                        </a:lnTo>
                        <a:lnTo>
                          <a:pt x="2613" y="893"/>
                        </a:lnTo>
                        <a:lnTo>
                          <a:pt x="2671" y="857"/>
                        </a:lnTo>
                        <a:lnTo>
                          <a:pt x="2729" y="821"/>
                        </a:lnTo>
                        <a:lnTo>
                          <a:pt x="2788" y="786"/>
                        </a:lnTo>
                        <a:lnTo>
                          <a:pt x="2847" y="751"/>
                        </a:lnTo>
                        <a:lnTo>
                          <a:pt x="2907" y="717"/>
                        </a:lnTo>
                        <a:lnTo>
                          <a:pt x="2967" y="684"/>
                        </a:lnTo>
                        <a:lnTo>
                          <a:pt x="3027" y="652"/>
                        </a:lnTo>
                        <a:lnTo>
                          <a:pt x="3088" y="620"/>
                        </a:lnTo>
                        <a:lnTo>
                          <a:pt x="3150" y="589"/>
                        </a:lnTo>
                        <a:lnTo>
                          <a:pt x="3211" y="559"/>
                        </a:lnTo>
                        <a:lnTo>
                          <a:pt x="3273" y="530"/>
                        </a:lnTo>
                        <a:lnTo>
                          <a:pt x="3336" y="501"/>
                        </a:lnTo>
                        <a:lnTo>
                          <a:pt x="3399" y="473"/>
                        </a:lnTo>
                        <a:lnTo>
                          <a:pt x="3462" y="446"/>
                        </a:lnTo>
                        <a:lnTo>
                          <a:pt x="3526" y="419"/>
                        </a:lnTo>
                        <a:lnTo>
                          <a:pt x="3590" y="393"/>
                        </a:lnTo>
                        <a:lnTo>
                          <a:pt x="3655" y="368"/>
                        </a:lnTo>
                        <a:lnTo>
                          <a:pt x="3720" y="344"/>
                        </a:lnTo>
                        <a:lnTo>
                          <a:pt x="3785" y="321"/>
                        </a:lnTo>
                        <a:lnTo>
                          <a:pt x="3851" y="298"/>
                        </a:lnTo>
                        <a:lnTo>
                          <a:pt x="3917" y="276"/>
                        </a:lnTo>
                        <a:lnTo>
                          <a:pt x="3983" y="255"/>
                        </a:lnTo>
                        <a:lnTo>
                          <a:pt x="4050" y="235"/>
                        </a:lnTo>
                        <a:lnTo>
                          <a:pt x="4117" y="215"/>
                        </a:lnTo>
                        <a:lnTo>
                          <a:pt x="4185" y="197"/>
                        </a:lnTo>
                        <a:lnTo>
                          <a:pt x="4252" y="179"/>
                        </a:lnTo>
                        <a:lnTo>
                          <a:pt x="4320" y="162"/>
                        </a:lnTo>
                        <a:lnTo>
                          <a:pt x="4389" y="145"/>
                        </a:lnTo>
                        <a:lnTo>
                          <a:pt x="4458" y="130"/>
                        </a:lnTo>
                        <a:lnTo>
                          <a:pt x="4527" y="115"/>
                        </a:lnTo>
                        <a:lnTo>
                          <a:pt x="4596" y="102"/>
                        </a:lnTo>
                        <a:lnTo>
                          <a:pt x="4666" y="89"/>
                        </a:lnTo>
                        <a:lnTo>
                          <a:pt x="4736" y="77"/>
                        </a:lnTo>
                        <a:lnTo>
                          <a:pt x="4806" y="65"/>
                        </a:lnTo>
                        <a:lnTo>
                          <a:pt x="4876" y="55"/>
                        </a:lnTo>
                        <a:lnTo>
                          <a:pt x="4947" y="46"/>
                        </a:lnTo>
                        <a:lnTo>
                          <a:pt x="5018" y="37"/>
                        </a:lnTo>
                        <a:lnTo>
                          <a:pt x="5090" y="29"/>
                        </a:lnTo>
                        <a:lnTo>
                          <a:pt x="5161" y="23"/>
                        </a:lnTo>
                        <a:lnTo>
                          <a:pt x="5233" y="17"/>
                        </a:lnTo>
                        <a:lnTo>
                          <a:pt x="5305" y="12"/>
                        </a:lnTo>
                        <a:lnTo>
                          <a:pt x="5378" y="8"/>
                        </a:lnTo>
                        <a:lnTo>
                          <a:pt x="5450" y="4"/>
                        </a:lnTo>
                        <a:lnTo>
                          <a:pt x="5523" y="2"/>
                        </a:lnTo>
                        <a:lnTo>
                          <a:pt x="5596" y="1"/>
                        </a:lnTo>
                        <a:lnTo>
                          <a:pt x="5669" y="0"/>
                        </a:lnTo>
                        <a:lnTo>
                          <a:pt x="5669" y="0"/>
                        </a:lnTo>
                        <a:lnTo>
                          <a:pt x="5744" y="1"/>
                        </a:lnTo>
                        <a:lnTo>
                          <a:pt x="5817" y="2"/>
                        </a:lnTo>
                        <a:lnTo>
                          <a:pt x="5890" y="4"/>
                        </a:lnTo>
                        <a:lnTo>
                          <a:pt x="5962" y="8"/>
                        </a:lnTo>
                        <a:lnTo>
                          <a:pt x="6034" y="12"/>
                        </a:lnTo>
                        <a:lnTo>
                          <a:pt x="6107" y="17"/>
                        </a:lnTo>
                        <a:lnTo>
                          <a:pt x="6178" y="23"/>
                        </a:lnTo>
                        <a:lnTo>
                          <a:pt x="6250" y="29"/>
                        </a:lnTo>
                        <a:lnTo>
                          <a:pt x="6321" y="37"/>
                        </a:lnTo>
                        <a:lnTo>
                          <a:pt x="6392" y="46"/>
                        </a:lnTo>
                        <a:lnTo>
                          <a:pt x="6463" y="55"/>
                        </a:lnTo>
                        <a:lnTo>
                          <a:pt x="6534" y="65"/>
                        </a:lnTo>
                        <a:lnTo>
                          <a:pt x="6604" y="77"/>
                        </a:lnTo>
                        <a:lnTo>
                          <a:pt x="6674" y="89"/>
                        </a:lnTo>
                        <a:lnTo>
                          <a:pt x="6744" y="102"/>
                        </a:lnTo>
                        <a:lnTo>
                          <a:pt x="6813" y="115"/>
                        </a:lnTo>
                        <a:lnTo>
                          <a:pt x="6882" y="130"/>
                        </a:lnTo>
                        <a:lnTo>
                          <a:pt x="6951" y="145"/>
                        </a:lnTo>
                        <a:lnTo>
                          <a:pt x="7019" y="162"/>
                        </a:lnTo>
                        <a:lnTo>
                          <a:pt x="7087" y="179"/>
                        </a:lnTo>
                        <a:lnTo>
                          <a:pt x="7155" y="197"/>
                        </a:lnTo>
                        <a:lnTo>
                          <a:pt x="7222" y="215"/>
                        </a:lnTo>
                        <a:lnTo>
                          <a:pt x="7289" y="235"/>
                        </a:lnTo>
                        <a:lnTo>
                          <a:pt x="7356" y="255"/>
                        </a:lnTo>
                        <a:lnTo>
                          <a:pt x="7423" y="276"/>
                        </a:lnTo>
                        <a:lnTo>
                          <a:pt x="7489" y="298"/>
                        </a:lnTo>
                        <a:lnTo>
                          <a:pt x="7554" y="321"/>
                        </a:lnTo>
                        <a:lnTo>
                          <a:pt x="7620" y="344"/>
                        </a:lnTo>
                        <a:lnTo>
                          <a:pt x="7685" y="368"/>
                        </a:lnTo>
                        <a:lnTo>
                          <a:pt x="7749" y="393"/>
                        </a:lnTo>
                        <a:lnTo>
                          <a:pt x="7813" y="419"/>
                        </a:lnTo>
                        <a:lnTo>
                          <a:pt x="7877" y="446"/>
                        </a:lnTo>
                        <a:lnTo>
                          <a:pt x="7940" y="473"/>
                        </a:lnTo>
                        <a:lnTo>
                          <a:pt x="8003" y="501"/>
                        </a:lnTo>
                        <a:lnTo>
                          <a:pt x="8066" y="530"/>
                        </a:lnTo>
                        <a:lnTo>
                          <a:pt x="8128" y="559"/>
                        </a:lnTo>
                        <a:lnTo>
                          <a:pt x="8190" y="589"/>
                        </a:lnTo>
                        <a:lnTo>
                          <a:pt x="8251" y="620"/>
                        </a:lnTo>
                        <a:lnTo>
                          <a:pt x="8312" y="652"/>
                        </a:lnTo>
                        <a:lnTo>
                          <a:pt x="8373" y="684"/>
                        </a:lnTo>
                        <a:lnTo>
                          <a:pt x="8433" y="717"/>
                        </a:lnTo>
                        <a:lnTo>
                          <a:pt x="8492" y="751"/>
                        </a:lnTo>
                        <a:lnTo>
                          <a:pt x="8551" y="786"/>
                        </a:lnTo>
                        <a:lnTo>
                          <a:pt x="8610" y="821"/>
                        </a:lnTo>
                        <a:lnTo>
                          <a:pt x="8668" y="857"/>
                        </a:lnTo>
                        <a:lnTo>
                          <a:pt x="8726" y="893"/>
                        </a:lnTo>
                        <a:lnTo>
                          <a:pt x="8783" y="930"/>
                        </a:lnTo>
                        <a:lnTo>
                          <a:pt x="8840" y="968"/>
                        </a:lnTo>
                        <a:lnTo>
                          <a:pt x="8896" y="1007"/>
                        </a:lnTo>
                        <a:lnTo>
                          <a:pt x="8952" y="1046"/>
                        </a:lnTo>
                        <a:lnTo>
                          <a:pt x="9008" y="1086"/>
                        </a:lnTo>
                        <a:lnTo>
                          <a:pt x="9062" y="1126"/>
                        </a:lnTo>
                        <a:lnTo>
                          <a:pt x="9117" y="1168"/>
                        </a:lnTo>
                        <a:lnTo>
                          <a:pt x="9170" y="1209"/>
                        </a:lnTo>
                        <a:lnTo>
                          <a:pt x="9224" y="1252"/>
                        </a:lnTo>
                        <a:lnTo>
                          <a:pt x="9277" y="1295"/>
                        </a:lnTo>
                        <a:lnTo>
                          <a:pt x="9329" y="1338"/>
                        </a:lnTo>
                        <a:lnTo>
                          <a:pt x="9380" y="1383"/>
                        </a:lnTo>
                        <a:lnTo>
                          <a:pt x="9432" y="1427"/>
                        </a:lnTo>
                        <a:lnTo>
                          <a:pt x="9482" y="1473"/>
                        </a:lnTo>
                        <a:lnTo>
                          <a:pt x="9532" y="1519"/>
                        </a:lnTo>
                        <a:lnTo>
                          <a:pt x="9582" y="1566"/>
                        </a:lnTo>
                        <a:lnTo>
                          <a:pt x="9631" y="1613"/>
                        </a:lnTo>
                        <a:lnTo>
                          <a:pt x="9679" y="1661"/>
                        </a:lnTo>
                        <a:lnTo>
                          <a:pt x="9727" y="1709"/>
                        </a:lnTo>
                        <a:lnTo>
                          <a:pt x="9774" y="1758"/>
                        </a:lnTo>
                        <a:lnTo>
                          <a:pt x="9821" y="1807"/>
                        </a:lnTo>
                        <a:lnTo>
                          <a:pt x="9867" y="1858"/>
                        </a:lnTo>
                        <a:lnTo>
                          <a:pt x="9912" y="1908"/>
                        </a:lnTo>
                        <a:lnTo>
                          <a:pt x="9957" y="1959"/>
                        </a:lnTo>
                        <a:lnTo>
                          <a:pt x="10001" y="2011"/>
                        </a:lnTo>
                        <a:lnTo>
                          <a:pt x="10045" y="2063"/>
                        </a:lnTo>
                        <a:lnTo>
                          <a:pt x="10088" y="2116"/>
                        </a:lnTo>
                        <a:lnTo>
                          <a:pt x="10130" y="2169"/>
                        </a:lnTo>
                        <a:lnTo>
                          <a:pt x="10172" y="2223"/>
                        </a:lnTo>
                        <a:lnTo>
                          <a:pt x="10213" y="2277"/>
                        </a:lnTo>
                        <a:lnTo>
                          <a:pt x="10254" y="2332"/>
                        </a:lnTo>
                        <a:lnTo>
                          <a:pt x="10294" y="2388"/>
                        </a:lnTo>
                        <a:lnTo>
                          <a:pt x="10333" y="2443"/>
                        </a:lnTo>
                        <a:lnTo>
                          <a:pt x="10371" y="2500"/>
                        </a:lnTo>
                        <a:lnTo>
                          <a:pt x="10409" y="2557"/>
                        </a:lnTo>
                        <a:lnTo>
                          <a:pt x="10446" y="2614"/>
                        </a:lnTo>
                        <a:lnTo>
                          <a:pt x="10483" y="2672"/>
                        </a:lnTo>
                        <a:lnTo>
                          <a:pt x="10519" y="2730"/>
                        </a:lnTo>
                        <a:lnTo>
                          <a:pt x="10554" y="2788"/>
                        </a:lnTo>
                        <a:lnTo>
                          <a:pt x="10588" y="2848"/>
                        </a:lnTo>
                        <a:lnTo>
                          <a:pt x="10622" y="2907"/>
                        </a:lnTo>
                        <a:lnTo>
                          <a:pt x="10655" y="2967"/>
                        </a:lnTo>
                        <a:lnTo>
                          <a:pt x="10688" y="3028"/>
                        </a:lnTo>
                        <a:lnTo>
                          <a:pt x="10719" y="3089"/>
                        </a:lnTo>
                        <a:lnTo>
                          <a:pt x="10750" y="3150"/>
                        </a:lnTo>
                        <a:lnTo>
                          <a:pt x="10780" y="3212"/>
                        </a:lnTo>
                        <a:lnTo>
                          <a:pt x="10810" y="3274"/>
                        </a:lnTo>
                        <a:lnTo>
                          <a:pt x="10839" y="3336"/>
                        </a:lnTo>
                        <a:lnTo>
                          <a:pt x="10867" y="3399"/>
                        </a:lnTo>
                        <a:lnTo>
                          <a:pt x="10894" y="3463"/>
                        </a:lnTo>
                        <a:lnTo>
                          <a:pt x="10921" y="3527"/>
                        </a:lnTo>
                        <a:lnTo>
                          <a:pt x="10946" y="3591"/>
                        </a:lnTo>
                        <a:lnTo>
                          <a:pt x="10971" y="3655"/>
                        </a:lnTo>
                        <a:lnTo>
                          <a:pt x="10996" y="3720"/>
                        </a:lnTo>
                        <a:lnTo>
                          <a:pt x="11019" y="3786"/>
                        </a:lnTo>
                        <a:lnTo>
                          <a:pt x="11042" y="3851"/>
                        </a:lnTo>
                        <a:lnTo>
                          <a:pt x="11064" y="3917"/>
                        </a:lnTo>
                        <a:lnTo>
                          <a:pt x="11085" y="3984"/>
                        </a:lnTo>
                        <a:lnTo>
                          <a:pt x="11105" y="4050"/>
                        </a:lnTo>
                        <a:lnTo>
                          <a:pt x="11124" y="4118"/>
                        </a:lnTo>
                        <a:lnTo>
                          <a:pt x="11143" y="4185"/>
                        </a:lnTo>
                        <a:lnTo>
                          <a:pt x="11161" y="4253"/>
                        </a:lnTo>
                        <a:lnTo>
                          <a:pt x="11178" y="4321"/>
                        </a:lnTo>
                        <a:lnTo>
                          <a:pt x="11194" y="4389"/>
                        </a:lnTo>
                        <a:lnTo>
                          <a:pt x="11210" y="4458"/>
                        </a:lnTo>
                        <a:lnTo>
                          <a:pt x="11224" y="4527"/>
                        </a:lnTo>
                        <a:lnTo>
                          <a:pt x="11238" y="4596"/>
                        </a:lnTo>
                        <a:lnTo>
                          <a:pt x="11251" y="4666"/>
                        </a:lnTo>
                        <a:lnTo>
                          <a:pt x="11263" y="4736"/>
                        </a:lnTo>
                        <a:lnTo>
                          <a:pt x="11274" y="4806"/>
                        </a:lnTo>
                        <a:lnTo>
                          <a:pt x="11285" y="4877"/>
                        </a:lnTo>
                        <a:lnTo>
                          <a:pt x="11294" y="4948"/>
                        </a:lnTo>
                        <a:lnTo>
                          <a:pt x="11303" y="5019"/>
                        </a:lnTo>
                        <a:lnTo>
                          <a:pt x="11310" y="5090"/>
                        </a:lnTo>
                        <a:lnTo>
                          <a:pt x="11317" y="5162"/>
                        </a:lnTo>
                        <a:lnTo>
                          <a:pt x="11323" y="5233"/>
                        </a:lnTo>
                        <a:lnTo>
                          <a:pt x="11328" y="5306"/>
                        </a:lnTo>
                        <a:lnTo>
                          <a:pt x="11332" y="5378"/>
                        </a:lnTo>
                        <a:lnTo>
                          <a:pt x="11335" y="5451"/>
                        </a:lnTo>
                        <a:lnTo>
                          <a:pt x="11338" y="5523"/>
                        </a:lnTo>
                        <a:lnTo>
                          <a:pt x="11339" y="5596"/>
                        </a:lnTo>
                        <a:lnTo>
                          <a:pt x="11340" y="5671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  <p:sp>
                <p:nvSpPr>
                  <p:cNvPr id="297" name="Freeform 7">
                    <a:extLst>
                      <a:ext uri="{FF2B5EF4-FFF2-40B4-BE49-F238E27FC236}">
                        <a16:creationId xmlns:a16="http://schemas.microsoft.com/office/drawing/2014/main" id="{257428A5-920E-432C-B523-E8610F9CB4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88" y="1252"/>
                    <a:ext cx="2268" cy="2268"/>
                  </a:xfrm>
                  <a:custGeom>
                    <a:avLst/>
                    <a:gdLst/>
                    <a:ahLst/>
                    <a:cxnLst>
                      <a:cxn ang="0">
                        <a:pos x="11317" y="6179"/>
                      </a:cxn>
                      <a:cxn ang="0">
                        <a:pos x="11224" y="6813"/>
                      </a:cxn>
                      <a:cxn ang="0">
                        <a:pos x="11064" y="7423"/>
                      </a:cxn>
                      <a:cxn ang="0">
                        <a:pos x="10839" y="8004"/>
                      </a:cxn>
                      <a:cxn ang="0">
                        <a:pos x="10554" y="8552"/>
                      </a:cxn>
                      <a:cxn ang="0">
                        <a:pos x="10213" y="9063"/>
                      </a:cxn>
                      <a:cxn ang="0">
                        <a:pos x="9821" y="9533"/>
                      </a:cxn>
                      <a:cxn ang="0">
                        <a:pos x="9380" y="9958"/>
                      </a:cxn>
                      <a:cxn ang="0">
                        <a:pos x="8896" y="10333"/>
                      </a:cxn>
                      <a:cxn ang="0">
                        <a:pos x="8373" y="10656"/>
                      </a:cxn>
                      <a:cxn ang="0">
                        <a:pos x="7813" y="10921"/>
                      </a:cxn>
                      <a:cxn ang="0">
                        <a:pos x="7222" y="11125"/>
                      </a:cxn>
                      <a:cxn ang="0">
                        <a:pos x="6604" y="11264"/>
                      </a:cxn>
                      <a:cxn ang="0">
                        <a:pos x="5962" y="11333"/>
                      </a:cxn>
                      <a:cxn ang="0">
                        <a:pos x="5378" y="11333"/>
                      </a:cxn>
                      <a:cxn ang="0">
                        <a:pos x="4736" y="11264"/>
                      </a:cxn>
                      <a:cxn ang="0">
                        <a:pos x="4117" y="11125"/>
                      </a:cxn>
                      <a:cxn ang="0">
                        <a:pos x="3526" y="10921"/>
                      </a:cxn>
                      <a:cxn ang="0">
                        <a:pos x="2967" y="10656"/>
                      </a:cxn>
                      <a:cxn ang="0">
                        <a:pos x="2443" y="10333"/>
                      </a:cxn>
                      <a:cxn ang="0">
                        <a:pos x="1959" y="9958"/>
                      </a:cxn>
                      <a:cxn ang="0">
                        <a:pos x="1519" y="9533"/>
                      </a:cxn>
                      <a:cxn ang="0">
                        <a:pos x="1126" y="9063"/>
                      </a:cxn>
                      <a:cxn ang="0">
                        <a:pos x="785" y="8552"/>
                      </a:cxn>
                      <a:cxn ang="0">
                        <a:pos x="501" y="8004"/>
                      </a:cxn>
                      <a:cxn ang="0">
                        <a:pos x="276" y="7423"/>
                      </a:cxn>
                      <a:cxn ang="0">
                        <a:pos x="115" y="6813"/>
                      </a:cxn>
                      <a:cxn ang="0">
                        <a:pos x="22" y="6179"/>
                      </a:cxn>
                      <a:cxn ang="0">
                        <a:pos x="0" y="5596"/>
                      </a:cxn>
                      <a:cxn ang="0">
                        <a:pos x="45" y="4948"/>
                      </a:cxn>
                      <a:cxn ang="0">
                        <a:pos x="161" y="4321"/>
                      </a:cxn>
                      <a:cxn ang="0">
                        <a:pos x="344" y="3720"/>
                      </a:cxn>
                      <a:cxn ang="0">
                        <a:pos x="589" y="3150"/>
                      </a:cxn>
                      <a:cxn ang="0">
                        <a:pos x="893" y="2614"/>
                      </a:cxn>
                      <a:cxn ang="0">
                        <a:pos x="1251" y="2116"/>
                      </a:cxn>
                      <a:cxn ang="0">
                        <a:pos x="1660" y="1661"/>
                      </a:cxn>
                      <a:cxn ang="0">
                        <a:pos x="2116" y="1252"/>
                      </a:cxn>
                      <a:cxn ang="0">
                        <a:pos x="2613" y="893"/>
                      </a:cxn>
                      <a:cxn ang="0">
                        <a:pos x="3150" y="589"/>
                      </a:cxn>
                      <a:cxn ang="0">
                        <a:pos x="3720" y="344"/>
                      </a:cxn>
                      <a:cxn ang="0">
                        <a:pos x="4320" y="162"/>
                      </a:cxn>
                      <a:cxn ang="0">
                        <a:pos x="4947" y="46"/>
                      </a:cxn>
                      <a:cxn ang="0">
                        <a:pos x="5596" y="1"/>
                      </a:cxn>
                      <a:cxn ang="0">
                        <a:pos x="6178" y="23"/>
                      </a:cxn>
                      <a:cxn ang="0">
                        <a:pos x="6813" y="115"/>
                      </a:cxn>
                      <a:cxn ang="0">
                        <a:pos x="7423" y="276"/>
                      </a:cxn>
                      <a:cxn ang="0">
                        <a:pos x="8003" y="501"/>
                      </a:cxn>
                      <a:cxn ang="0">
                        <a:pos x="8551" y="786"/>
                      </a:cxn>
                      <a:cxn ang="0">
                        <a:pos x="9062" y="1126"/>
                      </a:cxn>
                      <a:cxn ang="0">
                        <a:pos x="9532" y="1519"/>
                      </a:cxn>
                      <a:cxn ang="0">
                        <a:pos x="9957" y="1959"/>
                      </a:cxn>
                      <a:cxn ang="0">
                        <a:pos x="10333" y="2443"/>
                      </a:cxn>
                      <a:cxn ang="0">
                        <a:pos x="10655" y="2967"/>
                      </a:cxn>
                      <a:cxn ang="0">
                        <a:pos x="10921" y="3527"/>
                      </a:cxn>
                      <a:cxn ang="0">
                        <a:pos x="11124" y="4118"/>
                      </a:cxn>
                      <a:cxn ang="0">
                        <a:pos x="11263" y="4736"/>
                      </a:cxn>
                      <a:cxn ang="0">
                        <a:pos x="11332" y="5378"/>
                      </a:cxn>
                    </a:cxnLst>
                    <a:rect l="0" t="0" r="r" b="b"/>
                    <a:pathLst>
                      <a:path w="11340" h="11340">
                        <a:moveTo>
                          <a:pt x="11340" y="5671"/>
                        </a:moveTo>
                        <a:lnTo>
                          <a:pt x="11340" y="5671"/>
                        </a:lnTo>
                        <a:lnTo>
                          <a:pt x="11339" y="5744"/>
                        </a:lnTo>
                        <a:lnTo>
                          <a:pt x="11338" y="5817"/>
                        </a:lnTo>
                        <a:lnTo>
                          <a:pt x="11335" y="5890"/>
                        </a:lnTo>
                        <a:lnTo>
                          <a:pt x="11332" y="5962"/>
                        </a:lnTo>
                        <a:lnTo>
                          <a:pt x="11328" y="6035"/>
                        </a:lnTo>
                        <a:lnTo>
                          <a:pt x="11323" y="6107"/>
                        </a:lnTo>
                        <a:lnTo>
                          <a:pt x="11317" y="6179"/>
                        </a:lnTo>
                        <a:lnTo>
                          <a:pt x="11310" y="6250"/>
                        </a:lnTo>
                        <a:lnTo>
                          <a:pt x="11303" y="6322"/>
                        </a:lnTo>
                        <a:lnTo>
                          <a:pt x="11294" y="6393"/>
                        </a:lnTo>
                        <a:lnTo>
                          <a:pt x="11285" y="6464"/>
                        </a:lnTo>
                        <a:lnTo>
                          <a:pt x="11274" y="6534"/>
                        </a:lnTo>
                        <a:lnTo>
                          <a:pt x="11263" y="6604"/>
                        </a:lnTo>
                        <a:lnTo>
                          <a:pt x="11251" y="6674"/>
                        </a:lnTo>
                        <a:lnTo>
                          <a:pt x="11238" y="6744"/>
                        </a:lnTo>
                        <a:lnTo>
                          <a:pt x="11224" y="6813"/>
                        </a:lnTo>
                        <a:lnTo>
                          <a:pt x="11210" y="6882"/>
                        </a:lnTo>
                        <a:lnTo>
                          <a:pt x="11194" y="6951"/>
                        </a:lnTo>
                        <a:lnTo>
                          <a:pt x="11178" y="7019"/>
                        </a:lnTo>
                        <a:lnTo>
                          <a:pt x="11161" y="7088"/>
                        </a:lnTo>
                        <a:lnTo>
                          <a:pt x="11143" y="7155"/>
                        </a:lnTo>
                        <a:lnTo>
                          <a:pt x="11124" y="7223"/>
                        </a:lnTo>
                        <a:lnTo>
                          <a:pt x="11105" y="7290"/>
                        </a:lnTo>
                        <a:lnTo>
                          <a:pt x="11085" y="7357"/>
                        </a:lnTo>
                        <a:lnTo>
                          <a:pt x="11064" y="7423"/>
                        </a:lnTo>
                        <a:lnTo>
                          <a:pt x="11042" y="7489"/>
                        </a:lnTo>
                        <a:lnTo>
                          <a:pt x="11019" y="7555"/>
                        </a:lnTo>
                        <a:lnTo>
                          <a:pt x="10996" y="7620"/>
                        </a:lnTo>
                        <a:lnTo>
                          <a:pt x="10971" y="7685"/>
                        </a:lnTo>
                        <a:lnTo>
                          <a:pt x="10946" y="7749"/>
                        </a:lnTo>
                        <a:lnTo>
                          <a:pt x="10921" y="7814"/>
                        </a:lnTo>
                        <a:lnTo>
                          <a:pt x="10894" y="7877"/>
                        </a:lnTo>
                        <a:lnTo>
                          <a:pt x="10867" y="7941"/>
                        </a:lnTo>
                        <a:lnTo>
                          <a:pt x="10839" y="8004"/>
                        </a:lnTo>
                        <a:lnTo>
                          <a:pt x="10810" y="8066"/>
                        </a:lnTo>
                        <a:lnTo>
                          <a:pt x="10780" y="8129"/>
                        </a:lnTo>
                        <a:lnTo>
                          <a:pt x="10750" y="8190"/>
                        </a:lnTo>
                        <a:lnTo>
                          <a:pt x="10719" y="8252"/>
                        </a:lnTo>
                        <a:lnTo>
                          <a:pt x="10688" y="8313"/>
                        </a:lnTo>
                        <a:lnTo>
                          <a:pt x="10655" y="8373"/>
                        </a:lnTo>
                        <a:lnTo>
                          <a:pt x="10622" y="8433"/>
                        </a:lnTo>
                        <a:lnTo>
                          <a:pt x="10588" y="8493"/>
                        </a:lnTo>
                        <a:lnTo>
                          <a:pt x="10554" y="8552"/>
                        </a:lnTo>
                        <a:lnTo>
                          <a:pt x="10519" y="8610"/>
                        </a:lnTo>
                        <a:lnTo>
                          <a:pt x="10483" y="8669"/>
                        </a:lnTo>
                        <a:lnTo>
                          <a:pt x="10446" y="8726"/>
                        </a:lnTo>
                        <a:lnTo>
                          <a:pt x="10409" y="8784"/>
                        </a:lnTo>
                        <a:lnTo>
                          <a:pt x="10371" y="8840"/>
                        </a:lnTo>
                        <a:lnTo>
                          <a:pt x="10333" y="8897"/>
                        </a:lnTo>
                        <a:lnTo>
                          <a:pt x="10294" y="8953"/>
                        </a:lnTo>
                        <a:lnTo>
                          <a:pt x="10254" y="9008"/>
                        </a:lnTo>
                        <a:lnTo>
                          <a:pt x="10213" y="9063"/>
                        </a:lnTo>
                        <a:lnTo>
                          <a:pt x="10172" y="9117"/>
                        </a:lnTo>
                        <a:lnTo>
                          <a:pt x="10130" y="9171"/>
                        </a:lnTo>
                        <a:lnTo>
                          <a:pt x="10088" y="9224"/>
                        </a:lnTo>
                        <a:lnTo>
                          <a:pt x="10045" y="9277"/>
                        </a:lnTo>
                        <a:lnTo>
                          <a:pt x="10001" y="9329"/>
                        </a:lnTo>
                        <a:lnTo>
                          <a:pt x="9957" y="9381"/>
                        </a:lnTo>
                        <a:lnTo>
                          <a:pt x="9912" y="9432"/>
                        </a:lnTo>
                        <a:lnTo>
                          <a:pt x="9867" y="9483"/>
                        </a:lnTo>
                        <a:lnTo>
                          <a:pt x="9821" y="9533"/>
                        </a:lnTo>
                        <a:lnTo>
                          <a:pt x="9774" y="9582"/>
                        </a:lnTo>
                        <a:lnTo>
                          <a:pt x="9727" y="9631"/>
                        </a:lnTo>
                        <a:lnTo>
                          <a:pt x="9679" y="9680"/>
                        </a:lnTo>
                        <a:lnTo>
                          <a:pt x="9631" y="9727"/>
                        </a:lnTo>
                        <a:lnTo>
                          <a:pt x="9582" y="9775"/>
                        </a:lnTo>
                        <a:lnTo>
                          <a:pt x="9532" y="9821"/>
                        </a:lnTo>
                        <a:lnTo>
                          <a:pt x="9482" y="9867"/>
                        </a:lnTo>
                        <a:lnTo>
                          <a:pt x="9432" y="9913"/>
                        </a:lnTo>
                        <a:lnTo>
                          <a:pt x="9380" y="9958"/>
                        </a:lnTo>
                        <a:lnTo>
                          <a:pt x="9329" y="10002"/>
                        </a:lnTo>
                        <a:lnTo>
                          <a:pt x="9277" y="10046"/>
                        </a:lnTo>
                        <a:lnTo>
                          <a:pt x="9224" y="10089"/>
                        </a:lnTo>
                        <a:lnTo>
                          <a:pt x="9170" y="10131"/>
                        </a:lnTo>
                        <a:lnTo>
                          <a:pt x="9117" y="10173"/>
                        </a:lnTo>
                        <a:lnTo>
                          <a:pt x="9062" y="10214"/>
                        </a:lnTo>
                        <a:lnTo>
                          <a:pt x="9008" y="10254"/>
                        </a:lnTo>
                        <a:lnTo>
                          <a:pt x="8952" y="10294"/>
                        </a:lnTo>
                        <a:lnTo>
                          <a:pt x="8896" y="10333"/>
                        </a:lnTo>
                        <a:lnTo>
                          <a:pt x="8840" y="10372"/>
                        </a:lnTo>
                        <a:lnTo>
                          <a:pt x="8783" y="10410"/>
                        </a:lnTo>
                        <a:lnTo>
                          <a:pt x="8726" y="10447"/>
                        </a:lnTo>
                        <a:lnTo>
                          <a:pt x="8668" y="10484"/>
                        </a:lnTo>
                        <a:lnTo>
                          <a:pt x="8610" y="10519"/>
                        </a:lnTo>
                        <a:lnTo>
                          <a:pt x="8551" y="10555"/>
                        </a:lnTo>
                        <a:lnTo>
                          <a:pt x="8492" y="10589"/>
                        </a:lnTo>
                        <a:lnTo>
                          <a:pt x="8433" y="10623"/>
                        </a:lnTo>
                        <a:lnTo>
                          <a:pt x="8373" y="10656"/>
                        </a:lnTo>
                        <a:lnTo>
                          <a:pt x="8312" y="10688"/>
                        </a:lnTo>
                        <a:lnTo>
                          <a:pt x="8251" y="10720"/>
                        </a:lnTo>
                        <a:lnTo>
                          <a:pt x="8190" y="10751"/>
                        </a:lnTo>
                        <a:lnTo>
                          <a:pt x="8128" y="10781"/>
                        </a:lnTo>
                        <a:lnTo>
                          <a:pt x="8066" y="10811"/>
                        </a:lnTo>
                        <a:lnTo>
                          <a:pt x="8003" y="10839"/>
                        </a:lnTo>
                        <a:lnTo>
                          <a:pt x="7940" y="10867"/>
                        </a:lnTo>
                        <a:lnTo>
                          <a:pt x="7877" y="10895"/>
                        </a:lnTo>
                        <a:lnTo>
                          <a:pt x="7813" y="10921"/>
                        </a:lnTo>
                        <a:lnTo>
                          <a:pt x="7749" y="10947"/>
                        </a:lnTo>
                        <a:lnTo>
                          <a:pt x="7685" y="10972"/>
                        </a:lnTo>
                        <a:lnTo>
                          <a:pt x="7620" y="10996"/>
                        </a:lnTo>
                        <a:lnTo>
                          <a:pt x="7554" y="11020"/>
                        </a:lnTo>
                        <a:lnTo>
                          <a:pt x="7489" y="11042"/>
                        </a:lnTo>
                        <a:lnTo>
                          <a:pt x="7423" y="11064"/>
                        </a:lnTo>
                        <a:lnTo>
                          <a:pt x="7356" y="11085"/>
                        </a:lnTo>
                        <a:lnTo>
                          <a:pt x="7289" y="11106"/>
                        </a:lnTo>
                        <a:lnTo>
                          <a:pt x="7222" y="11125"/>
                        </a:lnTo>
                        <a:lnTo>
                          <a:pt x="7155" y="11144"/>
                        </a:lnTo>
                        <a:lnTo>
                          <a:pt x="7087" y="11162"/>
                        </a:lnTo>
                        <a:lnTo>
                          <a:pt x="7019" y="11179"/>
                        </a:lnTo>
                        <a:lnTo>
                          <a:pt x="6951" y="11195"/>
                        </a:lnTo>
                        <a:lnTo>
                          <a:pt x="6882" y="11210"/>
                        </a:lnTo>
                        <a:lnTo>
                          <a:pt x="6813" y="11225"/>
                        </a:lnTo>
                        <a:lnTo>
                          <a:pt x="6744" y="11239"/>
                        </a:lnTo>
                        <a:lnTo>
                          <a:pt x="6674" y="11252"/>
                        </a:lnTo>
                        <a:lnTo>
                          <a:pt x="6604" y="11264"/>
                        </a:lnTo>
                        <a:lnTo>
                          <a:pt x="6534" y="11275"/>
                        </a:lnTo>
                        <a:lnTo>
                          <a:pt x="6463" y="11285"/>
                        </a:lnTo>
                        <a:lnTo>
                          <a:pt x="6392" y="11295"/>
                        </a:lnTo>
                        <a:lnTo>
                          <a:pt x="6321" y="11303"/>
                        </a:lnTo>
                        <a:lnTo>
                          <a:pt x="6250" y="11311"/>
                        </a:lnTo>
                        <a:lnTo>
                          <a:pt x="6178" y="11318"/>
                        </a:lnTo>
                        <a:lnTo>
                          <a:pt x="6107" y="11324"/>
                        </a:lnTo>
                        <a:lnTo>
                          <a:pt x="6034" y="11329"/>
                        </a:lnTo>
                        <a:lnTo>
                          <a:pt x="5962" y="11333"/>
                        </a:lnTo>
                        <a:lnTo>
                          <a:pt x="5890" y="11336"/>
                        </a:lnTo>
                        <a:lnTo>
                          <a:pt x="5817" y="11338"/>
                        </a:lnTo>
                        <a:lnTo>
                          <a:pt x="5744" y="11340"/>
                        </a:lnTo>
                        <a:lnTo>
                          <a:pt x="5669" y="11340"/>
                        </a:lnTo>
                        <a:lnTo>
                          <a:pt x="5669" y="11340"/>
                        </a:lnTo>
                        <a:lnTo>
                          <a:pt x="5596" y="11340"/>
                        </a:lnTo>
                        <a:lnTo>
                          <a:pt x="5523" y="11338"/>
                        </a:lnTo>
                        <a:lnTo>
                          <a:pt x="5450" y="11336"/>
                        </a:lnTo>
                        <a:lnTo>
                          <a:pt x="5378" y="11333"/>
                        </a:lnTo>
                        <a:lnTo>
                          <a:pt x="5305" y="11329"/>
                        </a:lnTo>
                        <a:lnTo>
                          <a:pt x="5233" y="11324"/>
                        </a:lnTo>
                        <a:lnTo>
                          <a:pt x="5161" y="11318"/>
                        </a:lnTo>
                        <a:lnTo>
                          <a:pt x="5090" y="11311"/>
                        </a:lnTo>
                        <a:lnTo>
                          <a:pt x="5018" y="11303"/>
                        </a:lnTo>
                        <a:lnTo>
                          <a:pt x="4947" y="11295"/>
                        </a:lnTo>
                        <a:lnTo>
                          <a:pt x="4876" y="11285"/>
                        </a:lnTo>
                        <a:lnTo>
                          <a:pt x="4806" y="11275"/>
                        </a:lnTo>
                        <a:lnTo>
                          <a:pt x="4736" y="11264"/>
                        </a:lnTo>
                        <a:lnTo>
                          <a:pt x="4666" y="11252"/>
                        </a:lnTo>
                        <a:lnTo>
                          <a:pt x="4596" y="11239"/>
                        </a:lnTo>
                        <a:lnTo>
                          <a:pt x="4527" y="11225"/>
                        </a:lnTo>
                        <a:lnTo>
                          <a:pt x="4458" y="11210"/>
                        </a:lnTo>
                        <a:lnTo>
                          <a:pt x="4389" y="11195"/>
                        </a:lnTo>
                        <a:lnTo>
                          <a:pt x="4320" y="11179"/>
                        </a:lnTo>
                        <a:lnTo>
                          <a:pt x="4252" y="11162"/>
                        </a:lnTo>
                        <a:lnTo>
                          <a:pt x="4185" y="11144"/>
                        </a:lnTo>
                        <a:lnTo>
                          <a:pt x="4117" y="11125"/>
                        </a:lnTo>
                        <a:lnTo>
                          <a:pt x="4050" y="11106"/>
                        </a:lnTo>
                        <a:lnTo>
                          <a:pt x="3983" y="11085"/>
                        </a:lnTo>
                        <a:lnTo>
                          <a:pt x="3917" y="11064"/>
                        </a:lnTo>
                        <a:lnTo>
                          <a:pt x="3851" y="11042"/>
                        </a:lnTo>
                        <a:lnTo>
                          <a:pt x="3785" y="11020"/>
                        </a:lnTo>
                        <a:lnTo>
                          <a:pt x="3720" y="10996"/>
                        </a:lnTo>
                        <a:lnTo>
                          <a:pt x="3655" y="10972"/>
                        </a:lnTo>
                        <a:lnTo>
                          <a:pt x="3590" y="10947"/>
                        </a:lnTo>
                        <a:lnTo>
                          <a:pt x="3526" y="10921"/>
                        </a:lnTo>
                        <a:lnTo>
                          <a:pt x="3462" y="10895"/>
                        </a:lnTo>
                        <a:lnTo>
                          <a:pt x="3399" y="10867"/>
                        </a:lnTo>
                        <a:lnTo>
                          <a:pt x="3336" y="10839"/>
                        </a:lnTo>
                        <a:lnTo>
                          <a:pt x="3273" y="10811"/>
                        </a:lnTo>
                        <a:lnTo>
                          <a:pt x="3211" y="10781"/>
                        </a:lnTo>
                        <a:lnTo>
                          <a:pt x="3150" y="10751"/>
                        </a:lnTo>
                        <a:lnTo>
                          <a:pt x="3088" y="10720"/>
                        </a:lnTo>
                        <a:lnTo>
                          <a:pt x="3027" y="10688"/>
                        </a:lnTo>
                        <a:lnTo>
                          <a:pt x="2967" y="10656"/>
                        </a:lnTo>
                        <a:lnTo>
                          <a:pt x="2907" y="10623"/>
                        </a:lnTo>
                        <a:lnTo>
                          <a:pt x="2847" y="10589"/>
                        </a:lnTo>
                        <a:lnTo>
                          <a:pt x="2788" y="10555"/>
                        </a:lnTo>
                        <a:lnTo>
                          <a:pt x="2729" y="10519"/>
                        </a:lnTo>
                        <a:lnTo>
                          <a:pt x="2671" y="10484"/>
                        </a:lnTo>
                        <a:lnTo>
                          <a:pt x="2613" y="10447"/>
                        </a:lnTo>
                        <a:lnTo>
                          <a:pt x="2556" y="10410"/>
                        </a:lnTo>
                        <a:lnTo>
                          <a:pt x="2499" y="10372"/>
                        </a:lnTo>
                        <a:lnTo>
                          <a:pt x="2443" y="10333"/>
                        </a:lnTo>
                        <a:lnTo>
                          <a:pt x="2387" y="10294"/>
                        </a:lnTo>
                        <a:lnTo>
                          <a:pt x="2332" y="10254"/>
                        </a:lnTo>
                        <a:lnTo>
                          <a:pt x="2277" y="10214"/>
                        </a:lnTo>
                        <a:lnTo>
                          <a:pt x="2223" y="10173"/>
                        </a:lnTo>
                        <a:lnTo>
                          <a:pt x="2169" y="10131"/>
                        </a:lnTo>
                        <a:lnTo>
                          <a:pt x="2116" y="10089"/>
                        </a:lnTo>
                        <a:lnTo>
                          <a:pt x="2063" y="10046"/>
                        </a:lnTo>
                        <a:lnTo>
                          <a:pt x="2011" y="10002"/>
                        </a:lnTo>
                        <a:lnTo>
                          <a:pt x="1959" y="9958"/>
                        </a:lnTo>
                        <a:lnTo>
                          <a:pt x="1908" y="9913"/>
                        </a:lnTo>
                        <a:lnTo>
                          <a:pt x="1857" y="9867"/>
                        </a:lnTo>
                        <a:lnTo>
                          <a:pt x="1807" y="9821"/>
                        </a:lnTo>
                        <a:lnTo>
                          <a:pt x="1758" y="9775"/>
                        </a:lnTo>
                        <a:lnTo>
                          <a:pt x="1709" y="9727"/>
                        </a:lnTo>
                        <a:lnTo>
                          <a:pt x="1660" y="9680"/>
                        </a:lnTo>
                        <a:lnTo>
                          <a:pt x="1613" y="9631"/>
                        </a:lnTo>
                        <a:lnTo>
                          <a:pt x="1565" y="9582"/>
                        </a:lnTo>
                        <a:lnTo>
                          <a:pt x="1519" y="9533"/>
                        </a:lnTo>
                        <a:lnTo>
                          <a:pt x="1473" y="9483"/>
                        </a:lnTo>
                        <a:lnTo>
                          <a:pt x="1427" y="9432"/>
                        </a:lnTo>
                        <a:lnTo>
                          <a:pt x="1382" y="9381"/>
                        </a:lnTo>
                        <a:lnTo>
                          <a:pt x="1338" y="9329"/>
                        </a:lnTo>
                        <a:lnTo>
                          <a:pt x="1294" y="9277"/>
                        </a:lnTo>
                        <a:lnTo>
                          <a:pt x="1251" y="9224"/>
                        </a:lnTo>
                        <a:lnTo>
                          <a:pt x="1209" y="9171"/>
                        </a:lnTo>
                        <a:lnTo>
                          <a:pt x="1167" y="9117"/>
                        </a:lnTo>
                        <a:lnTo>
                          <a:pt x="1126" y="9063"/>
                        </a:lnTo>
                        <a:lnTo>
                          <a:pt x="1086" y="9008"/>
                        </a:lnTo>
                        <a:lnTo>
                          <a:pt x="1046" y="8953"/>
                        </a:lnTo>
                        <a:lnTo>
                          <a:pt x="1007" y="8897"/>
                        </a:lnTo>
                        <a:lnTo>
                          <a:pt x="968" y="8840"/>
                        </a:lnTo>
                        <a:lnTo>
                          <a:pt x="930" y="8784"/>
                        </a:lnTo>
                        <a:lnTo>
                          <a:pt x="893" y="8726"/>
                        </a:lnTo>
                        <a:lnTo>
                          <a:pt x="856" y="8669"/>
                        </a:lnTo>
                        <a:lnTo>
                          <a:pt x="821" y="8610"/>
                        </a:lnTo>
                        <a:lnTo>
                          <a:pt x="785" y="8552"/>
                        </a:lnTo>
                        <a:lnTo>
                          <a:pt x="751" y="8493"/>
                        </a:lnTo>
                        <a:lnTo>
                          <a:pt x="717" y="8433"/>
                        </a:lnTo>
                        <a:lnTo>
                          <a:pt x="684" y="8373"/>
                        </a:lnTo>
                        <a:lnTo>
                          <a:pt x="652" y="8313"/>
                        </a:lnTo>
                        <a:lnTo>
                          <a:pt x="620" y="8252"/>
                        </a:lnTo>
                        <a:lnTo>
                          <a:pt x="589" y="8190"/>
                        </a:lnTo>
                        <a:lnTo>
                          <a:pt x="559" y="8129"/>
                        </a:lnTo>
                        <a:lnTo>
                          <a:pt x="529" y="8066"/>
                        </a:lnTo>
                        <a:lnTo>
                          <a:pt x="501" y="8004"/>
                        </a:lnTo>
                        <a:lnTo>
                          <a:pt x="473" y="7941"/>
                        </a:lnTo>
                        <a:lnTo>
                          <a:pt x="445" y="7877"/>
                        </a:lnTo>
                        <a:lnTo>
                          <a:pt x="419" y="7814"/>
                        </a:lnTo>
                        <a:lnTo>
                          <a:pt x="393" y="7749"/>
                        </a:lnTo>
                        <a:lnTo>
                          <a:pt x="368" y="7685"/>
                        </a:lnTo>
                        <a:lnTo>
                          <a:pt x="344" y="7620"/>
                        </a:lnTo>
                        <a:lnTo>
                          <a:pt x="320" y="7555"/>
                        </a:lnTo>
                        <a:lnTo>
                          <a:pt x="298" y="7489"/>
                        </a:lnTo>
                        <a:lnTo>
                          <a:pt x="276" y="7423"/>
                        </a:lnTo>
                        <a:lnTo>
                          <a:pt x="255" y="7357"/>
                        </a:lnTo>
                        <a:lnTo>
                          <a:pt x="234" y="7290"/>
                        </a:lnTo>
                        <a:lnTo>
                          <a:pt x="215" y="7223"/>
                        </a:lnTo>
                        <a:lnTo>
                          <a:pt x="196" y="7155"/>
                        </a:lnTo>
                        <a:lnTo>
                          <a:pt x="178" y="7088"/>
                        </a:lnTo>
                        <a:lnTo>
                          <a:pt x="161" y="7019"/>
                        </a:lnTo>
                        <a:lnTo>
                          <a:pt x="145" y="6951"/>
                        </a:lnTo>
                        <a:lnTo>
                          <a:pt x="130" y="6882"/>
                        </a:lnTo>
                        <a:lnTo>
                          <a:pt x="115" y="6813"/>
                        </a:lnTo>
                        <a:lnTo>
                          <a:pt x="101" y="6744"/>
                        </a:lnTo>
                        <a:lnTo>
                          <a:pt x="88" y="6674"/>
                        </a:lnTo>
                        <a:lnTo>
                          <a:pt x="76" y="6604"/>
                        </a:lnTo>
                        <a:lnTo>
                          <a:pt x="65" y="6534"/>
                        </a:lnTo>
                        <a:lnTo>
                          <a:pt x="55" y="6464"/>
                        </a:lnTo>
                        <a:lnTo>
                          <a:pt x="45" y="6393"/>
                        </a:lnTo>
                        <a:lnTo>
                          <a:pt x="37" y="6322"/>
                        </a:lnTo>
                        <a:lnTo>
                          <a:pt x="29" y="6250"/>
                        </a:lnTo>
                        <a:lnTo>
                          <a:pt x="22" y="6179"/>
                        </a:lnTo>
                        <a:lnTo>
                          <a:pt x="16" y="6107"/>
                        </a:lnTo>
                        <a:lnTo>
                          <a:pt x="11" y="6035"/>
                        </a:lnTo>
                        <a:lnTo>
                          <a:pt x="7" y="5962"/>
                        </a:lnTo>
                        <a:lnTo>
                          <a:pt x="4" y="5890"/>
                        </a:lnTo>
                        <a:lnTo>
                          <a:pt x="2" y="5817"/>
                        </a:lnTo>
                        <a:lnTo>
                          <a:pt x="0" y="5744"/>
                        </a:lnTo>
                        <a:lnTo>
                          <a:pt x="0" y="5671"/>
                        </a:lnTo>
                        <a:lnTo>
                          <a:pt x="0" y="5671"/>
                        </a:lnTo>
                        <a:lnTo>
                          <a:pt x="0" y="5596"/>
                        </a:lnTo>
                        <a:lnTo>
                          <a:pt x="2" y="5523"/>
                        </a:lnTo>
                        <a:lnTo>
                          <a:pt x="4" y="5451"/>
                        </a:lnTo>
                        <a:lnTo>
                          <a:pt x="7" y="5378"/>
                        </a:lnTo>
                        <a:lnTo>
                          <a:pt x="11" y="5306"/>
                        </a:lnTo>
                        <a:lnTo>
                          <a:pt x="16" y="5233"/>
                        </a:lnTo>
                        <a:lnTo>
                          <a:pt x="22" y="5162"/>
                        </a:lnTo>
                        <a:lnTo>
                          <a:pt x="29" y="5090"/>
                        </a:lnTo>
                        <a:lnTo>
                          <a:pt x="37" y="5019"/>
                        </a:lnTo>
                        <a:lnTo>
                          <a:pt x="45" y="4948"/>
                        </a:lnTo>
                        <a:lnTo>
                          <a:pt x="55" y="4877"/>
                        </a:lnTo>
                        <a:lnTo>
                          <a:pt x="65" y="4806"/>
                        </a:lnTo>
                        <a:lnTo>
                          <a:pt x="76" y="4736"/>
                        </a:lnTo>
                        <a:lnTo>
                          <a:pt x="88" y="4666"/>
                        </a:lnTo>
                        <a:lnTo>
                          <a:pt x="101" y="4596"/>
                        </a:lnTo>
                        <a:lnTo>
                          <a:pt x="115" y="4527"/>
                        </a:lnTo>
                        <a:lnTo>
                          <a:pt x="130" y="4458"/>
                        </a:lnTo>
                        <a:lnTo>
                          <a:pt x="145" y="4389"/>
                        </a:lnTo>
                        <a:lnTo>
                          <a:pt x="161" y="4321"/>
                        </a:lnTo>
                        <a:lnTo>
                          <a:pt x="178" y="4253"/>
                        </a:lnTo>
                        <a:lnTo>
                          <a:pt x="196" y="4185"/>
                        </a:lnTo>
                        <a:lnTo>
                          <a:pt x="215" y="4118"/>
                        </a:lnTo>
                        <a:lnTo>
                          <a:pt x="234" y="4050"/>
                        </a:lnTo>
                        <a:lnTo>
                          <a:pt x="255" y="3984"/>
                        </a:lnTo>
                        <a:lnTo>
                          <a:pt x="276" y="3917"/>
                        </a:lnTo>
                        <a:lnTo>
                          <a:pt x="298" y="3851"/>
                        </a:lnTo>
                        <a:lnTo>
                          <a:pt x="320" y="3786"/>
                        </a:lnTo>
                        <a:lnTo>
                          <a:pt x="344" y="3720"/>
                        </a:lnTo>
                        <a:lnTo>
                          <a:pt x="368" y="3655"/>
                        </a:lnTo>
                        <a:lnTo>
                          <a:pt x="393" y="3591"/>
                        </a:lnTo>
                        <a:lnTo>
                          <a:pt x="419" y="3527"/>
                        </a:lnTo>
                        <a:lnTo>
                          <a:pt x="445" y="3463"/>
                        </a:lnTo>
                        <a:lnTo>
                          <a:pt x="473" y="3399"/>
                        </a:lnTo>
                        <a:lnTo>
                          <a:pt x="501" y="3336"/>
                        </a:lnTo>
                        <a:lnTo>
                          <a:pt x="529" y="3274"/>
                        </a:lnTo>
                        <a:lnTo>
                          <a:pt x="559" y="3212"/>
                        </a:lnTo>
                        <a:lnTo>
                          <a:pt x="589" y="3150"/>
                        </a:lnTo>
                        <a:lnTo>
                          <a:pt x="620" y="3089"/>
                        </a:lnTo>
                        <a:lnTo>
                          <a:pt x="652" y="3028"/>
                        </a:lnTo>
                        <a:lnTo>
                          <a:pt x="684" y="2967"/>
                        </a:lnTo>
                        <a:lnTo>
                          <a:pt x="717" y="2907"/>
                        </a:lnTo>
                        <a:lnTo>
                          <a:pt x="751" y="2848"/>
                        </a:lnTo>
                        <a:lnTo>
                          <a:pt x="785" y="2788"/>
                        </a:lnTo>
                        <a:lnTo>
                          <a:pt x="821" y="2730"/>
                        </a:lnTo>
                        <a:lnTo>
                          <a:pt x="856" y="2672"/>
                        </a:lnTo>
                        <a:lnTo>
                          <a:pt x="893" y="2614"/>
                        </a:lnTo>
                        <a:lnTo>
                          <a:pt x="930" y="2557"/>
                        </a:lnTo>
                        <a:lnTo>
                          <a:pt x="968" y="2500"/>
                        </a:lnTo>
                        <a:lnTo>
                          <a:pt x="1007" y="2443"/>
                        </a:lnTo>
                        <a:lnTo>
                          <a:pt x="1046" y="2388"/>
                        </a:lnTo>
                        <a:lnTo>
                          <a:pt x="1086" y="2332"/>
                        </a:lnTo>
                        <a:lnTo>
                          <a:pt x="1126" y="2277"/>
                        </a:lnTo>
                        <a:lnTo>
                          <a:pt x="1167" y="2223"/>
                        </a:lnTo>
                        <a:lnTo>
                          <a:pt x="1209" y="2169"/>
                        </a:lnTo>
                        <a:lnTo>
                          <a:pt x="1251" y="2116"/>
                        </a:lnTo>
                        <a:lnTo>
                          <a:pt x="1294" y="2063"/>
                        </a:lnTo>
                        <a:lnTo>
                          <a:pt x="1338" y="2011"/>
                        </a:lnTo>
                        <a:lnTo>
                          <a:pt x="1382" y="1959"/>
                        </a:lnTo>
                        <a:lnTo>
                          <a:pt x="1427" y="1908"/>
                        </a:lnTo>
                        <a:lnTo>
                          <a:pt x="1473" y="1858"/>
                        </a:lnTo>
                        <a:lnTo>
                          <a:pt x="1519" y="1807"/>
                        </a:lnTo>
                        <a:lnTo>
                          <a:pt x="1565" y="1758"/>
                        </a:lnTo>
                        <a:lnTo>
                          <a:pt x="1613" y="1709"/>
                        </a:lnTo>
                        <a:lnTo>
                          <a:pt x="1660" y="1661"/>
                        </a:lnTo>
                        <a:lnTo>
                          <a:pt x="1709" y="1613"/>
                        </a:lnTo>
                        <a:lnTo>
                          <a:pt x="1758" y="1566"/>
                        </a:lnTo>
                        <a:lnTo>
                          <a:pt x="1807" y="1519"/>
                        </a:lnTo>
                        <a:lnTo>
                          <a:pt x="1857" y="1473"/>
                        </a:lnTo>
                        <a:lnTo>
                          <a:pt x="1908" y="1427"/>
                        </a:lnTo>
                        <a:lnTo>
                          <a:pt x="1959" y="1383"/>
                        </a:lnTo>
                        <a:lnTo>
                          <a:pt x="2011" y="1338"/>
                        </a:lnTo>
                        <a:lnTo>
                          <a:pt x="2063" y="1295"/>
                        </a:lnTo>
                        <a:lnTo>
                          <a:pt x="2116" y="1252"/>
                        </a:lnTo>
                        <a:lnTo>
                          <a:pt x="2169" y="1209"/>
                        </a:lnTo>
                        <a:lnTo>
                          <a:pt x="2223" y="1168"/>
                        </a:lnTo>
                        <a:lnTo>
                          <a:pt x="2277" y="1126"/>
                        </a:lnTo>
                        <a:lnTo>
                          <a:pt x="2332" y="1086"/>
                        </a:lnTo>
                        <a:lnTo>
                          <a:pt x="2387" y="1046"/>
                        </a:lnTo>
                        <a:lnTo>
                          <a:pt x="2443" y="1007"/>
                        </a:lnTo>
                        <a:lnTo>
                          <a:pt x="2499" y="968"/>
                        </a:lnTo>
                        <a:lnTo>
                          <a:pt x="2556" y="930"/>
                        </a:lnTo>
                        <a:lnTo>
                          <a:pt x="2613" y="893"/>
                        </a:lnTo>
                        <a:lnTo>
                          <a:pt x="2671" y="857"/>
                        </a:lnTo>
                        <a:lnTo>
                          <a:pt x="2729" y="821"/>
                        </a:lnTo>
                        <a:lnTo>
                          <a:pt x="2788" y="786"/>
                        </a:lnTo>
                        <a:lnTo>
                          <a:pt x="2847" y="751"/>
                        </a:lnTo>
                        <a:lnTo>
                          <a:pt x="2907" y="717"/>
                        </a:lnTo>
                        <a:lnTo>
                          <a:pt x="2967" y="684"/>
                        </a:lnTo>
                        <a:lnTo>
                          <a:pt x="3027" y="652"/>
                        </a:lnTo>
                        <a:lnTo>
                          <a:pt x="3088" y="620"/>
                        </a:lnTo>
                        <a:lnTo>
                          <a:pt x="3150" y="589"/>
                        </a:lnTo>
                        <a:lnTo>
                          <a:pt x="3211" y="559"/>
                        </a:lnTo>
                        <a:lnTo>
                          <a:pt x="3273" y="530"/>
                        </a:lnTo>
                        <a:lnTo>
                          <a:pt x="3336" y="501"/>
                        </a:lnTo>
                        <a:lnTo>
                          <a:pt x="3399" y="473"/>
                        </a:lnTo>
                        <a:lnTo>
                          <a:pt x="3462" y="446"/>
                        </a:lnTo>
                        <a:lnTo>
                          <a:pt x="3526" y="419"/>
                        </a:lnTo>
                        <a:lnTo>
                          <a:pt x="3590" y="393"/>
                        </a:lnTo>
                        <a:lnTo>
                          <a:pt x="3655" y="368"/>
                        </a:lnTo>
                        <a:lnTo>
                          <a:pt x="3720" y="344"/>
                        </a:lnTo>
                        <a:lnTo>
                          <a:pt x="3785" y="321"/>
                        </a:lnTo>
                        <a:lnTo>
                          <a:pt x="3851" y="298"/>
                        </a:lnTo>
                        <a:lnTo>
                          <a:pt x="3917" y="276"/>
                        </a:lnTo>
                        <a:lnTo>
                          <a:pt x="3983" y="255"/>
                        </a:lnTo>
                        <a:lnTo>
                          <a:pt x="4050" y="235"/>
                        </a:lnTo>
                        <a:lnTo>
                          <a:pt x="4117" y="215"/>
                        </a:lnTo>
                        <a:lnTo>
                          <a:pt x="4185" y="197"/>
                        </a:lnTo>
                        <a:lnTo>
                          <a:pt x="4252" y="179"/>
                        </a:lnTo>
                        <a:lnTo>
                          <a:pt x="4320" y="162"/>
                        </a:lnTo>
                        <a:lnTo>
                          <a:pt x="4389" y="145"/>
                        </a:lnTo>
                        <a:lnTo>
                          <a:pt x="4458" y="130"/>
                        </a:lnTo>
                        <a:lnTo>
                          <a:pt x="4527" y="115"/>
                        </a:lnTo>
                        <a:lnTo>
                          <a:pt x="4596" y="102"/>
                        </a:lnTo>
                        <a:lnTo>
                          <a:pt x="4666" y="89"/>
                        </a:lnTo>
                        <a:lnTo>
                          <a:pt x="4736" y="77"/>
                        </a:lnTo>
                        <a:lnTo>
                          <a:pt x="4806" y="65"/>
                        </a:lnTo>
                        <a:lnTo>
                          <a:pt x="4876" y="55"/>
                        </a:lnTo>
                        <a:lnTo>
                          <a:pt x="4947" y="46"/>
                        </a:lnTo>
                        <a:lnTo>
                          <a:pt x="5018" y="37"/>
                        </a:lnTo>
                        <a:lnTo>
                          <a:pt x="5090" y="29"/>
                        </a:lnTo>
                        <a:lnTo>
                          <a:pt x="5161" y="23"/>
                        </a:lnTo>
                        <a:lnTo>
                          <a:pt x="5233" y="17"/>
                        </a:lnTo>
                        <a:lnTo>
                          <a:pt x="5305" y="12"/>
                        </a:lnTo>
                        <a:lnTo>
                          <a:pt x="5378" y="8"/>
                        </a:lnTo>
                        <a:lnTo>
                          <a:pt x="5450" y="4"/>
                        </a:lnTo>
                        <a:lnTo>
                          <a:pt x="5523" y="2"/>
                        </a:lnTo>
                        <a:lnTo>
                          <a:pt x="5596" y="1"/>
                        </a:lnTo>
                        <a:lnTo>
                          <a:pt x="5669" y="0"/>
                        </a:lnTo>
                        <a:lnTo>
                          <a:pt x="5669" y="0"/>
                        </a:lnTo>
                        <a:lnTo>
                          <a:pt x="5744" y="1"/>
                        </a:lnTo>
                        <a:lnTo>
                          <a:pt x="5817" y="2"/>
                        </a:lnTo>
                        <a:lnTo>
                          <a:pt x="5890" y="4"/>
                        </a:lnTo>
                        <a:lnTo>
                          <a:pt x="5962" y="8"/>
                        </a:lnTo>
                        <a:lnTo>
                          <a:pt x="6034" y="12"/>
                        </a:lnTo>
                        <a:lnTo>
                          <a:pt x="6107" y="17"/>
                        </a:lnTo>
                        <a:lnTo>
                          <a:pt x="6178" y="23"/>
                        </a:lnTo>
                        <a:lnTo>
                          <a:pt x="6250" y="29"/>
                        </a:lnTo>
                        <a:lnTo>
                          <a:pt x="6321" y="37"/>
                        </a:lnTo>
                        <a:lnTo>
                          <a:pt x="6392" y="46"/>
                        </a:lnTo>
                        <a:lnTo>
                          <a:pt x="6463" y="55"/>
                        </a:lnTo>
                        <a:lnTo>
                          <a:pt x="6534" y="65"/>
                        </a:lnTo>
                        <a:lnTo>
                          <a:pt x="6604" y="77"/>
                        </a:lnTo>
                        <a:lnTo>
                          <a:pt x="6674" y="89"/>
                        </a:lnTo>
                        <a:lnTo>
                          <a:pt x="6744" y="102"/>
                        </a:lnTo>
                        <a:lnTo>
                          <a:pt x="6813" y="115"/>
                        </a:lnTo>
                        <a:lnTo>
                          <a:pt x="6882" y="130"/>
                        </a:lnTo>
                        <a:lnTo>
                          <a:pt x="6951" y="145"/>
                        </a:lnTo>
                        <a:lnTo>
                          <a:pt x="7019" y="162"/>
                        </a:lnTo>
                        <a:lnTo>
                          <a:pt x="7087" y="179"/>
                        </a:lnTo>
                        <a:lnTo>
                          <a:pt x="7155" y="197"/>
                        </a:lnTo>
                        <a:lnTo>
                          <a:pt x="7222" y="215"/>
                        </a:lnTo>
                        <a:lnTo>
                          <a:pt x="7289" y="235"/>
                        </a:lnTo>
                        <a:lnTo>
                          <a:pt x="7356" y="255"/>
                        </a:lnTo>
                        <a:lnTo>
                          <a:pt x="7423" y="276"/>
                        </a:lnTo>
                        <a:lnTo>
                          <a:pt x="7489" y="298"/>
                        </a:lnTo>
                        <a:lnTo>
                          <a:pt x="7554" y="321"/>
                        </a:lnTo>
                        <a:lnTo>
                          <a:pt x="7620" y="344"/>
                        </a:lnTo>
                        <a:lnTo>
                          <a:pt x="7685" y="368"/>
                        </a:lnTo>
                        <a:lnTo>
                          <a:pt x="7749" y="393"/>
                        </a:lnTo>
                        <a:lnTo>
                          <a:pt x="7813" y="419"/>
                        </a:lnTo>
                        <a:lnTo>
                          <a:pt x="7877" y="446"/>
                        </a:lnTo>
                        <a:lnTo>
                          <a:pt x="7940" y="473"/>
                        </a:lnTo>
                        <a:lnTo>
                          <a:pt x="8003" y="501"/>
                        </a:lnTo>
                        <a:lnTo>
                          <a:pt x="8066" y="530"/>
                        </a:lnTo>
                        <a:lnTo>
                          <a:pt x="8128" y="559"/>
                        </a:lnTo>
                        <a:lnTo>
                          <a:pt x="8190" y="589"/>
                        </a:lnTo>
                        <a:lnTo>
                          <a:pt x="8251" y="620"/>
                        </a:lnTo>
                        <a:lnTo>
                          <a:pt x="8312" y="652"/>
                        </a:lnTo>
                        <a:lnTo>
                          <a:pt x="8373" y="684"/>
                        </a:lnTo>
                        <a:lnTo>
                          <a:pt x="8433" y="717"/>
                        </a:lnTo>
                        <a:lnTo>
                          <a:pt x="8492" y="751"/>
                        </a:lnTo>
                        <a:lnTo>
                          <a:pt x="8551" y="786"/>
                        </a:lnTo>
                        <a:lnTo>
                          <a:pt x="8610" y="821"/>
                        </a:lnTo>
                        <a:lnTo>
                          <a:pt x="8668" y="857"/>
                        </a:lnTo>
                        <a:lnTo>
                          <a:pt x="8726" y="893"/>
                        </a:lnTo>
                        <a:lnTo>
                          <a:pt x="8783" y="930"/>
                        </a:lnTo>
                        <a:lnTo>
                          <a:pt x="8840" y="968"/>
                        </a:lnTo>
                        <a:lnTo>
                          <a:pt x="8896" y="1007"/>
                        </a:lnTo>
                        <a:lnTo>
                          <a:pt x="8952" y="1046"/>
                        </a:lnTo>
                        <a:lnTo>
                          <a:pt x="9008" y="1086"/>
                        </a:lnTo>
                        <a:lnTo>
                          <a:pt x="9062" y="1126"/>
                        </a:lnTo>
                        <a:lnTo>
                          <a:pt x="9117" y="1168"/>
                        </a:lnTo>
                        <a:lnTo>
                          <a:pt x="9170" y="1209"/>
                        </a:lnTo>
                        <a:lnTo>
                          <a:pt x="9224" y="1252"/>
                        </a:lnTo>
                        <a:lnTo>
                          <a:pt x="9277" y="1295"/>
                        </a:lnTo>
                        <a:lnTo>
                          <a:pt x="9329" y="1338"/>
                        </a:lnTo>
                        <a:lnTo>
                          <a:pt x="9380" y="1383"/>
                        </a:lnTo>
                        <a:lnTo>
                          <a:pt x="9432" y="1427"/>
                        </a:lnTo>
                        <a:lnTo>
                          <a:pt x="9482" y="1473"/>
                        </a:lnTo>
                        <a:lnTo>
                          <a:pt x="9532" y="1519"/>
                        </a:lnTo>
                        <a:lnTo>
                          <a:pt x="9582" y="1566"/>
                        </a:lnTo>
                        <a:lnTo>
                          <a:pt x="9631" y="1613"/>
                        </a:lnTo>
                        <a:lnTo>
                          <a:pt x="9679" y="1661"/>
                        </a:lnTo>
                        <a:lnTo>
                          <a:pt x="9727" y="1709"/>
                        </a:lnTo>
                        <a:lnTo>
                          <a:pt x="9774" y="1758"/>
                        </a:lnTo>
                        <a:lnTo>
                          <a:pt x="9821" y="1807"/>
                        </a:lnTo>
                        <a:lnTo>
                          <a:pt x="9867" y="1858"/>
                        </a:lnTo>
                        <a:lnTo>
                          <a:pt x="9912" y="1908"/>
                        </a:lnTo>
                        <a:lnTo>
                          <a:pt x="9957" y="1959"/>
                        </a:lnTo>
                        <a:lnTo>
                          <a:pt x="10001" y="2011"/>
                        </a:lnTo>
                        <a:lnTo>
                          <a:pt x="10045" y="2063"/>
                        </a:lnTo>
                        <a:lnTo>
                          <a:pt x="10088" y="2116"/>
                        </a:lnTo>
                        <a:lnTo>
                          <a:pt x="10130" y="2169"/>
                        </a:lnTo>
                        <a:lnTo>
                          <a:pt x="10172" y="2223"/>
                        </a:lnTo>
                        <a:lnTo>
                          <a:pt x="10213" y="2277"/>
                        </a:lnTo>
                        <a:lnTo>
                          <a:pt x="10254" y="2332"/>
                        </a:lnTo>
                        <a:lnTo>
                          <a:pt x="10294" y="2388"/>
                        </a:lnTo>
                        <a:lnTo>
                          <a:pt x="10333" y="2443"/>
                        </a:lnTo>
                        <a:lnTo>
                          <a:pt x="10371" y="2500"/>
                        </a:lnTo>
                        <a:lnTo>
                          <a:pt x="10409" y="2557"/>
                        </a:lnTo>
                        <a:lnTo>
                          <a:pt x="10446" y="2614"/>
                        </a:lnTo>
                        <a:lnTo>
                          <a:pt x="10483" y="2672"/>
                        </a:lnTo>
                        <a:lnTo>
                          <a:pt x="10519" y="2730"/>
                        </a:lnTo>
                        <a:lnTo>
                          <a:pt x="10554" y="2788"/>
                        </a:lnTo>
                        <a:lnTo>
                          <a:pt x="10588" y="2848"/>
                        </a:lnTo>
                        <a:lnTo>
                          <a:pt x="10622" y="2907"/>
                        </a:lnTo>
                        <a:lnTo>
                          <a:pt x="10655" y="2967"/>
                        </a:lnTo>
                        <a:lnTo>
                          <a:pt x="10688" y="3028"/>
                        </a:lnTo>
                        <a:lnTo>
                          <a:pt x="10719" y="3089"/>
                        </a:lnTo>
                        <a:lnTo>
                          <a:pt x="10750" y="3150"/>
                        </a:lnTo>
                        <a:lnTo>
                          <a:pt x="10780" y="3212"/>
                        </a:lnTo>
                        <a:lnTo>
                          <a:pt x="10810" y="3274"/>
                        </a:lnTo>
                        <a:lnTo>
                          <a:pt x="10839" y="3336"/>
                        </a:lnTo>
                        <a:lnTo>
                          <a:pt x="10867" y="3399"/>
                        </a:lnTo>
                        <a:lnTo>
                          <a:pt x="10894" y="3463"/>
                        </a:lnTo>
                        <a:lnTo>
                          <a:pt x="10921" y="3527"/>
                        </a:lnTo>
                        <a:lnTo>
                          <a:pt x="10946" y="3591"/>
                        </a:lnTo>
                        <a:lnTo>
                          <a:pt x="10971" y="3655"/>
                        </a:lnTo>
                        <a:lnTo>
                          <a:pt x="10996" y="3720"/>
                        </a:lnTo>
                        <a:lnTo>
                          <a:pt x="11019" y="3786"/>
                        </a:lnTo>
                        <a:lnTo>
                          <a:pt x="11042" y="3851"/>
                        </a:lnTo>
                        <a:lnTo>
                          <a:pt x="11064" y="3917"/>
                        </a:lnTo>
                        <a:lnTo>
                          <a:pt x="11085" y="3984"/>
                        </a:lnTo>
                        <a:lnTo>
                          <a:pt x="11105" y="4050"/>
                        </a:lnTo>
                        <a:lnTo>
                          <a:pt x="11124" y="4118"/>
                        </a:lnTo>
                        <a:lnTo>
                          <a:pt x="11143" y="4185"/>
                        </a:lnTo>
                        <a:lnTo>
                          <a:pt x="11161" y="4253"/>
                        </a:lnTo>
                        <a:lnTo>
                          <a:pt x="11178" y="4321"/>
                        </a:lnTo>
                        <a:lnTo>
                          <a:pt x="11194" y="4389"/>
                        </a:lnTo>
                        <a:lnTo>
                          <a:pt x="11210" y="4458"/>
                        </a:lnTo>
                        <a:lnTo>
                          <a:pt x="11224" y="4527"/>
                        </a:lnTo>
                        <a:lnTo>
                          <a:pt x="11238" y="4596"/>
                        </a:lnTo>
                        <a:lnTo>
                          <a:pt x="11251" y="4666"/>
                        </a:lnTo>
                        <a:lnTo>
                          <a:pt x="11263" y="4736"/>
                        </a:lnTo>
                        <a:lnTo>
                          <a:pt x="11274" y="4806"/>
                        </a:lnTo>
                        <a:lnTo>
                          <a:pt x="11285" y="4877"/>
                        </a:lnTo>
                        <a:lnTo>
                          <a:pt x="11294" y="4948"/>
                        </a:lnTo>
                        <a:lnTo>
                          <a:pt x="11303" y="5019"/>
                        </a:lnTo>
                        <a:lnTo>
                          <a:pt x="11310" y="5090"/>
                        </a:lnTo>
                        <a:lnTo>
                          <a:pt x="11317" y="5162"/>
                        </a:lnTo>
                        <a:lnTo>
                          <a:pt x="11323" y="5233"/>
                        </a:lnTo>
                        <a:lnTo>
                          <a:pt x="11328" y="5306"/>
                        </a:lnTo>
                        <a:lnTo>
                          <a:pt x="11332" y="5378"/>
                        </a:lnTo>
                        <a:lnTo>
                          <a:pt x="11335" y="5451"/>
                        </a:lnTo>
                        <a:lnTo>
                          <a:pt x="11338" y="5523"/>
                        </a:lnTo>
                        <a:lnTo>
                          <a:pt x="11339" y="5596"/>
                        </a:lnTo>
                        <a:lnTo>
                          <a:pt x="11340" y="5671"/>
                        </a:lnTo>
                      </a:path>
                    </a:pathLst>
                  </a:custGeom>
                  <a:no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  <p:sp>
                <p:nvSpPr>
                  <p:cNvPr id="298" name="Freeform 8">
                    <a:extLst>
                      <a:ext uri="{FF2B5EF4-FFF2-40B4-BE49-F238E27FC236}">
                        <a16:creationId xmlns:a16="http://schemas.microsoft.com/office/drawing/2014/main" id="{D781BD77-AABF-4D6B-AD6A-F3E921689FD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1510" y="1566"/>
                    <a:ext cx="1615" cy="1653"/>
                  </a:xfrm>
                  <a:custGeom>
                    <a:avLst/>
                    <a:gdLst/>
                    <a:ahLst/>
                    <a:cxnLst>
                      <a:cxn ang="0">
                        <a:pos x="4319" y="2213"/>
                      </a:cxn>
                      <a:cxn ang="0">
                        <a:pos x="4796" y="1894"/>
                      </a:cxn>
                      <a:cxn ang="0">
                        <a:pos x="4876" y="1759"/>
                      </a:cxn>
                      <a:cxn ang="0">
                        <a:pos x="4526" y="1075"/>
                      </a:cxn>
                      <a:cxn ang="0">
                        <a:pos x="4005" y="1264"/>
                      </a:cxn>
                      <a:cxn ang="0">
                        <a:pos x="3815" y="1225"/>
                      </a:cxn>
                      <a:cxn ang="0">
                        <a:pos x="3367" y="807"/>
                      </a:cxn>
                      <a:cxn ang="0">
                        <a:pos x="3456" y="245"/>
                      </a:cxn>
                      <a:cxn ang="0">
                        <a:pos x="2745" y="3"/>
                      </a:cxn>
                      <a:cxn ang="0">
                        <a:pos x="2590" y="70"/>
                      </a:cxn>
                      <a:cxn ang="0">
                        <a:pos x="2416" y="615"/>
                      </a:cxn>
                      <a:cxn ang="0">
                        <a:pos x="1822" y="774"/>
                      </a:cxn>
                      <a:cxn ang="0">
                        <a:pos x="1644" y="700"/>
                      </a:cxn>
                      <a:cxn ang="0">
                        <a:pos x="1252" y="324"/>
                      </a:cxn>
                      <a:cxn ang="0">
                        <a:pos x="653" y="807"/>
                      </a:cxn>
                      <a:cxn ang="0">
                        <a:pos x="942" y="1274"/>
                      </a:cxn>
                      <a:cxn ang="0">
                        <a:pos x="960" y="1467"/>
                      </a:cxn>
                      <a:cxn ang="0">
                        <a:pos x="660" y="2003"/>
                      </a:cxn>
                      <a:cxn ang="0">
                        <a:pos x="90" y="2042"/>
                      </a:cxn>
                      <a:cxn ang="0">
                        <a:pos x="0" y="2797"/>
                      </a:cxn>
                      <a:cxn ang="0">
                        <a:pos x="86" y="2927"/>
                      </a:cxn>
                      <a:cxn ang="0">
                        <a:pos x="656" y="2972"/>
                      </a:cxn>
                      <a:cxn ang="0">
                        <a:pos x="952" y="3509"/>
                      </a:cxn>
                      <a:cxn ang="0">
                        <a:pos x="932" y="3702"/>
                      </a:cxn>
                      <a:cxn ang="0">
                        <a:pos x="640" y="4167"/>
                      </a:cxn>
                      <a:cxn ang="0">
                        <a:pos x="1235" y="4655"/>
                      </a:cxn>
                      <a:cxn ang="0">
                        <a:pos x="1630" y="4283"/>
                      </a:cxn>
                      <a:cxn ang="0">
                        <a:pos x="1809" y="4210"/>
                      </a:cxn>
                      <a:cxn ang="0">
                        <a:pos x="2403" y="4373"/>
                      </a:cxn>
                      <a:cxn ang="0">
                        <a:pos x="2574" y="4919"/>
                      </a:cxn>
                      <a:cxn ang="0">
                        <a:pos x="2728" y="4987"/>
                      </a:cxn>
                      <a:cxn ang="0">
                        <a:pos x="3441" y="4750"/>
                      </a:cxn>
                      <a:cxn ang="0">
                        <a:pos x="3356" y="4187"/>
                      </a:cxn>
                      <a:cxn ang="0">
                        <a:pos x="3806" y="3773"/>
                      </a:cxn>
                      <a:cxn ang="0">
                        <a:pos x="3997" y="3735"/>
                      </a:cxn>
                      <a:cxn ang="0">
                        <a:pos x="4516" y="3927"/>
                      </a:cxn>
                      <a:cxn ang="0">
                        <a:pos x="4871" y="3245"/>
                      </a:cxn>
                      <a:cxn ang="0">
                        <a:pos x="4421" y="2930"/>
                      </a:cxn>
                      <a:cxn ang="0">
                        <a:pos x="4317" y="2787"/>
                      </a:cxn>
                      <a:cxn ang="0">
                        <a:pos x="3788" y="2500"/>
                      </a:cxn>
                      <a:cxn ang="0">
                        <a:pos x="3728" y="2887"/>
                      </a:cxn>
                      <a:cxn ang="0">
                        <a:pos x="3545" y="3252"/>
                      </a:cxn>
                      <a:cxn ang="0">
                        <a:pos x="3261" y="3541"/>
                      </a:cxn>
                      <a:cxn ang="0">
                        <a:pos x="2899" y="3730"/>
                      </a:cxn>
                      <a:cxn ang="0">
                        <a:pos x="2481" y="3796"/>
                      </a:cxn>
                      <a:cxn ang="0">
                        <a:pos x="2093" y="3736"/>
                      </a:cxn>
                      <a:cxn ang="0">
                        <a:pos x="1728" y="3553"/>
                      </a:cxn>
                      <a:cxn ang="0">
                        <a:pos x="1439" y="3269"/>
                      </a:cxn>
                      <a:cxn ang="0">
                        <a:pos x="1250" y="2907"/>
                      </a:cxn>
                      <a:cxn ang="0">
                        <a:pos x="1184" y="2490"/>
                      </a:cxn>
                      <a:cxn ang="0">
                        <a:pos x="1244" y="2102"/>
                      </a:cxn>
                      <a:cxn ang="0">
                        <a:pos x="1427" y="1736"/>
                      </a:cxn>
                      <a:cxn ang="0">
                        <a:pos x="1711" y="1448"/>
                      </a:cxn>
                      <a:cxn ang="0">
                        <a:pos x="2073" y="1259"/>
                      </a:cxn>
                      <a:cxn ang="0">
                        <a:pos x="2492" y="1192"/>
                      </a:cxn>
                      <a:cxn ang="0">
                        <a:pos x="2878" y="1252"/>
                      </a:cxn>
                      <a:cxn ang="0">
                        <a:pos x="3244" y="1435"/>
                      </a:cxn>
                      <a:cxn ang="0">
                        <a:pos x="3532" y="1719"/>
                      </a:cxn>
                      <a:cxn ang="0">
                        <a:pos x="3721" y="2081"/>
                      </a:cxn>
                      <a:cxn ang="0">
                        <a:pos x="3788" y="2500"/>
                      </a:cxn>
                    </a:cxnLst>
                    <a:rect l="0" t="0" r="r" b="b"/>
                    <a:pathLst>
                      <a:path w="4876" h="4990">
                        <a:moveTo>
                          <a:pt x="4332" y="2502"/>
                        </a:moveTo>
                        <a:lnTo>
                          <a:pt x="4332" y="2502"/>
                        </a:lnTo>
                        <a:lnTo>
                          <a:pt x="4331" y="2455"/>
                        </a:lnTo>
                        <a:lnTo>
                          <a:pt x="4329" y="2412"/>
                        </a:lnTo>
                        <a:lnTo>
                          <a:pt x="4327" y="2373"/>
                        </a:lnTo>
                        <a:lnTo>
                          <a:pt x="4324" y="2340"/>
                        </a:lnTo>
                        <a:lnTo>
                          <a:pt x="4319" y="2291"/>
                        </a:lnTo>
                        <a:lnTo>
                          <a:pt x="4317" y="2273"/>
                        </a:lnTo>
                        <a:lnTo>
                          <a:pt x="4317" y="2273"/>
                        </a:lnTo>
                        <a:lnTo>
                          <a:pt x="4315" y="2258"/>
                        </a:lnTo>
                        <a:lnTo>
                          <a:pt x="4315" y="2243"/>
                        </a:lnTo>
                        <a:lnTo>
                          <a:pt x="4317" y="2228"/>
                        </a:lnTo>
                        <a:lnTo>
                          <a:pt x="4319" y="2213"/>
                        </a:lnTo>
                        <a:lnTo>
                          <a:pt x="4323" y="2199"/>
                        </a:lnTo>
                        <a:lnTo>
                          <a:pt x="4327" y="2184"/>
                        </a:lnTo>
                        <a:lnTo>
                          <a:pt x="4333" y="2170"/>
                        </a:lnTo>
                        <a:lnTo>
                          <a:pt x="4340" y="2156"/>
                        </a:lnTo>
                        <a:lnTo>
                          <a:pt x="4348" y="2142"/>
                        </a:lnTo>
                        <a:lnTo>
                          <a:pt x="4356" y="2130"/>
                        </a:lnTo>
                        <a:lnTo>
                          <a:pt x="4366" y="2117"/>
                        </a:lnTo>
                        <a:lnTo>
                          <a:pt x="4376" y="2106"/>
                        </a:lnTo>
                        <a:lnTo>
                          <a:pt x="4387" y="2096"/>
                        </a:lnTo>
                        <a:lnTo>
                          <a:pt x="4399" y="2087"/>
                        </a:lnTo>
                        <a:lnTo>
                          <a:pt x="4411" y="2078"/>
                        </a:lnTo>
                        <a:lnTo>
                          <a:pt x="4424" y="2071"/>
                        </a:lnTo>
                        <a:lnTo>
                          <a:pt x="4796" y="1894"/>
                        </a:lnTo>
                        <a:lnTo>
                          <a:pt x="4796" y="1894"/>
                        </a:lnTo>
                        <a:lnTo>
                          <a:pt x="4809" y="1887"/>
                        </a:lnTo>
                        <a:lnTo>
                          <a:pt x="4820" y="1879"/>
                        </a:lnTo>
                        <a:lnTo>
                          <a:pt x="4831" y="1870"/>
                        </a:lnTo>
                        <a:lnTo>
                          <a:pt x="4841" y="1860"/>
                        </a:lnTo>
                        <a:lnTo>
                          <a:pt x="4849" y="1849"/>
                        </a:lnTo>
                        <a:lnTo>
                          <a:pt x="4857" y="1838"/>
                        </a:lnTo>
                        <a:lnTo>
                          <a:pt x="4863" y="1826"/>
                        </a:lnTo>
                        <a:lnTo>
                          <a:pt x="4868" y="1813"/>
                        </a:lnTo>
                        <a:lnTo>
                          <a:pt x="4872" y="1800"/>
                        </a:lnTo>
                        <a:lnTo>
                          <a:pt x="4875" y="1787"/>
                        </a:lnTo>
                        <a:lnTo>
                          <a:pt x="4876" y="1773"/>
                        </a:lnTo>
                        <a:lnTo>
                          <a:pt x="4876" y="1759"/>
                        </a:lnTo>
                        <a:lnTo>
                          <a:pt x="4875" y="1746"/>
                        </a:lnTo>
                        <a:lnTo>
                          <a:pt x="4872" y="1732"/>
                        </a:lnTo>
                        <a:lnTo>
                          <a:pt x="4868" y="1718"/>
                        </a:lnTo>
                        <a:lnTo>
                          <a:pt x="4863" y="1705"/>
                        </a:lnTo>
                        <a:lnTo>
                          <a:pt x="4595" y="1142"/>
                        </a:lnTo>
                        <a:lnTo>
                          <a:pt x="4595" y="1142"/>
                        </a:lnTo>
                        <a:lnTo>
                          <a:pt x="4588" y="1130"/>
                        </a:lnTo>
                        <a:lnTo>
                          <a:pt x="4580" y="1118"/>
                        </a:lnTo>
                        <a:lnTo>
                          <a:pt x="4571" y="1107"/>
                        </a:lnTo>
                        <a:lnTo>
                          <a:pt x="4561" y="1097"/>
                        </a:lnTo>
                        <a:lnTo>
                          <a:pt x="4550" y="1089"/>
                        </a:lnTo>
                        <a:lnTo>
                          <a:pt x="4539" y="1081"/>
                        </a:lnTo>
                        <a:lnTo>
                          <a:pt x="4526" y="1075"/>
                        </a:lnTo>
                        <a:lnTo>
                          <a:pt x="4514" y="1070"/>
                        </a:lnTo>
                        <a:lnTo>
                          <a:pt x="4501" y="1066"/>
                        </a:lnTo>
                        <a:lnTo>
                          <a:pt x="4487" y="1063"/>
                        </a:lnTo>
                        <a:lnTo>
                          <a:pt x="4474" y="1062"/>
                        </a:lnTo>
                        <a:lnTo>
                          <a:pt x="4460" y="1062"/>
                        </a:lnTo>
                        <a:lnTo>
                          <a:pt x="4446" y="1063"/>
                        </a:lnTo>
                        <a:lnTo>
                          <a:pt x="4433" y="1066"/>
                        </a:lnTo>
                        <a:lnTo>
                          <a:pt x="4419" y="1070"/>
                        </a:lnTo>
                        <a:lnTo>
                          <a:pt x="4406" y="1075"/>
                        </a:lnTo>
                        <a:lnTo>
                          <a:pt x="4033" y="1253"/>
                        </a:lnTo>
                        <a:lnTo>
                          <a:pt x="4033" y="1253"/>
                        </a:lnTo>
                        <a:lnTo>
                          <a:pt x="4019" y="1259"/>
                        </a:lnTo>
                        <a:lnTo>
                          <a:pt x="4005" y="1264"/>
                        </a:lnTo>
                        <a:lnTo>
                          <a:pt x="3990" y="1267"/>
                        </a:lnTo>
                        <a:lnTo>
                          <a:pt x="3975" y="1269"/>
                        </a:lnTo>
                        <a:lnTo>
                          <a:pt x="3960" y="1271"/>
                        </a:lnTo>
                        <a:lnTo>
                          <a:pt x="3944" y="1271"/>
                        </a:lnTo>
                        <a:lnTo>
                          <a:pt x="3928" y="1270"/>
                        </a:lnTo>
                        <a:lnTo>
                          <a:pt x="3913" y="1267"/>
                        </a:lnTo>
                        <a:lnTo>
                          <a:pt x="3897" y="1264"/>
                        </a:lnTo>
                        <a:lnTo>
                          <a:pt x="3882" y="1260"/>
                        </a:lnTo>
                        <a:lnTo>
                          <a:pt x="3867" y="1255"/>
                        </a:lnTo>
                        <a:lnTo>
                          <a:pt x="3853" y="1249"/>
                        </a:lnTo>
                        <a:lnTo>
                          <a:pt x="3839" y="1242"/>
                        </a:lnTo>
                        <a:lnTo>
                          <a:pt x="3827" y="1234"/>
                        </a:lnTo>
                        <a:lnTo>
                          <a:pt x="3815" y="1225"/>
                        </a:lnTo>
                        <a:lnTo>
                          <a:pt x="3804" y="1215"/>
                        </a:lnTo>
                        <a:lnTo>
                          <a:pt x="3451" y="932"/>
                        </a:lnTo>
                        <a:lnTo>
                          <a:pt x="3451" y="932"/>
                        </a:lnTo>
                        <a:lnTo>
                          <a:pt x="3439" y="924"/>
                        </a:lnTo>
                        <a:lnTo>
                          <a:pt x="3428" y="914"/>
                        </a:lnTo>
                        <a:lnTo>
                          <a:pt x="3417" y="903"/>
                        </a:lnTo>
                        <a:lnTo>
                          <a:pt x="3407" y="891"/>
                        </a:lnTo>
                        <a:lnTo>
                          <a:pt x="3398" y="879"/>
                        </a:lnTo>
                        <a:lnTo>
                          <a:pt x="3390" y="865"/>
                        </a:lnTo>
                        <a:lnTo>
                          <a:pt x="3383" y="852"/>
                        </a:lnTo>
                        <a:lnTo>
                          <a:pt x="3376" y="837"/>
                        </a:lnTo>
                        <a:lnTo>
                          <a:pt x="3371" y="822"/>
                        </a:lnTo>
                        <a:lnTo>
                          <a:pt x="3367" y="807"/>
                        </a:lnTo>
                        <a:lnTo>
                          <a:pt x="3363" y="792"/>
                        </a:lnTo>
                        <a:lnTo>
                          <a:pt x="3361" y="777"/>
                        </a:lnTo>
                        <a:lnTo>
                          <a:pt x="3360" y="761"/>
                        </a:lnTo>
                        <a:lnTo>
                          <a:pt x="3360" y="746"/>
                        </a:lnTo>
                        <a:lnTo>
                          <a:pt x="3362" y="731"/>
                        </a:lnTo>
                        <a:lnTo>
                          <a:pt x="3364" y="717"/>
                        </a:lnTo>
                        <a:lnTo>
                          <a:pt x="3458" y="314"/>
                        </a:lnTo>
                        <a:lnTo>
                          <a:pt x="3458" y="314"/>
                        </a:lnTo>
                        <a:lnTo>
                          <a:pt x="3460" y="300"/>
                        </a:lnTo>
                        <a:lnTo>
                          <a:pt x="3461" y="286"/>
                        </a:lnTo>
                        <a:lnTo>
                          <a:pt x="3461" y="272"/>
                        </a:lnTo>
                        <a:lnTo>
                          <a:pt x="3459" y="258"/>
                        </a:lnTo>
                        <a:lnTo>
                          <a:pt x="3456" y="245"/>
                        </a:lnTo>
                        <a:lnTo>
                          <a:pt x="3452" y="232"/>
                        </a:lnTo>
                        <a:lnTo>
                          <a:pt x="3447" y="219"/>
                        </a:lnTo>
                        <a:lnTo>
                          <a:pt x="3440" y="207"/>
                        </a:lnTo>
                        <a:lnTo>
                          <a:pt x="3432" y="196"/>
                        </a:lnTo>
                        <a:lnTo>
                          <a:pt x="3423" y="186"/>
                        </a:lnTo>
                        <a:lnTo>
                          <a:pt x="3414" y="176"/>
                        </a:lnTo>
                        <a:lnTo>
                          <a:pt x="3403" y="168"/>
                        </a:lnTo>
                        <a:lnTo>
                          <a:pt x="3391" y="160"/>
                        </a:lnTo>
                        <a:lnTo>
                          <a:pt x="3379" y="153"/>
                        </a:lnTo>
                        <a:lnTo>
                          <a:pt x="3366" y="148"/>
                        </a:lnTo>
                        <a:lnTo>
                          <a:pt x="3352" y="144"/>
                        </a:lnTo>
                        <a:lnTo>
                          <a:pt x="2745" y="3"/>
                        </a:lnTo>
                        <a:lnTo>
                          <a:pt x="2745" y="3"/>
                        </a:lnTo>
                        <a:lnTo>
                          <a:pt x="2730" y="1"/>
                        </a:lnTo>
                        <a:lnTo>
                          <a:pt x="2716" y="0"/>
                        </a:lnTo>
                        <a:lnTo>
                          <a:pt x="2702" y="0"/>
                        </a:lnTo>
                        <a:lnTo>
                          <a:pt x="2688" y="2"/>
                        </a:lnTo>
                        <a:lnTo>
                          <a:pt x="2675" y="5"/>
                        </a:lnTo>
                        <a:lnTo>
                          <a:pt x="2662" y="9"/>
                        </a:lnTo>
                        <a:lnTo>
                          <a:pt x="2649" y="15"/>
                        </a:lnTo>
                        <a:lnTo>
                          <a:pt x="2638" y="21"/>
                        </a:lnTo>
                        <a:lnTo>
                          <a:pt x="2626" y="29"/>
                        </a:lnTo>
                        <a:lnTo>
                          <a:pt x="2616" y="38"/>
                        </a:lnTo>
                        <a:lnTo>
                          <a:pt x="2606" y="48"/>
                        </a:lnTo>
                        <a:lnTo>
                          <a:pt x="2598" y="58"/>
                        </a:lnTo>
                        <a:lnTo>
                          <a:pt x="2590" y="70"/>
                        </a:lnTo>
                        <a:lnTo>
                          <a:pt x="2584" y="82"/>
                        </a:lnTo>
                        <a:lnTo>
                          <a:pt x="2578" y="96"/>
                        </a:lnTo>
                        <a:lnTo>
                          <a:pt x="2574" y="110"/>
                        </a:lnTo>
                        <a:lnTo>
                          <a:pt x="2481" y="512"/>
                        </a:lnTo>
                        <a:lnTo>
                          <a:pt x="2481" y="512"/>
                        </a:lnTo>
                        <a:lnTo>
                          <a:pt x="2477" y="526"/>
                        </a:lnTo>
                        <a:lnTo>
                          <a:pt x="2472" y="540"/>
                        </a:lnTo>
                        <a:lnTo>
                          <a:pt x="2465" y="554"/>
                        </a:lnTo>
                        <a:lnTo>
                          <a:pt x="2457" y="567"/>
                        </a:lnTo>
                        <a:lnTo>
                          <a:pt x="2448" y="580"/>
                        </a:lnTo>
                        <a:lnTo>
                          <a:pt x="2438" y="592"/>
                        </a:lnTo>
                        <a:lnTo>
                          <a:pt x="2428" y="604"/>
                        </a:lnTo>
                        <a:lnTo>
                          <a:pt x="2416" y="615"/>
                        </a:lnTo>
                        <a:lnTo>
                          <a:pt x="2404" y="625"/>
                        </a:lnTo>
                        <a:lnTo>
                          <a:pt x="2392" y="634"/>
                        </a:lnTo>
                        <a:lnTo>
                          <a:pt x="2378" y="643"/>
                        </a:lnTo>
                        <a:lnTo>
                          <a:pt x="2365" y="650"/>
                        </a:lnTo>
                        <a:lnTo>
                          <a:pt x="2351" y="656"/>
                        </a:lnTo>
                        <a:lnTo>
                          <a:pt x="2336" y="661"/>
                        </a:lnTo>
                        <a:lnTo>
                          <a:pt x="2322" y="665"/>
                        </a:lnTo>
                        <a:lnTo>
                          <a:pt x="2308" y="668"/>
                        </a:lnTo>
                        <a:lnTo>
                          <a:pt x="1866" y="766"/>
                        </a:lnTo>
                        <a:lnTo>
                          <a:pt x="1866" y="766"/>
                        </a:lnTo>
                        <a:lnTo>
                          <a:pt x="1852" y="770"/>
                        </a:lnTo>
                        <a:lnTo>
                          <a:pt x="1837" y="772"/>
                        </a:lnTo>
                        <a:lnTo>
                          <a:pt x="1822" y="774"/>
                        </a:lnTo>
                        <a:lnTo>
                          <a:pt x="1807" y="774"/>
                        </a:lnTo>
                        <a:lnTo>
                          <a:pt x="1792" y="774"/>
                        </a:lnTo>
                        <a:lnTo>
                          <a:pt x="1776" y="772"/>
                        </a:lnTo>
                        <a:lnTo>
                          <a:pt x="1761" y="769"/>
                        </a:lnTo>
                        <a:lnTo>
                          <a:pt x="1745" y="765"/>
                        </a:lnTo>
                        <a:lnTo>
                          <a:pt x="1730" y="760"/>
                        </a:lnTo>
                        <a:lnTo>
                          <a:pt x="1716" y="754"/>
                        </a:lnTo>
                        <a:lnTo>
                          <a:pt x="1702" y="747"/>
                        </a:lnTo>
                        <a:lnTo>
                          <a:pt x="1689" y="739"/>
                        </a:lnTo>
                        <a:lnTo>
                          <a:pt x="1676" y="730"/>
                        </a:lnTo>
                        <a:lnTo>
                          <a:pt x="1664" y="721"/>
                        </a:lnTo>
                        <a:lnTo>
                          <a:pt x="1654" y="711"/>
                        </a:lnTo>
                        <a:lnTo>
                          <a:pt x="1644" y="700"/>
                        </a:lnTo>
                        <a:lnTo>
                          <a:pt x="1387" y="375"/>
                        </a:lnTo>
                        <a:lnTo>
                          <a:pt x="1387" y="375"/>
                        </a:lnTo>
                        <a:lnTo>
                          <a:pt x="1378" y="365"/>
                        </a:lnTo>
                        <a:lnTo>
                          <a:pt x="1368" y="355"/>
                        </a:lnTo>
                        <a:lnTo>
                          <a:pt x="1356" y="346"/>
                        </a:lnTo>
                        <a:lnTo>
                          <a:pt x="1345" y="339"/>
                        </a:lnTo>
                        <a:lnTo>
                          <a:pt x="1332" y="333"/>
                        </a:lnTo>
                        <a:lnTo>
                          <a:pt x="1319" y="328"/>
                        </a:lnTo>
                        <a:lnTo>
                          <a:pt x="1306" y="325"/>
                        </a:lnTo>
                        <a:lnTo>
                          <a:pt x="1293" y="323"/>
                        </a:lnTo>
                        <a:lnTo>
                          <a:pt x="1279" y="322"/>
                        </a:lnTo>
                        <a:lnTo>
                          <a:pt x="1265" y="322"/>
                        </a:lnTo>
                        <a:lnTo>
                          <a:pt x="1252" y="324"/>
                        </a:lnTo>
                        <a:lnTo>
                          <a:pt x="1238" y="327"/>
                        </a:lnTo>
                        <a:lnTo>
                          <a:pt x="1225" y="331"/>
                        </a:lnTo>
                        <a:lnTo>
                          <a:pt x="1213" y="337"/>
                        </a:lnTo>
                        <a:lnTo>
                          <a:pt x="1200" y="344"/>
                        </a:lnTo>
                        <a:lnTo>
                          <a:pt x="1188" y="352"/>
                        </a:lnTo>
                        <a:lnTo>
                          <a:pt x="700" y="739"/>
                        </a:lnTo>
                        <a:lnTo>
                          <a:pt x="700" y="739"/>
                        </a:lnTo>
                        <a:lnTo>
                          <a:pt x="689" y="748"/>
                        </a:lnTo>
                        <a:lnTo>
                          <a:pt x="679" y="759"/>
                        </a:lnTo>
                        <a:lnTo>
                          <a:pt x="671" y="770"/>
                        </a:lnTo>
                        <a:lnTo>
                          <a:pt x="664" y="782"/>
                        </a:lnTo>
                        <a:lnTo>
                          <a:pt x="658" y="794"/>
                        </a:lnTo>
                        <a:lnTo>
                          <a:pt x="653" y="807"/>
                        </a:lnTo>
                        <a:lnTo>
                          <a:pt x="649" y="820"/>
                        </a:lnTo>
                        <a:lnTo>
                          <a:pt x="647" y="834"/>
                        </a:lnTo>
                        <a:lnTo>
                          <a:pt x="646" y="847"/>
                        </a:lnTo>
                        <a:lnTo>
                          <a:pt x="647" y="861"/>
                        </a:lnTo>
                        <a:lnTo>
                          <a:pt x="648" y="874"/>
                        </a:lnTo>
                        <a:lnTo>
                          <a:pt x="651" y="888"/>
                        </a:lnTo>
                        <a:lnTo>
                          <a:pt x="656" y="901"/>
                        </a:lnTo>
                        <a:lnTo>
                          <a:pt x="661" y="914"/>
                        </a:lnTo>
                        <a:lnTo>
                          <a:pt x="668" y="926"/>
                        </a:lnTo>
                        <a:lnTo>
                          <a:pt x="677" y="938"/>
                        </a:lnTo>
                        <a:lnTo>
                          <a:pt x="933" y="1262"/>
                        </a:lnTo>
                        <a:lnTo>
                          <a:pt x="933" y="1262"/>
                        </a:lnTo>
                        <a:lnTo>
                          <a:pt x="942" y="1274"/>
                        </a:lnTo>
                        <a:lnTo>
                          <a:pt x="950" y="1287"/>
                        </a:lnTo>
                        <a:lnTo>
                          <a:pt x="956" y="1301"/>
                        </a:lnTo>
                        <a:lnTo>
                          <a:pt x="962" y="1315"/>
                        </a:lnTo>
                        <a:lnTo>
                          <a:pt x="966" y="1330"/>
                        </a:lnTo>
                        <a:lnTo>
                          <a:pt x="970" y="1345"/>
                        </a:lnTo>
                        <a:lnTo>
                          <a:pt x="972" y="1361"/>
                        </a:lnTo>
                        <a:lnTo>
                          <a:pt x="974" y="1376"/>
                        </a:lnTo>
                        <a:lnTo>
                          <a:pt x="974" y="1392"/>
                        </a:lnTo>
                        <a:lnTo>
                          <a:pt x="973" y="1408"/>
                        </a:lnTo>
                        <a:lnTo>
                          <a:pt x="971" y="1423"/>
                        </a:lnTo>
                        <a:lnTo>
                          <a:pt x="969" y="1438"/>
                        </a:lnTo>
                        <a:lnTo>
                          <a:pt x="965" y="1453"/>
                        </a:lnTo>
                        <a:lnTo>
                          <a:pt x="960" y="1467"/>
                        </a:lnTo>
                        <a:lnTo>
                          <a:pt x="954" y="1481"/>
                        </a:lnTo>
                        <a:lnTo>
                          <a:pt x="947" y="1494"/>
                        </a:lnTo>
                        <a:lnTo>
                          <a:pt x="749" y="1901"/>
                        </a:lnTo>
                        <a:lnTo>
                          <a:pt x="749" y="1901"/>
                        </a:lnTo>
                        <a:lnTo>
                          <a:pt x="744" y="1914"/>
                        </a:lnTo>
                        <a:lnTo>
                          <a:pt x="737" y="1927"/>
                        </a:lnTo>
                        <a:lnTo>
                          <a:pt x="728" y="1940"/>
                        </a:lnTo>
                        <a:lnTo>
                          <a:pt x="719" y="1952"/>
                        </a:lnTo>
                        <a:lnTo>
                          <a:pt x="709" y="1964"/>
                        </a:lnTo>
                        <a:lnTo>
                          <a:pt x="698" y="1975"/>
                        </a:lnTo>
                        <a:lnTo>
                          <a:pt x="686" y="1985"/>
                        </a:lnTo>
                        <a:lnTo>
                          <a:pt x="673" y="1994"/>
                        </a:lnTo>
                        <a:lnTo>
                          <a:pt x="660" y="2003"/>
                        </a:lnTo>
                        <a:lnTo>
                          <a:pt x="646" y="2010"/>
                        </a:lnTo>
                        <a:lnTo>
                          <a:pt x="632" y="2017"/>
                        </a:lnTo>
                        <a:lnTo>
                          <a:pt x="617" y="2023"/>
                        </a:lnTo>
                        <a:lnTo>
                          <a:pt x="603" y="2027"/>
                        </a:lnTo>
                        <a:lnTo>
                          <a:pt x="588" y="2030"/>
                        </a:lnTo>
                        <a:lnTo>
                          <a:pt x="573" y="2032"/>
                        </a:lnTo>
                        <a:lnTo>
                          <a:pt x="558" y="2033"/>
                        </a:lnTo>
                        <a:lnTo>
                          <a:pt x="145" y="2031"/>
                        </a:lnTo>
                        <a:lnTo>
                          <a:pt x="145" y="2031"/>
                        </a:lnTo>
                        <a:lnTo>
                          <a:pt x="130" y="2032"/>
                        </a:lnTo>
                        <a:lnTo>
                          <a:pt x="116" y="2034"/>
                        </a:lnTo>
                        <a:lnTo>
                          <a:pt x="103" y="2037"/>
                        </a:lnTo>
                        <a:lnTo>
                          <a:pt x="90" y="2042"/>
                        </a:lnTo>
                        <a:lnTo>
                          <a:pt x="77" y="2048"/>
                        </a:lnTo>
                        <a:lnTo>
                          <a:pt x="65" y="2055"/>
                        </a:lnTo>
                        <a:lnTo>
                          <a:pt x="55" y="2063"/>
                        </a:lnTo>
                        <a:lnTo>
                          <a:pt x="44" y="2072"/>
                        </a:lnTo>
                        <a:lnTo>
                          <a:pt x="35" y="2083"/>
                        </a:lnTo>
                        <a:lnTo>
                          <a:pt x="27" y="2093"/>
                        </a:lnTo>
                        <a:lnTo>
                          <a:pt x="20" y="2105"/>
                        </a:lnTo>
                        <a:lnTo>
                          <a:pt x="14" y="2117"/>
                        </a:lnTo>
                        <a:lnTo>
                          <a:pt x="9" y="2130"/>
                        </a:lnTo>
                        <a:lnTo>
                          <a:pt x="5" y="2144"/>
                        </a:lnTo>
                        <a:lnTo>
                          <a:pt x="3" y="2158"/>
                        </a:lnTo>
                        <a:lnTo>
                          <a:pt x="2" y="2172"/>
                        </a:lnTo>
                        <a:lnTo>
                          <a:pt x="0" y="2797"/>
                        </a:lnTo>
                        <a:lnTo>
                          <a:pt x="0" y="2797"/>
                        </a:lnTo>
                        <a:lnTo>
                          <a:pt x="1" y="2811"/>
                        </a:lnTo>
                        <a:lnTo>
                          <a:pt x="3" y="2825"/>
                        </a:lnTo>
                        <a:lnTo>
                          <a:pt x="6" y="2839"/>
                        </a:lnTo>
                        <a:lnTo>
                          <a:pt x="11" y="2852"/>
                        </a:lnTo>
                        <a:lnTo>
                          <a:pt x="17" y="2864"/>
                        </a:lnTo>
                        <a:lnTo>
                          <a:pt x="24" y="2876"/>
                        </a:lnTo>
                        <a:lnTo>
                          <a:pt x="32" y="2887"/>
                        </a:lnTo>
                        <a:lnTo>
                          <a:pt x="41" y="2897"/>
                        </a:lnTo>
                        <a:lnTo>
                          <a:pt x="51" y="2906"/>
                        </a:lnTo>
                        <a:lnTo>
                          <a:pt x="62" y="2914"/>
                        </a:lnTo>
                        <a:lnTo>
                          <a:pt x="74" y="2921"/>
                        </a:lnTo>
                        <a:lnTo>
                          <a:pt x="86" y="2927"/>
                        </a:lnTo>
                        <a:lnTo>
                          <a:pt x="99" y="2932"/>
                        </a:lnTo>
                        <a:lnTo>
                          <a:pt x="113" y="2936"/>
                        </a:lnTo>
                        <a:lnTo>
                          <a:pt x="127" y="2938"/>
                        </a:lnTo>
                        <a:lnTo>
                          <a:pt x="141" y="2939"/>
                        </a:lnTo>
                        <a:lnTo>
                          <a:pt x="555" y="2941"/>
                        </a:lnTo>
                        <a:lnTo>
                          <a:pt x="555" y="2941"/>
                        </a:lnTo>
                        <a:lnTo>
                          <a:pt x="570" y="2941"/>
                        </a:lnTo>
                        <a:lnTo>
                          <a:pt x="584" y="2944"/>
                        </a:lnTo>
                        <a:lnTo>
                          <a:pt x="599" y="2947"/>
                        </a:lnTo>
                        <a:lnTo>
                          <a:pt x="614" y="2951"/>
                        </a:lnTo>
                        <a:lnTo>
                          <a:pt x="628" y="2957"/>
                        </a:lnTo>
                        <a:lnTo>
                          <a:pt x="642" y="2964"/>
                        </a:lnTo>
                        <a:lnTo>
                          <a:pt x="656" y="2972"/>
                        </a:lnTo>
                        <a:lnTo>
                          <a:pt x="669" y="2980"/>
                        </a:lnTo>
                        <a:lnTo>
                          <a:pt x="682" y="2990"/>
                        </a:lnTo>
                        <a:lnTo>
                          <a:pt x="694" y="3000"/>
                        </a:lnTo>
                        <a:lnTo>
                          <a:pt x="705" y="3011"/>
                        </a:lnTo>
                        <a:lnTo>
                          <a:pt x="715" y="3023"/>
                        </a:lnTo>
                        <a:lnTo>
                          <a:pt x="724" y="3035"/>
                        </a:lnTo>
                        <a:lnTo>
                          <a:pt x="732" y="3048"/>
                        </a:lnTo>
                        <a:lnTo>
                          <a:pt x="739" y="3061"/>
                        </a:lnTo>
                        <a:lnTo>
                          <a:pt x="745" y="3075"/>
                        </a:lnTo>
                        <a:lnTo>
                          <a:pt x="939" y="3482"/>
                        </a:lnTo>
                        <a:lnTo>
                          <a:pt x="939" y="3482"/>
                        </a:lnTo>
                        <a:lnTo>
                          <a:pt x="946" y="3495"/>
                        </a:lnTo>
                        <a:lnTo>
                          <a:pt x="952" y="3509"/>
                        </a:lnTo>
                        <a:lnTo>
                          <a:pt x="956" y="3523"/>
                        </a:lnTo>
                        <a:lnTo>
                          <a:pt x="960" y="3538"/>
                        </a:lnTo>
                        <a:lnTo>
                          <a:pt x="963" y="3553"/>
                        </a:lnTo>
                        <a:lnTo>
                          <a:pt x="964" y="3569"/>
                        </a:lnTo>
                        <a:lnTo>
                          <a:pt x="965" y="3585"/>
                        </a:lnTo>
                        <a:lnTo>
                          <a:pt x="965" y="3600"/>
                        </a:lnTo>
                        <a:lnTo>
                          <a:pt x="963" y="3616"/>
                        </a:lnTo>
                        <a:lnTo>
                          <a:pt x="960" y="3632"/>
                        </a:lnTo>
                        <a:lnTo>
                          <a:pt x="957" y="3647"/>
                        </a:lnTo>
                        <a:lnTo>
                          <a:pt x="952" y="3661"/>
                        </a:lnTo>
                        <a:lnTo>
                          <a:pt x="947" y="3676"/>
                        </a:lnTo>
                        <a:lnTo>
                          <a:pt x="940" y="3689"/>
                        </a:lnTo>
                        <a:lnTo>
                          <a:pt x="932" y="3702"/>
                        </a:lnTo>
                        <a:lnTo>
                          <a:pt x="924" y="3714"/>
                        </a:lnTo>
                        <a:lnTo>
                          <a:pt x="664" y="4036"/>
                        </a:lnTo>
                        <a:lnTo>
                          <a:pt x="664" y="4036"/>
                        </a:lnTo>
                        <a:lnTo>
                          <a:pt x="656" y="4048"/>
                        </a:lnTo>
                        <a:lnTo>
                          <a:pt x="649" y="4060"/>
                        </a:lnTo>
                        <a:lnTo>
                          <a:pt x="643" y="4073"/>
                        </a:lnTo>
                        <a:lnTo>
                          <a:pt x="639" y="4086"/>
                        </a:lnTo>
                        <a:lnTo>
                          <a:pt x="636" y="4100"/>
                        </a:lnTo>
                        <a:lnTo>
                          <a:pt x="634" y="4113"/>
                        </a:lnTo>
                        <a:lnTo>
                          <a:pt x="633" y="4127"/>
                        </a:lnTo>
                        <a:lnTo>
                          <a:pt x="634" y="4141"/>
                        </a:lnTo>
                        <a:lnTo>
                          <a:pt x="636" y="4154"/>
                        </a:lnTo>
                        <a:lnTo>
                          <a:pt x="640" y="4167"/>
                        </a:lnTo>
                        <a:lnTo>
                          <a:pt x="644" y="4180"/>
                        </a:lnTo>
                        <a:lnTo>
                          <a:pt x="650" y="4192"/>
                        </a:lnTo>
                        <a:lnTo>
                          <a:pt x="657" y="4204"/>
                        </a:lnTo>
                        <a:lnTo>
                          <a:pt x="666" y="4216"/>
                        </a:lnTo>
                        <a:lnTo>
                          <a:pt x="675" y="4226"/>
                        </a:lnTo>
                        <a:lnTo>
                          <a:pt x="686" y="4236"/>
                        </a:lnTo>
                        <a:lnTo>
                          <a:pt x="1172" y="4626"/>
                        </a:lnTo>
                        <a:lnTo>
                          <a:pt x="1172" y="4626"/>
                        </a:lnTo>
                        <a:lnTo>
                          <a:pt x="1183" y="4634"/>
                        </a:lnTo>
                        <a:lnTo>
                          <a:pt x="1196" y="4642"/>
                        </a:lnTo>
                        <a:lnTo>
                          <a:pt x="1208" y="4647"/>
                        </a:lnTo>
                        <a:lnTo>
                          <a:pt x="1221" y="4652"/>
                        </a:lnTo>
                        <a:lnTo>
                          <a:pt x="1235" y="4655"/>
                        </a:lnTo>
                        <a:lnTo>
                          <a:pt x="1248" y="4657"/>
                        </a:lnTo>
                        <a:lnTo>
                          <a:pt x="1262" y="4657"/>
                        </a:lnTo>
                        <a:lnTo>
                          <a:pt x="1276" y="4656"/>
                        </a:lnTo>
                        <a:lnTo>
                          <a:pt x="1289" y="4654"/>
                        </a:lnTo>
                        <a:lnTo>
                          <a:pt x="1302" y="4651"/>
                        </a:lnTo>
                        <a:lnTo>
                          <a:pt x="1315" y="4646"/>
                        </a:lnTo>
                        <a:lnTo>
                          <a:pt x="1328" y="4640"/>
                        </a:lnTo>
                        <a:lnTo>
                          <a:pt x="1339" y="4633"/>
                        </a:lnTo>
                        <a:lnTo>
                          <a:pt x="1351" y="4625"/>
                        </a:lnTo>
                        <a:lnTo>
                          <a:pt x="1361" y="4615"/>
                        </a:lnTo>
                        <a:lnTo>
                          <a:pt x="1371" y="4604"/>
                        </a:lnTo>
                        <a:lnTo>
                          <a:pt x="1630" y="4283"/>
                        </a:lnTo>
                        <a:lnTo>
                          <a:pt x="1630" y="4283"/>
                        </a:lnTo>
                        <a:lnTo>
                          <a:pt x="1639" y="4272"/>
                        </a:lnTo>
                        <a:lnTo>
                          <a:pt x="1650" y="4262"/>
                        </a:lnTo>
                        <a:lnTo>
                          <a:pt x="1662" y="4252"/>
                        </a:lnTo>
                        <a:lnTo>
                          <a:pt x="1675" y="4244"/>
                        </a:lnTo>
                        <a:lnTo>
                          <a:pt x="1688" y="4236"/>
                        </a:lnTo>
                        <a:lnTo>
                          <a:pt x="1702" y="4229"/>
                        </a:lnTo>
                        <a:lnTo>
                          <a:pt x="1717" y="4223"/>
                        </a:lnTo>
                        <a:lnTo>
                          <a:pt x="1732" y="4219"/>
                        </a:lnTo>
                        <a:lnTo>
                          <a:pt x="1747" y="4215"/>
                        </a:lnTo>
                        <a:lnTo>
                          <a:pt x="1762" y="4212"/>
                        </a:lnTo>
                        <a:lnTo>
                          <a:pt x="1778" y="4210"/>
                        </a:lnTo>
                        <a:lnTo>
                          <a:pt x="1793" y="4210"/>
                        </a:lnTo>
                        <a:lnTo>
                          <a:pt x="1809" y="4210"/>
                        </a:lnTo>
                        <a:lnTo>
                          <a:pt x="1824" y="4212"/>
                        </a:lnTo>
                        <a:lnTo>
                          <a:pt x="1838" y="4215"/>
                        </a:lnTo>
                        <a:lnTo>
                          <a:pt x="1852" y="4219"/>
                        </a:lnTo>
                        <a:lnTo>
                          <a:pt x="2295" y="4319"/>
                        </a:lnTo>
                        <a:lnTo>
                          <a:pt x="2295" y="4319"/>
                        </a:lnTo>
                        <a:lnTo>
                          <a:pt x="2309" y="4322"/>
                        </a:lnTo>
                        <a:lnTo>
                          <a:pt x="2324" y="4326"/>
                        </a:lnTo>
                        <a:lnTo>
                          <a:pt x="2338" y="4331"/>
                        </a:lnTo>
                        <a:lnTo>
                          <a:pt x="2352" y="4337"/>
                        </a:lnTo>
                        <a:lnTo>
                          <a:pt x="2366" y="4345"/>
                        </a:lnTo>
                        <a:lnTo>
                          <a:pt x="2379" y="4353"/>
                        </a:lnTo>
                        <a:lnTo>
                          <a:pt x="2391" y="4363"/>
                        </a:lnTo>
                        <a:lnTo>
                          <a:pt x="2403" y="4373"/>
                        </a:lnTo>
                        <a:lnTo>
                          <a:pt x="2415" y="4384"/>
                        </a:lnTo>
                        <a:lnTo>
                          <a:pt x="2425" y="4396"/>
                        </a:lnTo>
                        <a:lnTo>
                          <a:pt x="2435" y="4408"/>
                        </a:lnTo>
                        <a:lnTo>
                          <a:pt x="2443" y="4421"/>
                        </a:lnTo>
                        <a:lnTo>
                          <a:pt x="2451" y="4434"/>
                        </a:lnTo>
                        <a:lnTo>
                          <a:pt x="2457" y="4448"/>
                        </a:lnTo>
                        <a:lnTo>
                          <a:pt x="2464" y="4462"/>
                        </a:lnTo>
                        <a:lnTo>
                          <a:pt x="2468" y="4476"/>
                        </a:lnTo>
                        <a:lnTo>
                          <a:pt x="2558" y="4880"/>
                        </a:lnTo>
                        <a:lnTo>
                          <a:pt x="2558" y="4880"/>
                        </a:lnTo>
                        <a:lnTo>
                          <a:pt x="2562" y="4894"/>
                        </a:lnTo>
                        <a:lnTo>
                          <a:pt x="2567" y="4907"/>
                        </a:lnTo>
                        <a:lnTo>
                          <a:pt x="2574" y="4919"/>
                        </a:lnTo>
                        <a:lnTo>
                          <a:pt x="2581" y="4931"/>
                        </a:lnTo>
                        <a:lnTo>
                          <a:pt x="2590" y="4942"/>
                        </a:lnTo>
                        <a:lnTo>
                          <a:pt x="2600" y="4952"/>
                        </a:lnTo>
                        <a:lnTo>
                          <a:pt x="2610" y="4960"/>
                        </a:lnTo>
                        <a:lnTo>
                          <a:pt x="2621" y="4968"/>
                        </a:lnTo>
                        <a:lnTo>
                          <a:pt x="2633" y="4975"/>
                        </a:lnTo>
                        <a:lnTo>
                          <a:pt x="2645" y="4981"/>
                        </a:lnTo>
                        <a:lnTo>
                          <a:pt x="2658" y="4985"/>
                        </a:lnTo>
                        <a:lnTo>
                          <a:pt x="2672" y="4988"/>
                        </a:lnTo>
                        <a:lnTo>
                          <a:pt x="2685" y="4990"/>
                        </a:lnTo>
                        <a:lnTo>
                          <a:pt x="2699" y="4990"/>
                        </a:lnTo>
                        <a:lnTo>
                          <a:pt x="2714" y="4989"/>
                        </a:lnTo>
                        <a:lnTo>
                          <a:pt x="2728" y="4987"/>
                        </a:lnTo>
                        <a:lnTo>
                          <a:pt x="3336" y="4850"/>
                        </a:lnTo>
                        <a:lnTo>
                          <a:pt x="3336" y="4850"/>
                        </a:lnTo>
                        <a:lnTo>
                          <a:pt x="3350" y="4846"/>
                        </a:lnTo>
                        <a:lnTo>
                          <a:pt x="3363" y="4841"/>
                        </a:lnTo>
                        <a:lnTo>
                          <a:pt x="3376" y="4835"/>
                        </a:lnTo>
                        <a:lnTo>
                          <a:pt x="3387" y="4827"/>
                        </a:lnTo>
                        <a:lnTo>
                          <a:pt x="3398" y="4819"/>
                        </a:lnTo>
                        <a:lnTo>
                          <a:pt x="3408" y="4809"/>
                        </a:lnTo>
                        <a:lnTo>
                          <a:pt x="3417" y="4799"/>
                        </a:lnTo>
                        <a:lnTo>
                          <a:pt x="3425" y="4787"/>
                        </a:lnTo>
                        <a:lnTo>
                          <a:pt x="3431" y="4776"/>
                        </a:lnTo>
                        <a:lnTo>
                          <a:pt x="3437" y="4763"/>
                        </a:lnTo>
                        <a:lnTo>
                          <a:pt x="3441" y="4750"/>
                        </a:lnTo>
                        <a:lnTo>
                          <a:pt x="3444" y="4737"/>
                        </a:lnTo>
                        <a:lnTo>
                          <a:pt x="3446" y="4723"/>
                        </a:lnTo>
                        <a:lnTo>
                          <a:pt x="3447" y="4709"/>
                        </a:lnTo>
                        <a:lnTo>
                          <a:pt x="3446" y="4695"/>
                        </a:lnTo>
                        <a:lnTo>
                          <a:pt x="3443" y="4681"/>
                        </a:lnTo>
                        <a:lnTo>
                          <a:pt x="3352" y="4278"/>
                        </a:lnTo>
                        <a:lnTo>
                          <a:pt x="3352" y="4278"/>
                        </a:lnTo>
                        <a:lnTo>
                          <a:pt x="3350" y="4263"/>
                        </a:lnTo>
                        <a:lnTo>
                          <a:pt x="3349" y="4248"/>
                        </a:lnTo>
                        <a:lnTo>
                          <a:pt x="3349" y="4233"/>
                        </a:lnTo>
                        <a:lnTo>
                          <a:pt x="3350" y="4218"/>
                        </a:lnTo>
                        <a:lnTo>
                          <a:pt x="3352" y="4203"/>
                        </a:lnTo>
                        <a:lnTo>
                          <a:pt x="3356" y="4187"/>
                        </a:lnTo>
                        <a:lnTo>
                          <a:pt x="3360" y="4172"/>
                        </a:lnTo>
                        <a:lnTo>
                          <a:pt x="3366" y="4158"/>
                        </a:lnTo>
                        <a:lnTo>
                          <a:pt x="3372" y="4143"/>
                        </a:lnTo>
                        <a:lnTo>
                          <a:pt x="3379" y="4129"/>
                        </a:lnTo>
                        <a:lnTo>
                          <a:pt x="3388" y="4116"/>
                        </a:lnTo>
                        <a:lnTo>
                          <a:pt x="3397" y="4103"/>
                        </a:lnTo>
                        <a:lnTo>
                          <a:pt x="3407" y="4092"/>
                        </a:lnTo>
                        <a:lnTo>
                          <a:pt x="3417" y="4081"/>
                        </a:lnTo>
                        <a:lnTo>
                          <a:pt x="3429" y="4071"/>
                        </a:lnTo>
                        <a:lnTo>
                          <a:pt x="3441" y="4063"/>
                        </a:lnTo>
                        <a:lnTo>
                          <a:pt x="3795" y="3783"/>
                        </a:lnTo>
                        <a:lnTo>
                          <a:pt x="3795" y="3783"/>
                        </a:lnTo>
                        <a:lnTo>
                          <a:pt x="3806" y="3773"/>
                        </a:lnTo>
                        <a:lnTo>
                          <a:pt x="3818" y="3764"/>
                        </a:lnTo>
                        <a:lnTo>
                          <a:pt x="3831" y="3756"/>
                        </a:lnTo>
                        <a:lnTo>
                          <a:pt x="3845" y="3749"/>
                        </a:lnTo>
                        <a:lnTo>
                          <a:pt x="3859" y="3743"/>
                        </a:lnTo>
                        <a:lnTo>
                          <a:pt x="3874" y="3738"/>
                        </a:lnTo>
                        <a:lnTo>
                          <a:pt x="3889" y="3734"/>
                        </a:lnTo>
                        <a:lnTo>
                          <a:pt x="3905" y="3731"/>
                        </a:lnTo>
                        <a:lnTo>
                          <a:pt x="3920" y="3729"/>
                        </a:lnTo>
                        <a:lnTo>
                          <a:pt x="3936" y="3728"/>
                        </a:lnTo>
                        <a:lnTo>
                          <a:pt x="3952" y="3728"/>
                        </a:lnTo>
                        <a:lnTo>
                          <a:pt x="3967" y="3730"/>
                        </a:lnTo>
                        <a:lnTo>
                          <a:pt x="3982" y="3732"/>
                        </a:lnTo>
                        <a:lnTo>
                          <a:pt x="3997" y="3735"/>
                        </a:lnTo>
                        <a:lnTo>
                          <a:pt x="4011" y="3740"/>
                        </a:lnTo>
                        <a:lnTo>
                          <a:pt x="4024" y="3746"/>
                        </a:lnTo>
                        <a:lnTo>
                          <a:pt x="4396" y="3926"/>
                        </a:lnTo>
                        <a:lnTo>
                          <a:pt x="4396" y="3926"/>
                        </a:lnTo>
                        <a:lnTo>
                          <a:pt x="4409" y="3932"/>
                        </a:lnTo>
                        <a:lnTo>
                          <a:pt x="4423" y="3936"/>
                        </a:lnTo>
                        <a:lnTo>
                          <a:pt x="4436" y="3939"/>
                        </a:lnTo>
                        <a:lnTo>
                          <a:pt x="4450" y="3940"/>
                        </a:lnTo>
                        <a:lnTo>
                          <a:pt x="4464" y="3940"/>
                        </a:lnTo>
                        <a:lnTo>
                          <a:pt x="4477" y="3939"/>
                        </a:lnTo>
                        <a:lnTo>
                          <a:pt x="4491" y="3936"/>
                        </a:lnTo>
                        <a:lnTo>
                          <a:pt x="4504" y="3932"/>
                        </a:lnTo>
                        <a:lnTo>
                          <a:pt x="4516" y="3927"/>
                        </a:lnTo>
                        <a:lnTo>
                          <a:pt x="4529" y="3921"/>
                        </a:lnTo>
                        <a:lnTo>
                          <a:pt x="4540" y="3914"/>
                        </a:lnTo>
                        <a:lnTo>
                          <a:pt x="4551" y="3905"/>
                        </a:lnTo>
                        <a:lnTo>
                          <a:pt x="4561" y="3896"/>
                        </a:lnTo>
                        <a:lnTo>
                          <a:pt x="4570" y="3885"/>
                        </a:lnTo>
                        <a:lnTo>
                          <a:pt x="4578" y="3873"/>
                        </a:lnTo>
                        <a:lnTo>
                          <a:pt x="4585" y="3860"/>
                        </a:lnTo>
                        <a:lnTo>
                          <a:pt x="4857" y="3300"/>
                        </a:lnTo>
                        <a:lnTo>
                          <a:pt x="4857" y="3300"/>
                        </a:lnTo>
                        <a:lnTo>
                          <a:pt x="4863" y="3286"/>
                        </a:lnTo>
                        <a:lnTo>
                          <a:pt x="4867" y="3273"/>
                        </a:lnTo>
                        <a:lnTo>
                          <a:pt x="4870" y="3259"/>
                        </a:lnTo>
                        <a:lnTo>
                          <a:pt x="4871" y="3245"/>
                        </a:lnTo>
                        <a:lnTo>
                          <a:pt x="4872" y="3231"/>
                        </a:lnTo>
                        <a:lnTo>
                          <a:pt x="4870" y="3218"/>
                        </a:lnTo>
                        <a:lnTo>
                          <a:pt x="4868" y="3204"/>
                        </a:lnTo>
                        <a:lnTo>
                          <a:pt x="4864" y="3191"/>
                        </a:lnTo>
                        <a:lnTo>
                          <a:pt x="4859" y="3179"/>
                        </a:lnTo>
                        <a:lnTo>
                          <a:pt x="4853" y="3167"/>
                        </a:lnTo>
                        <a:lnTo>
                          <a:pt x="4845" y="3155"/>
                        </a:lnTo>
                        <a:lnTo>
                          <a:pt x="4837" y="3144"/>
                        </a:lnTo>
                        <a:lnTo>
                          <a:pt x="4827" y="3134"/>
                        </a:lnTo>
                        <a:lnTo>
                          <a:pt x="4816" y="3125"/>
                        </a:lnTo>
                        <a:lnTo>
                          <a:pt x="4805" y="3117"/>
                        </a:lnTo>
                        <a:lnTo>
                          <a:pt x="4792" y="3110"/>
                        </a:lnTo>
                        <a:lnTo>
                          <a:pt x="4421" y="2930"/>
                        </a:lnTo>
                        <a:lnTo>
                          <a:pt x="4421" y="2930"/>
                        </a:lnTo>
                        <a:lnTo>
                          <a:pt x="4408" y="2923"/>
                        </a:lnTo>
                        <a:lnTo>
                          <a:pt x="4396" y="2915"/>
                        </a:lnTo>
                        <a:lnTo>
                          <a:pt x="4384" y="2905"/>
                        </a:lnTo>
                        <a:lnTo>
                          <a:pt x="4373" y="2895"/>
                        </a:lnTo>
                        <a:lnTo>
                          <a:pt x="4363" y="2884"/>
                        </a:lnTo>
                        <a:lnTo>
                          <a:pt x="4354" y="2872"/>
                        </a:lnTo>
                        <a:lnTo>
                          <a:pt x="4345" y="2859"/>
                        </a:lnTo>
                        <a:lnTo>
                          <a:pt x="4338" y="2845"/>
                        </a:lnTo>
                        <a:lnTo>
                          <a:pt x="4331" y="2831"/>
                        </a:lnTo>
                        <a:lnTo>
                          <a:pt x="4325" y="2817"/>
                        </a:lnTo>
                        <a:lnTo>
                          <a:pt x="4321" y="2802"/>
                        </a:lnTo>
                        <a:lnTo>
                          <a:pt x="4317" y="2787"/>
                        </a:lnTo>
                        <a:lnTo>
                          <a:pt x="4315" y="2772"/>
                        </a:lnTo>
                        <a:lnTo>
                          <a:pt x="4314" y="2758"/>
                        </a:lnTo>
                        <a:lnTo>
                          <a:pt x="4314" y="2743"/>
                        </a:lnTo>
                        <a:lnTo>
                          <a:pt x="4316" y="2728"/>
                        </a:lnTo>
                        <a:lnTo>
                          <a:pt x="4316" y="2728"/>
                        </a:lnTo>
                        <a:lnTo>
                          <a:pt x="4318" y="2710"/>
                        </a:lnTo>
                        <a:lnTo>
                          <a:pt x="4323" y="2662"/>
                        </a:lnTo>
                        <a:lnTo>
                          <a:pt x="4326" y="2629"/>
                        </a:lnTo>
                        <a:lnTo>
                          <a:pt x="4329" y="2590"/>
                        </a:lnTo>
                        <a:lnTo>
                          <a:pt x="4331" y="2548"/>
                        </a:lnTo>
                        <a:lnTo>
                          <a:pt x="4332" y="2502"/>
                        </a:lnTo>
                        <a:lnTo>
                          <a:pt x="4332" y="2502"/>
                        </a:lnTo>
                        <a:close/>
                        <a:moveTo>
                          <a:pt x="3788" y="2500"/>
                        </a:moveTo>
                        <a:lnTo>
                          <a:pt x="3788" y="2500"/>
                        </a:lnTo>
                        <a:lnTo>
                          <a:pt x="3787" y="2533"/>
                        </a:lnTo>
                        <a:lnTo>
                          <a:pt x="3786" y="2567"/>
                        </a:lnTo>
                        <a:lnTo>
                          <a:pt x="3784" y="2600"/>
                        </a:lnTo>
                        <a:lnTo>
                          <a:pt x="3780" y="2633"/>
                        </a:lnTo>
                        <a:lnTo>
                          <a:pt x="3777" y="2666"/>
                        </a:lnTo>
                        <a:lnTo>
                          <a:pt x="3772" y="2698"/>
                        </a:lnTo>
                        <a:lnTo>
                          <a:pt x="3767" y="2730"/>
                        </a:lnTo>
                        <a:lnTo>
                          <a:pt x="3760" y="2762"/>
                        </a:lnTo>
                        <a:lnTo>
                          <a:pt x="3753" y="2794"/>
                        </a:lnTo>
                        <a:lnTo>
                          <a:pt x="3746" y="2825"/>
                        </a:lnTo>
                        <a:lnTo>
                          <a:pt x="3737" y="2856"/>
                        </a:lnTo>
                        <a:lnTo>
                          <a:pt x="3728" y="2887"/>
                        </a:lnTo>
                        <a:lnTo>
                          <a:pt x="3718" y="2917"/>
                        </a:lnTo>
                        <a:lnTo>
                          <a:pt x="3707" y="2947"/>
                        </a:lnTo>
                        <a:lnTo>
                          <a:pt x="3696" y="2977"/>
                        </a:lnTo>
                        <a:lnTo>
                          <a:pt x="3684" y="3006"/>
                        </a:lnTo>
                        <a:lnTo>
                          <a:pt x="3671" y="3035"/>
                        </a:lnTo>
                        <a:lnTo>
                          <a:pt x="3657" y="3064"/>
                        </a:lnTo>
                        <a:lnTo>
                          <a:pt x="3643" y="3092"/>
                        </a:lnTo>
                        <a:lnTo>
                          <a:pt x="3628" y="3120"/>
                        </a:lnTo>
                        <a:lnTo>
                          <a:pt x="3613" y="3147"/>
                        </a:lnTo>
                        <a:lnTo>
                          <a:pt x="3597" y="3174"/>
                        </a:lnTo>
                        <a:lnTo>
                          <a:pt x="3580" y="3201"/>
                        </a:lnTo>
                        <a:lnTo>
                          <a:pt x="3563" y="3227"/>
                        </a:lnTo>
                        <a:lnTo>
                          <a:pt x="3545" y="3252"/>
                        </a:lnTo>
                        <a:lnTo>
                          <a:pt x="3526" y="3278"/>
                        </a:lnTo>
                        <a:lnTo>
                          <a:pt x="3507" y="3302"/>
                        </a:lnTo>
                        <a:lnTo>
                          <a:pt x="3487" y="3327"/>
                        </a:lnTo>
                        <a:lnTo>
                          <a:pt x="3467" y="3350"/>
                        </a:lnTo>
                        <a:lnTo>
                          <a:pt x="3446" y="3374"/>
                        </a:lnTo>
                        <a:lnTo>
                          <a:pt x="3425" y="3396"/>
                        </a:lnTo>
                        <a:lnTo>
                          <a:pt x="3403" y="3419"/>
                        </a:lnTo>
                        <a:lnTo>
                          <a:pt x="3381" y="3440"/>
                        </a:lnTo>
                        <a:lnTo>
                          <a:pt x="3358" y="3462"/>
                        </a:lnTo>
                        <a:lnTo>
                          <a:pt x="3334" y="3482"/>
                        </a:lnTo>
                        <a:lnTo>
                          <a:pt x="3310" y="3502"/>
                        </a:lnTo>
                        <a:lnTo>
                          <a:pt x="3286" y="3522"/>
                        </a:lnTo>
                        <a:lnTo>
                          <a:pt x="3261" y="3541"/>
                        </a:lnTo>
                        <a:lnTo>
                          <a:pt x="3236" y="3559"/>
                        </a:lnTo>
                        <a:lnTo>
                          <a:pt x="3210" y="3577"/>
                        </a:lnTo>
                        <a:lnTo>
                          <a:pt x="3184" y="3594"/>
                        </a:lnTo>
                        <a:lnTo>
                          <a:pt x="3157" y="3611"/>
                        </a:lnTo>
                        <a:lnTo>
                          <a:pt x="3130" y="3626"/>
                        </a:lnTo>
                        <a:lnTo>
                          <a:pt x="3102" y="3642"/>
                        </a:lnTo>
                        <a:lnTo>
                          <a:pt x="3074" y="3656"/>
                        </a:lnTo>
                        <a:lnTo>
                          <a:pt x="3046" y="3670"/>
                        </a:lnTo>
                        <a:lnTo>
                          <a:pt x="3017" y="3683"/>
                        </a:lnTo>
                        <a:lnTo>
                          <a:pt x="2988" y="3696"/>
                        </a:lnTo>
                        <a:lnTo>
                          <a:pt x="2959" y="3708"/>
                        </a:lnTo>
                        <a:lnTo>
                          <a:pt x="2929" y="3719"/>
                        </a:lnTo>
                        <a:lnTo>
                          <a:pt x="2899" y="3730"/>
                        </a:lnTo>
                        <a:lnTo>
                          <a:pt x="2868" y="3739"/>
                        </a:lnTo>
                        <a:lnTo>
                          <a:pt x="2838" y="3748"/>
                        </a:lnTo>
                        <a:lnTo>
                          <a:pt x="2807" y="3757"/>
                        </a:lnTo>
                        <a:lnTo>
                          <a:pt x="2775" y="3764"/>
                        </a:lnTo>
                        <a:lnTo>
                          <a:pt x="2744" y="3771"/>
                        </a:lnTo>
                        <a:lnTo>
                          <a:pt x="2712" y="3777"/>
                        </a:lnTo>
                        <a:lnTo>
                          <a:pt x="2679" y="3782"/>
                        </a:lnTo>
                        <a:lnTo>
                          <a:pt x="2647" y="3787"/>
                        </a:lnTo>
                        <a:lnTo>
                          <a:pt x="2614" y="3790"/>
                        </a:lnTo>
                        <a:lnTo>
                          <a:pt x="2581" y="3793"/>
                        </a:lnTo>
                        <a:lnTo>
                          <a:pt x="2548" y="3795"/>
                        </a:lnTo>
                        <a:lnTo>
                          <a:pt x="2515" y="3796"/>
                        </a:lnTo>
                        <a:lnTo>
                          <a:pt x="2481" y="3796"/>
                        </a:lnTo>
                        <a:lnTo>
                          <a:pt x="2481" y="3796"/>
                        </a:lnTo>
                        <a:lnTo>
                          <a:pt x="2446" y="3796"/>
                        </a:lnTo>
                        <a:lnTo>
                          <a:pt x="2413" y="3794"/>
                        </a:lnTo>
                        <a:lnTo>
                          <a:pt x="2380" y="3792"/>
                        </a:lnTo>
                        <a:lnTo>
                          <a:pt x="2347" y="3789"/>
                        </a:lnTo>
                        <a:lnTo>
                          <a:pt x="2314" y="3785"/>
                        </a:lnTo>
                        <a:lnTo>
                          <a:pt x="2282" y="3781"/>
                        </a:lnTo>
                        <a:lnTo>
                          <a:pt x="2250" y="3775"/>
                        </a:lnTo>
                        <a:lnTo>
                          <a:pt x="2218" y="3769"/>
                        </a:lnTo>
                        <a:lnTo>
                          <a:pt x="2186" y="3762"/>
                        </a:lnTo>
                        <a:lnTo>
                          <a:pt x="2155" y="3754"/>
                        </a:lnTo>
                        <a:lnTo>
                          <a:pt x="2124" y="3746"/>
                        </a:lnTo>
                        <a:lnTo>
                          <a:pt x="2093" y="3736"/>
                        </a:lnTo>
                        <a:lnTo>
                          <a:pt x="2063" y="3726"/>
                        </a:lnTo>
                        <a:lnTo>
                          <a:pt x="2033" y="3716"/>
                        </a:lnTo>
                        <a:lnTo>
                          <a:pt x="2003" y="3704"/>
                        </a:lnTo>
                        <a:lnTo>
                          <a:pt x="1974" y="3692"/>
                        </a:lnTo>
                        <a:lnTo>
                          <a:pt x="1945" y="3679"/>
                        </a:lnTo>
                        <a:lnTo>
                          <a:pt x="1916" y="3666"/>
                        </a:lnTo>
                        <a:lnTo>
                          <a:pt x="1888" y="3652"/>
                        </a:lnTo>
                        <a:lnTo>
                          <a:pt x="1860" y="3637"/>
                        </a:lnTo>
                        <a:lnTo>
                          <a:pt x="1833" y="3621"/>
                        </a:lnTo>
                        <a:lnTo>
                          <a:pt x="1806" y="3605"/>
                        </a:lnTo>
                        <a:lnTo>
                          <a:pt x="1779" y="3589"/>
                        </a:lnTo>
                        <a:lnTo>
                          <a:pt x="1753" y="3571"/>
                        </a:lnTo>
                        <a:lnTo>
                          <a:pt x="1728" y="3553"/>
                        </a:lnTo>
                        <a:lnTo>
                          <a:pt x="1702" y="3535"/>
                        </a:lnTo>
                        <a:lnTo>
                          <a:pt x="1678" y="3516"/>
                        </a:lnTo>
                        <a:lnTo>
                          <a:pt x="1653" y="3496"/>
                        </a:lnTo>
                        <a:lnTo>
                          <a:pt x="1630" y="3476"/>
                        </a:lnTo>
                        <a:lnTo>
                          <a:pt x="1606" y="3455"/>
                        </a:lnTo>
                        <a:lnTo>
                          <a:pt x="1584" y="3433"/>
                        </a:lnTo>
                        <a:lnTo>
                          <a:pt x="1561" y="3412"/>
                        </a:lnTo>
                        <a:lnTo>
                          <a:pt x="1540" y="3389"/>
                        </a:lnTo>
                        <a:lnTo>
                          <a:pt x="1518" y="3366"/>
                        </a:lnTo>
                        <a:lnTo>
                          <a:pt x="1498" y="3343"/>
                        </a:lnTo>
                        <a:lnTo>
                          <a:pt x="1478" y="3319"/>
                        </a:lnTo>
                        <a:lnTo>
                          <a:pt x="1458" y="3294"/>
                        </a:lnTo>
                        <a:lnTo>
                          <a:pt x="1439" y="3269"/>
                        </a:lnTo>
                        <a:lnTo>
                          <a:pt x="1421" y="3244"/>
                        </a:lnTo>
                        <a:lnTo>
                          <a:pt x="1403" y="3218"/>
                        </a:lnTo>
                        <a:lnTo>
                          <a:pt x="1386" y="3192"/>
                        </a:lnTo>
                        <a:lnTo>
                          <a:pt x="1370" y="3165"/>
                        </a:lnTo>
                        <a:lnTo>
                          <a:pt x="1354" y="3138"/>
                        </a:lnTo>
                        <a:lnTo>
                          <a:pt x="1338" y="3111"/>
                        </a:lnTo>
                        <a:lnTo>
                          <a:pt x="1324" y="3083"/>
                        </a:lnTo>
                        <a:lnTo>
                          <a:pt x="1310" y="3054"/>
                        </a:lnTo>
                        <a:lnTo>
                          <a:pt x="1297" y="3026"/>
                        </a:lnTo>
                        <a:lnTo>
                          <a:pt x="1284" y="2997"/>
                        </a:lnTo>
                        <a:lnTo>
                          <a:pt x="1272" y="2967"/>
                        </a:lnTo>
                        <a:lnTo>
                          <a:pt x="1261" y="2937"/>
                        </a:lnTo>
                        <a:lnTo>
                          <a:pt x="1250" y="2907"/>
                        </a:lnTo>
                        <a:lnTo>
                          <a:pt x="1241" y="2877"/>
                        </a:lnTo>
                        <a:lnTo>
                          <a:pt x="1232" y="2846"/>
                        </a:lnTo>
                        <a:lnTo>
                          <a:pt x="1223" y="2815"/>
                        </a:lnTo>
                        <a:lnTo>
                          <a:pt x="1216" y="2784"/>
                        </a:lnTo>
                        <a:lnTo>
                          <a:pt x="1209" y="2752"/>
                        </a:lnTo>
                        <a:lnTo>
                          <a:pt x="1203" y="2720"/>
                        </a:lnTo>
                        <a:lnTo>
                          <a:pt x="1198" y="2688"/>
                        </a:lnTo>
                        <a:lnTo>
                          <a:pt x="1194" y="2655"/>
                        </a:lnTo>
                        <a:lnTo>
                          <a:pt x="1190" y="2623"/>
                        </a:lnTo>
                        <a:lnTo>
                          <a:pt x="1187" y="2590"/>
                        </a:lnTo>
                        <a:lnTo>
                          <a:pt x="1185" y="2557"/>
                        </a:lnTo>
                        <a:lnTo>
                          <a:pt x="1184" y="2523"/>
                        </a:lnTo>
                        <a:lnTo>
                          <a:pt x="1184" y="2490"/>
                        </a:lnTo>
                        <a:lnTo>
                          <a:pt x="1184" y="2490"/>
                        </a:lnTo>
                        <a:lnTo>
                          <a:pt x="1184" y="2455"/>
                        </a:lnTo>
                        <a:lnTo>
                          <a:pt x="1186" y="2422"/>
                        </a:lnTo>
                        <a:lnTo>
                          <a:pt x="1188" y="2388"/>
                        </a:lnTo>
                        <a:lnTo>
                          <a:pt x="1191" y="2356"/>
                        </a:lnTo>
                        <a:lnTo>
                          <a:pt x="1195" y="2323"/>
                        </a:lnTo>
                        <a:lnTo>
                          <a:pt x="1199" y="2290"/>
                        </a:lnTo>
                        <a:lnTo>
                          <a:pt x="1205" y="2258"/>
                        </a:lnTo>
                        <a:lnTo>
                          <a:pt x="1211" y="2226"/>
                        </a:lnTo>
                        <a:lnTo>
                          <a:pt x="1218" y="2195"/>
                        </a:lnTo>
                        <a:lnTo>
                          <a:pt x="1226" y="2163"/>
                        </a:lnTo>
                        <a:lnTo>
                          <a:pt x="1234" y="2132"/>
                        </a:lnTo>
                        <a:lnTo>
                          <a:pt x="1244" y="2102"/>
                        </a:lnTo>
                        <a:lnTo>
                          <a:pt x="1254" y="2071"/>
                        </a:lnTo>
                        <a:lnTo>
                          <a:pt x="1264" y="2041"/>
                        </a:lnTo>
                        <a:lnTo>
                          <a:pt x="1276" y="2012"/>
                        </a:lnTo>
                        <a:lnTo>
                          <a:pt x="1288" y="1982"/>
                        </a:lnTo>
                        <a:lnTo>
                          <a:pt x="1301" y="1953"/>
                        </a:lnTo>
                        <a:lnTo>
                          <a:pt x="1314" y="1925"/>
                        </a:lnTo>
                        <a:lnTo>
                          <a:pt x="1328" y="1897"/>
                        </a:lnTo>
                        <a:lnTo>
                          <a:pt x="1343" y="1869"/>
                        </a:lnTo>
                        <a:lnTo>
                          <a:pt x="1359" y="1841"/>
                        </a:lnTo>
                        <a:lnTo>
                          <a:pt x="1375" y="1814"/>
                        </a:lnTo>
                        <a:lnTo>
                          <a:pt x="1391" y="1788"/>
                        </a:lnTo>
                        <a:lnTo>
                          <a:pt x="1409" y="1762"/>
                        </a:lnTo>
                        <a:lnTo>
                          <a:pt x="1427" y="1736"/>
                        </a:lnTo>
                        <a:lnTo>
                          <a:pt x="1445" y="1711"/>
                        </a:lnTo>
                        <a:lnTo>
                          <a:pt x="1464" y="1686"/>
                        </a:lnTo>
                        <a:lnTo>
                          <a:pt x="1484" y="1662"/>
                        </a:lnTo>
                        <a:lnTo>
                          <a:pt x="1504" y="1638"/>
                        </a:lnTo>
                        <a:lnTo>
                          <a:pt x="1525" y="1615"/>
                        </a:lnTo>
                        <a:lnTo>
                          <a:pt x="1547" y="1592"/>
                        </a:lnTo>
                        <a:lnTo>
                          <a:pt x="1569" y="1570"/>
                        </a:lnTo>
                        <a:lnTo>
                          <a:pt x="1591" y="1548"/>
                        </a:lnTo>
                        <a:lnTo>
                          <a:pt x="1614" y="1527"/>
                        </a:lnTo>
                        <a:lnTo>
                          <a:pt x="1637" y="1506"/>
                        </a:lnTo>
                        <a:lnTo>
                          <a:pt x="1661" y="1486"/>
                        </a:lnTo>
                        <a:lnTo>
                          <a:pt x="1686" y="1467"/>
                        </a:lnTo>
                        <a:lnTo>
                          <a:pt x="1711" y="1448"/>
                        </a:lnTo>
                        <a:lnTo>
                          <a:pt x="1736" y="1429"/>
                        </a:lnTo>
                        <a:lnTo>
                          <a:pt x="1762" y="1412"/>
                        </a:lnTo>
                        <a:lnTo>
                          <a:pt x="1788" y="1395"/>
                        </a:lnTo>
                        <a:lnTo>
                          <a:pt x="1815" y="1378"/>
                        </a:lnTo>
                        <a:lnTo>
                          <a:pt x="1842" y="1362"/>
                        </a:lnTo>
                        <a:lnTo>
                          <a:pt x="1869" y="1347"/>
                        </a:lnTo>
                        <a:lnTo>
                          <a:pt x="1897" y="1332"/>
                        </a:lnTo>
                        <a:lnTo>
                          <a:pt x="1926" y="1318"/>
                        </a:lnTo>
                        <a:lnTo>
                          <a:pt x="1954" y="1305"/>
                        </a:lnTo>
                        <a:lnTo>
                          <a:pt x="1983" y="1293"/>
                        </a:lnTo>
                        <a:lnTo>
                          <a:pt x="2013" y="1281"/>
                        </a:lnTo>
                        <a:lnTo>
                          <a:pt x="2043" y="1270"/>
                        </a:lnTo>
                        <a:lnTo>
                          <a:pt x="2073" y="1259"/>
                        </a:lnTo>
                        <a:lnTo>
                          <a:pt x="2103" y="1249"/>
                        </a:lnTo>
                        <a:lnTo>
                          <a:pt x="2134" y="1240"/>
                        </a:lnTo>
                        <a:lnTo>
                          <a:pt x="2165" y="1232"/>
                        </a:lnTo>
                        <a:lnTo>
                          <a:pt x="2196" y="1225"/>
                        </a:lnTo>
                        <a:lnTo>
                          <a:pt x="2228" y="1218"/>
                        </a:lnTo>
                        <a:lnTo>
                          <a:pt x="2260" y="1212"/>
                        </a:lnTo>
                        <a:lnTo>
                          <a:pt x="2292" y="1207"/>
                        </a:lnTo>
                        <a:lnTo>
                          <a:pt x="2325" y="1202"/>
                        </a:lnTo>
                        <a:lnTo>
                          <a:pt x="2357" y="1199"/>
                        </a:lnTo>
                        <a:lnTo>
                          <a:pt x="2390" y="1196"/>
                        </a:lnTo>
                        <a:lnTo>
                          <a:pt x="2424" y="1194"/>
                        </a:lnTo>
                        <a:lnTo>
                          <a:pt x="2457" y="1193"/>
                        </a:lnTo>
                        <a:lnTo>
                          <a:pt x="2492" y="1192"/>
                        </a:lnTo>
                        <a:lnTo>
                          <a:pt x="2492" y="1192"/>
                        </a:lnTo>
                        <a:lnTo>
                          <a:pt x="2525" y="1193"/>
                        </a:lnTo>
                        <a:lnTo>
                          <a:pt x="2558" y="1194"/>
                        </a:lnTo>
                        <a:lnTo>
                          <a:pt x="2592" y="1197"/>
                        </a:lnTo>
                        <a:lnTo>
                          <a:pt x="2625" y="1200"/>
                        </a:lnTo>
                        <a:lnTo>
                          <a:pt x="2657" y="1204"/>
                        </a:lnTo>
                        <a:lnTo>
                          <a:pt x="2690" y="1208"/>
                        </a:lnTo>
                        <a:lnTo>
                          <a:pt x="2722" y="1214"/>
                        </a:lnTo>
                        <a:lnTo>
                          <a:pt x="2754" y="1220"/>
                        </a:lnTo>
                        <a:lnTo>
                          <a:pt x="2785" y="1227"/>
                        </a:lnTo>
                        <a:lnTo>
                          <a:pt x="2817" y="1235"/>
                        </a:lnTo>
                        <a:lnTo>
                          <a:pt x="2848" y="1243"/>
                        </a:lnTo>
                        <a:lnTo>
                          <a:pt x="2878" y="1252"/>
                        </a:lnTo>
                        <a:lnTo>
                          <a:pt x="2909" y="1262"/>
                        </a:lnTo>
                        <a:lnTo>
                          <a:pt x="2939" y="1273"/>
                        </a:lnTo>
                        <a:lnTo>
                          <a:pt x="2968" y="1285"/>
                        </a:lnTo>
                        <a:lnTo>
                          <a:pt x="2998" y="1297"/>
                        </a:lnTo>
                        <a:lnTo>
                          <a:pt x="3027" y="1309"/>
                        </a:lnTo>
                        <a:lnTo>
                          <a:pt x="3055" y="1323"/>
                        </a:lnTo>
                        <a:lnTo>
                          <a:pt x="3083" y="1337"/>
                        </a:lnTo>
                        <a:lnTo>
                          <a:pt x="3111" y="1352"/>
                        </a:lnTo>
                        <a:lnTo>
                          <a:pt x="3139" y="1367"/>
                        </a:lnTo>
                        <a:lnTo>
                          <a:pt x="3166" y="1383"/>
                        </a:lnTo>
                        <a:lnTo>
                          <a:pt x="3192" y="1400"/>
                        </a:lnTo>
                        <a:lnTo>
                          <a:pt x="3218" y="1418"/>
                        </a:lnTo>
                        <a:lnTo>
                          <a:pt x="3244" y="1435"/>
                        </a:lnTo>
                        <a:lnTo>
                          <a:pt x="3269" y="1454"/>
                        </a:lnTo>
                        <a:lnTo>
                          <a:pt x="3294" y="1473"/>
                        </a:lnTo>
                        <a:lnTo>
                          <a:pt x="3318" y="1493"/>
                        </a:lnTo>
                        <a:lnTo>
                          <a:pt x="3342" y="1513"/>
                        </a:lnTo>
                        <a:lnTo>
                          <a:pt x="3365" y="1534"/>
                        </a:lnTo>
                        <a:lnTo>
                          <a:pt x="3388" y="1555"/>
                        </a:lnTo>
                        <a:lnTo>
                          <a:pt x="3410" y="1577"/>
                        </a:lnTo>
                        <a:lnTo>
                          <a:pt x="3432" y="1600"/>
                        </a:lnTo>
                        <a:lnTo>
                          <a:pt x="3453" y="1623"/>
                        </a:lnTo>
                        <a:lnTo>
                          <a:pt x="3474" y="1646"/>
                        </a:lnTo>
                        <a:lnTo>
                          <a:pt x="3494" y="1670"/>
                        </a:lnTo>
                        <a:lnTo>
                          <a:pt x="3513" y="1694"/>
                        </a:lnTo>
                        <a:lnTo>
                          <a:pt x="3532" y="1719"/>
                        </a:lnTo>
                        <a:lnTo>
                          <a:pt x="3551" y="1745"/>
                        </a:lnTo>
                        <a:lnTo>
                          <a:pt x="3568" y="1770"/>
                        </a:lnTo>
                        <a:lnTo>
                          <a:pt x="3585" y="1797"/>
                        </a:lnTo>
                        <a:lnTo>
                          <a:pt x="3602" y="1823"/>
                        </a:lnTo>
                        <a:lnTo>
                          <a:pt x="3618" y="1850"/>
                        </a:lnTo>
                        <a:lnTo>
                          <a:pt x="3633" y="1878"/>
                        </a:lnTo>
                        <a:lnTo>
                          <a:pt x="3648" y="1906"/>
                        </a:lnTo>
                        <a:lnTo>
                          <a:pt x="3662" y="1934"/>
                        </a:lnTo>
                        <a:lnTo>
                          <a:pt x="3675" y="1963"/>
                        </a:lnTo>
                        <a:lnTo>
                          <a:pt x="3687" y="1992"/>
                        </a:lnTo>
                        <a:lnTo>
                          <a:pt x="3699" y="2021"/>
                        </a:lnTo>
                        <a:lnTo>
                          <a:pt x="3711" y="2051"/>
                        </a:lnTo>
                        <a:lnTo>
                          <a:pt x="3721" y="2081"/>
                        </a:lnTo>
                        <a:lnTo>
                          <a:pt x="3731" y="2112"/>
                        </a:lnTo>
                        <a:lnTo>
                          <a:pt x="3740" y="2142"/>
                        </a:lnTo>
                        <a:lnTo>
                          <a:pt x="3748" y="2173"/>
                        </a:lnTo>
                        <a:lnTo>
                          <a:pt x="3756" y="2205"/>
                        </a:lnTo>
                        <a:lnTo>
                          <a:pt x="3762" y="2236"/>
                        </a:lnTo>
                        <a:lnTo>
                          <a:pt x="3768" y="2268"/>
                        </a:lnTo>
                        <a:lnTo>
                          <a:pt x="3773" y="2301"/>
                        </a:lnTo>
                        <a:lnTo>
                          <a:pt x="3778" y="2333"/>
                        </a:lnTo>
                        <a:lnTo>
                          <a:pt x="3781" y="2366"/>
                        </a:lnTo>
                        <a:lnTo>
                          <a:pt x="3784" y="2399"/>
                        </a:lnTo>
                        <a:lnTo>
                          <a:pt x="3786" y="2432"/>
                        </a:lnTo>
                        <a:lnTo>
                          <a:pt x="3787" y="2466"/>
                        </a:lnTo>
                        <a:lnTo>
                          <a:pt x="3788" y="2500"/>
                        </a:lnTo>
                        <a:lnTo>
                          <a:pt x="3788" y="250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</p:grpSp>
            <p:grpSp>
              <p:nvGrpSpPr>
                <p:cNvPr id="285" name="SAGD, Siemens, healthineers, evolve">
                  <a:extLst>
                    <a:ext uri="{FF2B5EF4-FFF2-40B4-BE49-F238E27FC236}">
                      <a16:creationId xmlns:a16="http://schemas.microsoft.com/office/drawing/2014/main" id="{843EFD81-D498-4627-BC36-89E342B477B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gray">
                <a:xfrm>
                  <a:off x="1127741" y="4683965"/>
                  <a:ext cx="361963" cy="362730"/>
                  <a:chOff x="1188" y="1252"/>
                  <a:chExt cx="2268" cy="2268"/>
                </a:xfrm>
              </p:grpSpPr>
              <p:sp>
                <p:nvSpPr>
                  <p:cNvPr id="291" name="AutoShape 4">
                    <a:extLst>
                      <a:ext uri="{FF2B5EF4-FFF2-40B4-BE49-F238E27FC236}">
                        <a16:creationId xmlns:a16="http://schemas.microsoft.com/office/drawing/2014/main" id="{CB3D688C-364C-413E-BC7E-E5D62DD61D09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1188" y="1252"/>
                    <a:ext cx="2268" cy="226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  <p:sp>
                <p:nvSpPr>
                  <p:cNvPr id="292" name="Freeform 6">
                    <a:extLst>
                      <a:ext uri="{FF2B5EF4-FFF2-40B4-BE49-F238E27FC236}">
                        <a16:creationId xmlns:a16="http://schemas.microsoft.com/office/drawing/2014/main" id="{80EAF749-CF56-48D2-AECF-1BF60B92BF4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88" y="1252"/>
                    <a:ext cx="2268" cy="2268"/>
                  </a:xfrm>
                  <a:custGeom>
                    <a:avLst/>
                    <a:gdLst/>
                    <a:ahLst/>
                    <a:cxnLst>
                      <a:cxn ang="0">
                        <a:pos x="11317" y="6179"/>
                      </a:cxn>
                      <a:cxn ang="0">
                        <a:pos x="11224" y="6813"/>
                      </a:cxn>
                      <a:cxn ang="0">
                        <a:pos x="11064" y="7423"/>
                      </a:cxn>
                      <a:cxn ang="0">
                        <a:pos x="10839" y="8004"/>
                      </a:cxn>
                      <a:cxn ang="0">
                        <a:pos x="10554" y="8552"/>
                      </a:cxn>
                      <a:cxn ang="0">
                        <a:pos x="10213" y="9063"/>
                      </a:cxn>
                      <a:cxn ang="0">
                        <a:pos x="9821" y="9533"/>
                      </a:cxn>
                      <a:cxn ang="0">
                        <a:pos x="9380" y="9958"/>
                      </a:cxn>
                      <a:cxn ang="0">
                        <a:pos x="8896" y="10333"/>
                      </a:cxn>
                      <a:cxn ang="0">
                        <a:pos x="8373" y="10656"/>
                      </a:cxn>
                      <a:cxn ang="0">
                        <a:pos x="7813" y="10921"/>
                      </a:cxn>
                      <a:cxn ang="0">
                        <a:pos x="7222" y="11125"/>
                      </a:cxn>
                      <a:cxn ang="0">
                        <a:pos x="6604" y="11264"/>
                      </a:cxn>
                      <a:cxn ang="0">
                        <a:pos x="5962" y="11333"/>
                      </a:cxn>
                      <a:cxn ang="0">
                        <a:pos x="5378" y="11333"/>
                      </a:cxn>
                      <a:cxn ang="0">
                        <a:pos x="4736" y="11264"/>
                      </a:cxn>
                      <a:cxn ang="0">
                        <a:pos x="4117" y="11125"/>
                      </a:cxn>
                      <a:cxn ang="0">
                        <a:pos x="3526" y="10921"/>
                      </a:cxn>
                      <a:cxn ang="0">
                        <a:pos x="2967" y="10656"/>
                      </a:cxn>
                      <a:cxn ang="0">
                        <a:pos x="2443" y="10333"/>
                      </a:cxn>
                      <a:cxn ang="0">
                        <a:pos x="1959" y="9958"/>
                      </a:cxn>
                      <a:cxn ang="0">
                        <a:pos x="1519" y="9533"/>
                      </a:cxn>
                      <a:cxn ang="0">
                        <a:pos x="1126" y="9063"/>
                      </a:cxn>
                      <a:cxn ang="0">
                        <a:pos x="785" y="8552"/>
                      </a:cxn>
                      <a:cxn ang="0">
                        <a:pos x="501" y="8004"/>
                      </a:cxn>
                      <a:cxn ang="0">
                        <a:pos x="276" y="7423"/>
                      </a:cxn>
                      <a:cxn ang="0">
                        <a:pos x="115" y="6813"/>
                      </a:cxn>
                      <a:cxn ang="0">
                        <a:pos x="22" y="6179"/>
                      </a:cxn>
                      <a:cxn ang="0">
                        <a:pos x="0" y="5596"/>
                      </a:cxn>
                      <a:cxn ang="0">
                        <a:pos x="45" y="4948"/>
                      </a:cxn>
                      <a:cxn ang="0">
                        <a:pos x="161" y="4321"/>
                      </a:cxn>
                      <a:cxn ang="0">
                        <a:pos x="344" y="3720"/>
                      </a:cxn>
                      <a:cxn ang="0">
                        <a:pos x="589" y="3150"/>
                      </a:cxn>
                      <a:cxn ang="0">
                        <a:pos x="893" y="2614"/>
                      </a:cxn>
                      <a:cxn ang="0">
                        <a:pos x="1251" y="2116"/>
                      </a:cxn>
                      <a:cxn ang="0">
                        <a:pos x="1660" y="1661"/>
                      </a:cxn>
                      <a:cxn ang="0">
                        <a:pos x="2116" y="1252"/>
                      </a:cxn>
                      <a:cxn ang="0">
                        <a:pos x="2613" y="893"/>
                      </a:cxn>
                      <a:cxn ang="0">
                        <a:pos x="3150" y="589"/>
                      </a:cxn>
                      <a:cxn ang="0">
                        <a:pos x="3720" y="344"/>
                      </a:cxn>
                      <a:cxn ang="0">
                        <a:pos x="4320" y="162"/>
                      </a:cxn>
                      <a:cxn ang="0">
                        <a:pos x="4947" y="46"/>
                      </a:cxn>
                      <a:cxn ang="0">
                        <a:pos x="5596" y="1"/>
                      </a:cxn>
                      <a:cxn ang="0">
                        <a:pos x="6178" y="23"/>
                      </a:cxn>
                      <a:cxn ang="0">
                        <a:pos x="6813" y="115"/>
                      </a:cxn>
                      <a:cxn ang="0">
                        <a:pos x="7423" y="276"/>
                      </a:cxn>
                      <a:cxn ang="0">
                        <a:pos x="8003" y="501"/>
                      </a:cxn>
                      <a:cxn ang="0">
                        <a:pos x="8551" y="786"/>
                      </a:cxn>
                      <a:cxn ang="0">
                        <a:pos x="9062" y="1126"/>
                      </a:cxn>
                      <a:cxn ang="0">
                        <a:pos x="9532" y="1519"/>
                      </a:cxn>
                      <a:cxn ang="0">
                        <a:pos x="9957" y="1959"/>
                      </a:cxn>
                      <a:cxn ang="0">
                        <a:pos x="10333" y="2443"/>
                      </a:cxn>
                      <a:cxn ang="0">
                        <a:pos x="10655" y="2967"/>
                      </a:cxn>
                      <a:cxn ang="0">
                        <a:pos x="10921" y="3527"/>
                      </a:cxn>
                      <a:cxn ang="0">
                        <a:pos x="11124" y="4118"/>
                      </a:cxn>
                      <a:cxn ang="0">
                        <a:pos x="11263" y="4736"/>
                      </a:cxn>
                      <a:cxn ang="0">
                        <a:pos x="11332" y="5378"/>
                      </a:cxn>
                    </a:cxnLst>
                    <a:rect l="0" t="0" r="r" b="b"/>
                    <a:pathLst>
                      <a:path w="11340" h="11340">
                        <a:moveTo>
                          <a:pt x="11340" y="5671"/>
                        </a:moveTo>
                        <a:lnTo>
                          <a:pt x="11340" y="5671"/>
                        </a:lnTo>
                        <a:lnTo>
                          <a:pt x="11339" y="5744"/>
                        </a:lnTo>
                        <a:lnTo>
                          <a:pt x="11338" y="5817"/>
                        </a:lnTo>
                        <a:lnTo>
                          <a:pt x="11335" y="5890"/>
                        </a:lnTo>
                        <a:lnTo>
                          <a:pt x="11332" y="5962"/>
                        </a:lnTo>
                        <a:lnTo>
                          <a:pt x="11328" y="6035"/>
                        </a:lnTo>
                        <a:lnTo>
                          <a:pt x="11323" y="6107"/>
                        </a:lnTo>
                        <a:lnTo>
                          <a:pt x="11317" y="6179"/>
                        </a:lnTo>
                        <a:lnTo>
                          <a:pt x="11310" y="6250"/>
                        </a:lnTo>
                        <a:lnTo>
                          <a:pt x="11303" y="6322"/>
                        </a:lnTo>
                        <a:lnTo>
                          <a:pt x="11294" y="6393"/>
                        </a:lnTo>
                        <a:lnTo>
                          <a:pt x="11285" y="6464"/>
                        </a:lnTo>
                        <a:lnTo>
                          <a:pt x="11274" y="6534"/>
                        </a:lnTo>
                        <a:lnTo>
                          <a:pt x="11263" y="6604"/>
                        </a:lnTo>
                        <a:lnTo>
                          <a:pt x="11251" y="6674"/>
                        </a:lnTo>
                        <a:lnTo>
                          <a:pt x="11238" y="6744"/>
                        </a:lnTo>
                        <a:lnTo>
                          <a:pt x="11224" y="6813"/>
                        </a:lnTo>
                        <a:lnTo>
                          <a:pt x="11210" y="6882"/>
                        </a:lnTo>
                        <a:lnTo>
                          <a:pt x="11194" y="6951"/>
                        </a:lnTo>
                        <a:lnTo>
                          <a:pt x="11178" y="7019"/>
                        </a:lnTo>
                        <a:lnTo>
                          <a:pt x="11161" y="7088"/>
                        </a:lnTo>
                        <a:lnTo>
                          <a:pt x="11143" y="7155"/>
                        </a:lnTo>
                        <a:lnTo>
                          <a:pt x="11124" y="7223"/>
                        </a:lnTo>
                        <a:lnTo>
                          <a:pt x="11105" y="7290"/>
                        </a:lnTo>
                        <a:lnTo>
                          <a:pt x="11085" y="7357"/>
                        </a:lnTo>
                        <a:lnTo>
                          <a:pt x="11064" y="7423"/>
                        </a:lnTo>
                        <a:lnTo>
                          <a:pt x="11042" y="7489"/>
                        </a:lnTo>
                        <a:lnTo>
                          <a:pt x="11019" y="7555"/>
                        </a:lnTo>
                        <a:lnTo>
                          <a:pt x="10996" y="7620"/>
                        </a:lnTo>
                        <a:lnTo>
                          <a:pt x="10971" y="7685"/>
                        </a:lnTo>
                        <a:lnTo>
                          <a:pt x="10946" y="7749"/>
                        </a:lnTo>
                        <a:lnTo>
                          <a:pt x="10921" y="7814"/>
                        </a:lnTo>
                        <a:lnTo>
                          <a:pt x="10894" y="7877"/>
                        </a:lnTo>
                        <a:lnTo>
                          <a:pt x="10867" y="7941"/>
                        </a:lnTo>
                        <a:lnTo>
                          <a:pt x="10839" y="8004"/>
                        </a:lnTo>
                        <a:lnTo>
                          <a:pt x="10810" y="8066"/>
                        </a:lnTo>
                        <a:lnTo>
                          <a:pt x="10780" y="8129"/>
                        </a:lnTo>
                        <a:lnTo>
                          <a:pt x="10750" y="8190"/>
                        </a:lnTo>
                        <a:lnTo>
                          <a:pt x="10719" y="8252"/>
                        </a:lnTo>
                        <a:lnTo>
                          <a:pt x="10688" y="8313"/>
                        </a:lnTo>
                        <a:lnTo>
                          <a:pt x="10655" y="8373"/>
                        </a:lnTo>
                        <a:lnTo>
                          <a:pt x="10622" y="8433"/>
                        </a:lnTo>
                        <a:lnTo>
                          <a:pt x="10588" y="8493"/>
                        </a:lnTo>
                        <a:lnTo>
                          <a:pt x="10554" y="8552"/>
                        </a:lnTo>
                        <a:lnTo>
                          <a:pt x="10519" y="8610"/>
                        </a:lnTo>
                        <a:lnTo>
                          <a:pt x="10483" y="8669"/>
                        </a:lnTo>
                        <a:lnTo>
                          <a:pt x="10446" y="8726"/>
                        </a:lnTo>
                        <a:lnTo>
                          <a:pt x="10409" y="8784"/>
                        </a:lnTo>
                        <a:lnTo>
                          <a:pt x="10371" y="8840"/>
                        </a:lnTo>
                        <a:lnTo>
                          <a:pt x="10333" y="8897"/>
                        </a:lnTo>
                        <a:lnTo>
                          <a:pt x="10294" y="8953"/>
                        </a:lnTo>
                        <a:lnTo>
                          <a:pt x="10254" y="9008"/>
                        </a:lnTo>
                        <a:lnTo>
                          <a:pt x="10213" y="9063"/>
                        </a:lnTo>
                        <a:lnTo>
                          <a:pt x="10172" y="9117"/>
                        </a:lnTo>
                        <a:lnTo>
                          <a:pt x="10130" y="9171"/>
                        </a:lnTo>
                        <a:lnTo>
                          <a:pt x="10088" y="9224"/>
                        </a:lnTo>
                        <a:lnTo>
                          <a:pt x="10045" y="9277"/>
                        </a:lnTo>
                        <a:lnTo>
                          <a:pt x="10001" y="9329"/>
                        </a:lnTo>
                        <a:lnTo>
                          <a:pt x="9957" y="9381"/>
                        </a:lnTo>
                        <a:lnTo>
                          <a:pt x="9912" y="9432"/>
                        </a:lnTo>
                        <a:lnTo>
                          <a:pt x="9867" y="9483"/>
                        </a:lnTo>
                        <a:lnTo>
                          <a:pt x="9821" y="9533"/>
                        </a:lnTo>
                        <a:lnTo>
                          <a:pt x="9774" y="9582"/>
                        </a:lnTo>
                        <a:lnTo>
                          <a:pt x="9727" y="9631"/>
                        </a:lnTo>
                        <a:lnTo>
                          <a:pt x="9679" y="9680"/>
                        </a:lnTo>
                        <a:lnTo>
                          <a:pt x="9631" y="9727"/>
                        </a:lnTo>
                        <a:lnTo>
                          <a:pt x="9582" y="9775"/>
                        </a:lnTo>
                        <a:lnTo>
                          <a:pt x="9532" y="9821"/>
                        </a:lnTo>
                        <a:lnTo>
                          <a:pt x="9482" y="9867"/>
                        </a:lnTo>
                        <a:lnTo>
                          <a:pt x="9432" y="9913"/>
                        </a:lnTo>
                        <a:lnTo>
                          <a:pt x="9380" y="9958"/>
                        </a:lnTo>
                        <a:lnTo>
                          <a:pt x="9329" y="10002"/>
                        </a:lnTo>
                        <a:lnTo>
                          <a:pt x="9277" y="10046"/>
                        </a:lnTo>
                        <a:lnTo>
                          <a:pt x="9224" y="10089"/>
                        </a:lnTo>
                        <a:lnTo>
                          <a:pt x="9170" y="10131"/>
                        </a:lnTo>
                        <a:lnTo>
                          <a:pt x="9117" y="10173"/>
                        </a:lnTo>
                        <a:lnTo>
                          <a:pt x="9062" y="10214"/>
                        </a:lnTo>
                        <a:lnTo>
                          <a:pt x="9008" y="10254"/>
                        </a:lnTo>
                        <a:lnTo>
                          <a:pt x="8952" y="10294"/>
                        </a:lnTo>
                        <a:lnTo>
                          <a:pt x="8896" y="10333"/>
                        </a:lnTo>
                        <a:lnTo>
                          <a:pt x="8840" y="10372"/>
                        </a:lnTo>
                        <a:lnTo>
                          <a:pt x="8783" y="10410"/>
                        </a:lnTo>
                        <a:lnTo>
                          <a:pt x="8726" y="10447"/>
                        </a:lnTo>
                        <a:lnTo>
                          <a:pt x="8668" y="10484"/>
                        </a:lnTo>
                        <a:lnTo>
                          <a:pt x="8610" y="10519"/>
                        </a:lnTo>
                        <a:lnTo>
                          <a:pt x="8551" y="10555"/>
                        </a:lnTo>
                        <a:lnTo>
                          <a:pt x="8492" y="10589"/>
                        </a:lnTo>
                        <a:lnTo>
                          <a:pt x="8433" y="10623"/>
                        </a:lnTo>
                        <a:lnTo>
                          <a:pt x="8373" y="10656"/>
                        </a:lnTo>
                        <a:lnTo>
                          <a:pt x="8312" y="10688"/>
                        </a:lnTo>
                        <a:lnTo>
                          <a:pt x="8251" y="10720"/>
                        </a:lnTo>
                        <a:lnTo>
                          <a:pt x="8190" y="10751"/>
                        </a:lnTo>
                        <a:lnTo>
                          <a:pt x="8128" y="10781"/>
                        </a:lnTo>
                        <a:lnTo>
                          <a:pt x="8066" y="10811"/>
                        </a:lnTo>
                        <a:lnTo>
                          <a:pt x="8003" y="10839"/>
                        </a:lnTo>
                        <a:lnTo>
                          <a:pt x="7940" y="10867"/>
                        </a:lnTo>
                        <a:lnTo>
                          <a:pt x="7877" y="10895"/>
                        </a:lnTo>
                        <a:lnTo>
                          <a:pt x="7813" y="10921"/>
                        </a:lnTo>
                        <a:lnTo>
                          <a:pt x="7749" y="10947"/>
                        </a:lnTo>
                        <a:lnTo>
                          <a:pt x="7685" y="10972"/>
                        </a:lnTo>
                        <a:lnTo>
                          <a:pt x="7620" y="10996"/>
                        </a:lnTo>
                        <a:lnTo>
                          <a:pt x="7554" y="11020"/>
                        </a:lnTo>
                        <a:lnTo>
                          <a:pt x="7489" y="11042"/>
                        </a:lnTo>
                        <a:lnTo>
                          <a:pt x="7423" y="11064"/>
                        </a:lnTo>
                        <a:lnTo>
                          <a:pt x="7356" y="11085"/>
                        </a:lnTo>
                        <a:lnTo>
                          <a:pt x="7289" y="11106"/>
                        </a:lnTo>
                        <a:lnTo>
                          <a:pt x="7222" y="11125"/>
                        </a:lnTo>
                        <a:lnTo>
                          <a:pt x="7155" y="11144"/>
                        </a:lnTo>
                        <a:lnTo>
                          <a:pt x="7087" y="11162"/>
                        </a:lnTo>
                        <a:lnTo>
                          <a:pt x="7019" y="11179"/>
                        </a:lnTo>
                        <a:lnTo>
                          <a:pt x="6951" y="11195"/>
                        </a:lnTo>
                        <a:lnTo>
                          <a:pt x="6882" y="11210"/>
                        </a:lnTo>
                        <a:lnTo>
                          <a:pt x="6813" y="11225"/>
                        </a:lnTo>
                        <a:lnTo>
                          <a:pt x="6744" y="11239"/>
                        </a:lnTo>
                        <a:lnTo>
                          <a:pt x="6674" y="11252"/>
                        </a:lnTo>
                        <a:lnTo>
                          <a:pt x="6604" y="11264"/>
                        </a:lnTo>
                        <a:lnTo>
                          <a:pt x="6534" y="11275"/>
                        </a:lnTo>
                        <a:lnTo>
                          <a:pt x="6463" y="11285"/>
                        </a:lnTo>
                        <a:lnTo>
                          <a:pt x="6392" y="11295"/>
                        </a:lnTo>
                        <a:lnTo>
                          <a:pt x="6321" y="11303"/>
                        </a:lnTo>
                        <a:lnTo>
                          <a:pt x="6250" y="11311"/>
                        </a:lnTo>
                        <a:lnTo>
                          <a:pt x="6178" y="11318"/>
                        </a:lnTo>
                        <a:lnTo>
                          <a:pt x="6107" y="11324"/>
                        </a:lnTo>
                        <a:lnTo>
                          <a:pt x="6034" y="11329"/>
                        </a:lnTo>
                        <a:lnTo>
                          <a:pt x="5962" y="11333"/>
                        </a:lnTo>
                        <a:lnTo>
                          <a:pt x="5890" y="11336"/>
                        </a:lnTo>
                        <a:lnTo>
                          <a:pt x="5817" y="11338"/>
                        </a:lnTo>
                        <a:lnTo>
                          <a:pt x="5744" y="11340"/>
                        </a:lnTo>
                        <a:lnTo>
                          <a:pt x="5669" y="11340"/>
                        </a:lnTo>
                        <a:lnTo>
                          <a:pt x="5669" y="11340"/>
                        </a:lnTo>
                        <a:lnTo>
                          <a:pt x="5596" y="11340"/>
                        </a:lnTo>
                        <a:lnTo>
                          <a:pt x="5523" y="11338"/>
                        </a:lnTo>
                        <a:lnTo>
                          <a:pt x="5450" y="11336"/>
                        </a:lnTo>
                        <a:lnTo>
                          <a:pt x="5378" y="11333"/>
                        </a:lnTo>
                        <a:lnTo>
                          <a:pt x="5305" y="11329"/>
                        </a:lnTo>
                        <a:lnTo>
                          <a:pt x="5233" y="11324"/>
                        </a:lnTo>
                        <a:lnTo>
                          <a:pt x="5161" y="11318"/>
                        </a:lnTo>
                        <a:lnTo>
                          <a:pt x="5090" y="11311"/>
                        </a:lnTo>
                        <a:lnTo>
                          <a:pt x="5018" y="11303"/>
                        </a:lnTo>
                        <a:lnTo>
                          <a:pt x="4947" y="11295"/>
                        </a:lnTo>
                        <a:lnTo>
                          <a:pt x="4876" y="11285"/>
                        </a:lnTo>
                        <a:lnTo>
                          <a:pt x="4806" y="11275"/>
                        </a:lnTo>
                        <a:lnTo>
                          <a:pt x="4736" y="11264"/>
                        </a:lnTo>
                        <a:lnTo>
                          <a:pt x="4666" y="11252"/>
                        </a:lnTo>
                        <a:lnTo>
                          <a:pt x="4596" y="11239"/>
                        </a:lnTo>
                        <a:lnTo>
                          <a:pt x="4527" y="11225"/>
                        </a:lnTo>
                        <a:lnTo>
                          <a:pt x="4458" y="11210"/>
                        </a:lnTo>
                        <a:lnTo>
                          <a:pt x="4389" y="11195"/>
                        </a:lnTo>
                        <a:lnTo>
                          <a:pt x="4320" y="11179"/>
                        </a:lnTo>
                        <a:lnTo>
                          <a:pt x="4252" y="11162"/>
                        </a:lnTo>
                        <a:lnTo>
                          <a:pt x="4185" y="11144"/>
                        </a:lnTo>
                        <a:lnTo>
                          <a:pt x="4117" y="11125"/>
                        </a:lnTo>
                        <a:lnTo>
                          <a:pt x="4050" y="11106"/>
                        </a:lnTo>
                        <a:lnTo>
                          <a:pt x="3983" y="11085"/>
                        </a:lnTo>
                        <a:lnTo>
                          <a:pt x="3917" y="11064"/>
                        </a:lnTo>
                        <a:lnTo>
                          <a:pt x="3851" y="11042"/>
                        </a:lnTo>
                        <a:lnTo>
                          <a:pt x="3785" y="11020"/>
                        </a:lnTo>
                        <a:lnTo>
                          <a:pt x="3720" y="10996"/>
                        </a:lnTo>
                        <a:lnTo>
                          <a:pt x="3655" y="10972"/>
                        </a:lnTo>
                        <a:lnTo>
                          <a:pt x="3590" y="10947"/>
                        </a:lnTo>
                        <a:lnTo>
                          <a:pt x="3526" y="10921"/>
                        </a:lnTo>
                        <a:lnTo>
                          <a:pt x="3462" y="10895"/>
                        </a:lnTo>
                        <a:lnTo>
                          <a:pt x="3399" y="10867"/>
                        </a:lnTo>
                        <a:lnTo>
                          <a:pt x="3336" y="10839"/>
                        </a:lnTo>
                        <a:lnTo>
                          <a:pt x="3273" y="10811"/>
                        </a:lnTo>
                        <a:lnTo>
                          <a:pt x="3211" y="10781"/>
                        </a:lnTo>
                        <a:lnTo>
                          <a:pt x="3150" y="10751"/>
                        </a:lnTo>
                        <a:lnTo>
                          <a:pt x="3088" y="10720"/>
                        </a:lnTo>
                        <a:lnTo>
                          <a:pt x="3027" y="10688"/>
                        </a:lnTo>
                        <a:lnTo>
                          <a:pt x="2967" y="10656"/>
                        </a:lnTo>
                        <a:lnTo>
                          <a:pt x="2907" y="10623"/>
                        </a:lnTo>
                        <a:lnTo>
                          <a:pt x="2847" y="10589"/>
                        </a:lnTo>
                        <a:lnTo>
                          <a:pt x="2788" y="10555"/>
                        </a:lnTo>
                        <a:lnTo>
                          <a:pt x="2729" y="10519"/>
                        </a:lnTo>
                        <a:lnTo>
                          <a:pt x="2671" y="10484"/>
                        </a:lnTo>
                        <a:lnTo>
                          <a:pt x="2613" y="10447"/>
                        </a:lnTo>
                        <a:lnTo>
                          <a:pt x="2556" y="10410"/>
                        </a:lnTo>
                        <a:lnTo>
                          <a:pt x="2499" y="10372"/>
                        </a:lnTo>
                        <a:lnTo>
                          <a:pt x="2443" y="10333"/>
                        </a:lnTo>
                        <a:lnTo>
                          <a:pt x="2387" y="10294"/>
                        </a:lnTo>
                        <a:lnTo>
                          <a:pt x="2332" y="10254"/>
                        </a:lnTo>
                        <a:lnTo>
                          <a:pt x="2277" y="10214"/>
                        </a:lnTo>
                        <a:lnTo>
                          <a:pt x="2223" y="10173"/>
                        </a:lnTo>
                        <a:lnTo>
                          <a:pt x="2169" y="10131"/>
                        </a:lnTo>
                        <a:lnTo>
                          <a:pt x="2116" y="10089"/>
                        </a:lnTo>
                        <a:lnTo>
                          <a:pt x="2063" y="10046"/>
                        </a:lnTo>
                        <a:lnTo>
                          <a:pt x="2011" y="10002"/>
                        </a:lnTo>
                        <a:lnTo>
                          <a:pt x="1959" y="9958"/>
                        </a:lnTo>
                        <a:lnTo>
                          <a:pt x="1908" y="9913"/>
                        </a:lnTo>
                        <a:lnTo>
                          <a:pt x="1857" y="9867"/>
                        </a:lnTo>
                        <a:lnTo>
                          <a:pt x="1807" y="9821"/>
                        </a:lnTo>
                        <a:lnTo>
                          <a:pt x="1758" y="9775"/>
                        </a:lnTo>
                        <a:lnTo>
                          <a:pt x="1709" y="9727"/>
                        </a:lnTo>
                        <a:lnTo>
                          <a:pt x="1660" y="9680"/>
                        </a:lnTo>
                        <a:lnTo>
                          <a:pt x="1613" y="9631"/>
                        </a:lnTo>
                        <a:lnTo>
                          <a:pt x="1565" y="9582"/>
                        </a:lnTo>
                        <a:lnTo>
                          <a:pt x="1519" y="9533"/>
                        </a:lnTo>
                        <a:lnTo>
                          <a:pt x="1473" y="9483"/>
                        </a:lnTo>
                        <a:lnTo>
                          <a:pt x="1427" y="9432"/>
                        </a:lnTo>
                        <a:lnTo>
                          <a:pt x="1382" y="9381"/>
                        </a:lnTo>
                        <a:lnTo>
                          <a:pt x="1338" y="9329"/>
                        </a:lnTo>
                        <a:lnTo>
                          <a:pt x="1294" y="9277"/>
                        </a:lnTo>
                        <a:lnTo>
                          <a:pt x="1251" y="9224"/>
                        </a:lnTo>
                        <a:lnTo>
                          <a:pt x="1209" y="9171"/>
                        </a:lnTo>
                        <a:lnTo>
                          <a:pt x="1167" y="9117"/>
                        </a:lnTo>
                        <a:lnTo>
                          <a:pt x="1126" y="9063"/>
                        </a:lnTo>
                        <a:lnTo>
                          <a:pt x="1086" y="9008"/>
                        </a:lnTo>
                        <a:lnTo>
                          <a:pt x="1046" y="8953"/>
                        </a:lnTo>
                        <a:lnTo>
                          <a:pt x="1007" y="8897"/>
                        </a:lnTo>
                        <a:lnTo>
                          <a:pt x="968" y="8840"/>
                        </a:lnTo>
                        <a:lnTo>
                          <a:pt x="930" y="8784"/>
                        </a:lnTo>
                        <a:lnTo>
                          <a:pt x="893" y="8726"/>
                        </a:lnTo>
                        <a:lnTo>
                          <a:pt x="856" y="8669"/>
                        </a:lnTo>
                        <a:lnTo>
                          <a:pt x="821" y="8610"/>
                        </a:lnTo>
                        <a:lnTo>
                          <a:pt x="785" y="8552"/>
                        </a:lnTo>
                        <a:lnTo>
                          <a:pt x="751" y="8493"/>
                        </a:lnTo>
                        <a:lnTo>
                          <a:pt x="717" y="8433"/>
                        </a:lnTo>
                        <a:lnTo>
                          <a:pt x="684" y="8373"/>
                        </a:lnTo>
                        <a:lnTo>
                          <a:pt x="652" y="8313"/>
                        </a:lnTo>
                        <a:lnTo>
                          <a:pt x="620" y="8252"/>
                        </a:lnTo>
                        <a:lnTo>
                          <a:pt x="589" y="8190"/>
                        </a:lnTo>
                        <a:lnTo>
                          <a:pt x="559" y="8129"/>
                        </a:lnTo>
                        <a:lnTo>
                          <a:pt x="529" y="8066"/>
                        </a:lnTo>
                        <a:lnTo>
                          <a:pt x="501" y="8004"/>
                        </a:lnTo>
                        <a:lnTo>
                          <a:pt x="473" y="7941"/>
                        </a:lnTo>
                        <a:lnTo>
                          <a:pt x="445" y="7877"/>
                        </a:lnTo>
                        <a:lnTo>
                          <a:pt x="419" y="7814"/>
                        </a:lnTo>
                        <a:lnTo>
                          <a:pt x="393" y="7749"/>
                        </a:lnTo>
                        <a:lnTo>
                          <a:pt x="368" y="7685"/>
                        </a:lnTo>
                        <a:lnTo>
                          <a:pt x="344" y="7620"/>
                        </a:lnTo>
                        <a:lnTo>
                          <a:pt x="320" y="7555"/>
                        </a:lnTo>
                        <a:lnTo>
                          <a:pt x="298" y="7489"/>
                        </a:lnTo>
                        <a:lnTo>
                          <a:pt x="276" y="7423"/>
                        </a:lnTo>
                        <a:lnTo>
                          <a:pt x="255" y="7357"/>
                        </a:lnTo>
                        <a:lnTo>
                          <a:pt x="234" y="7290"/>
                        </a:lnTo>
                        <a:lnTo>
                          <a:pt x="215" y="7223"/>
                        </a:lnTo>
                        <a:lnTo>
                          <a:pt x="196" y="7155"/>
                        </a:lnTo>
                        <a:lnTo>
                          <a:pt x="178" y="7088"/>
                        </a:lnTo>
                        <a:lnTo>
                          <a:pt x="161" y="7019"/>
                        </a:lnTo>
                        <a:lnTo>
                          <a:pt x="145" y="6951"/>
                        </a:lnTo>
                        <a:lnTo>
                          <a:pt x="130" y="6882"/>
                        </a:lnTo>
                        <a:lnTo>
                          <a:pt x="115" y="6813"/>
                        </a:lnTo>
                        <a:lnTo>
                          <a:pt x="101" y="6744"/>
                        </a:lnTo>
                        <a:lnTo>
                          <a:pt x="88" y="6674"/>
                        </a:lnTo>
                        <a:lnTo>
                          <a:pt x="76" y="6604"/>
                        </a:lnTo>
                        <a:lnTo>
                          <a:pt x="65" y="6534"/>
                        </a:lnTo>
                        <a:lnTo>
                          <a:pt x="55" y="6464"/>
                        </a:lnTo>
                        <a:lnTo>
                          <a:pt x="45" y="6393"/>
                        </a:lnTo>
                        <a:lnTo>
                          <a:pt x="37" y="6322"/>
                        </a:lnTo>
                        <a:lnTo>
                          <a:pt x="29" y="6250"/>
                        </a:lnTo>
                        <a:lnTo>
                          <a:pt x="22" y="6179"/>
                        </a:lnTo>
                        <a:lnTo>
                          <a:pt x="16" y="6107"/>
                        </a:lnTo>
                        <a:lnTo>
                          <a:pt x="11" y="6035"/>
                        </a:lnTo>
                        <a:lnTo>
                          <a:pt x="7" y="5962"/>
                        </a:lnTo>
                        <a:lnTo>
                          <a:pt x="4" y="5890"/>
                        </a:lnTo>
                        <a:lnTo>
                          <a:pt x="2" y="5817"/>
                        </a:lnTo>
                        <a:lnTo>
                          <a:pt x="0" y="5744"/>
                        </a:lnTo>
                        <a:lnTo>
                          <a:pt x="0" y="5671"/>
                        </a:lnTo>
                        <a:lnTo>
                          <a:pt x="0" y="5671"/>
                        </a:lnTo>
                        <a:lnTo>
                          <a:pt x="0" y="5596"/>
                        </a:lnTo>
                        <a:lnTo>
                          <a:pt x="2" y="5523"/>
                        </a:lnTo>
                        <a:lnTo>
                          <a:pt x="4" y="5451"/>
                        </a:lnTo>
                        <a:lnTo>
                          <a:pt x="7" y="5378"/>
                        </a:lnTo>
                        <a:lnTo>
                          <a:pt x="11" y="5306"/>
                        </a:lnTo>
                        <a:lnTo>
                          <a:pt x="16" y="5233"/>
                        </a:lnTo>
                        <a:lnTo>
                          <a:pt x="22" y="5162"/>
                        </a:lnTo>
                        <a:lnTo>
                          <a:pt x="29" y="5090"/>
                        </a:lnTo>
                        <a:lnTo>
                          <a:pt x="37" y="5019"/>
                        </a:lnTo>
                        <a:lnTo>
                          <a:pt x="45" y="4948"/>
                        </a:lnTo>
                        <a:lnTo>
                          <a:pt x="55" y="4877"/>
                        </a:lnTo>
                        <a:lnTo>
                          <a:pt x="65" y="4806"/>
                        </a:lnTo>
                        <a:lnTo>
                          <a:pt x="76" y="4736"/>
                        </a:lnTo>
                        <a:lnTo>
                          <a:pt x="88" y="4666"/>
                        </a:lnTo>
                        <a:lnTo>
                          <a:pt x="101" y="4596"/>
                        </a:lnTo>
                        <a:lnTo>
                          <a:pt x="115" y="4527"/>
                        </a:lnTo>
                        <a:lnTo>
                          <a:pt x="130" y="4458"/>
                        </a:lnTo>
                        <a:lnTo>
                          <a:pt x="145" y="4389"/>
                        </a:lnTo>
                        <a:lnTo>
                          <a:pt x="161" y="4321"/>
                        </a:lnTo>
                        <a:lnTo>
                          <a:pt x="178" y="4253"/>
                        </a:lnTo>
                        <a:lnTo>
                          <a:pt x="196" y="4185"/>
                        </a:lnTo>
                        <a:lnTo>
                          <a:pt x="215" y="4118"/>
                        </a:lnTo>
                        <a:lnTo>
                          <a:pt x="234" y="4050"/>
                        </a:lnTo>
                        <a:lnTo>
                          <a:pt x="255" y="3984"/>
                        </a:lnTo>
                        <a:lnTo>
                          <a:pt x="276" y="3917"/>
                        </a:lnTo>
                        <a:lnTo>
                          <a:pt x="298" y="3851"/>
                        </a:lnTo>
                        <a:lnTo>
                          <a:pt x="320" y="3786"/>
                        </a:lnTo>
                        <a:lnTo>
                          <a:pt x="344" y="3720"/>
                        </a:lnTo>
                        <a:lnTo>
                          <a:pt x="368" y="3655"/>
                        </a:lnTo>
                        <a:lnTo>
                          <a:pt x="393" y="3591"/>
                        </a:lnTo>
                        <a:lnTo>
                          <a:pt x="419" y="3527"/>
                        </a:lnTo>
                        <a:lnTo>
                          <a:pt x="445" y="3463"/>
                        </a:lnTo>
                        <a:lnTo>
                          <a:pt x="473" y="3399"/>
                        </a:lnTo>
                        <a:lnTo>
                          <a:pt x="501" y="3336"/>
                        </a:lnTo>
                        <a:lnTo>
                          <a:pt x="529" y="3274"/>
                        </a:lnTo>
                        <a:lnTo>
                          <a:pt x="559" y="3212"/>
                        </a:lnTo>
                        <a:lnTo>
                          <a:pt x="589" y="3150"/>
                        </a:lnTo>
                        <a:lnTo>
                          <a:pt x="620" y="3089"/>
                        </a:lnTo>
                        <a:lnTo>
                          <a:pt x="652" y="3028"/>
                        </a:lnTo>
                        <a:lnTo>
                          <a:pt x="684" y="2967"/>
                        </a:lnTo>
                        <a:lnTo>
                          <a:pt x="717" y="2907"/>
                        </a:lnTo>
                        <a:lnTo>
                          <a:pt x="751" y="2848"/>
                        </a:lnTo>
                        <a:lnTo>
                          <a:pt x="785" y="2788"/>
                        </a:lnTo>
                        <a:lnTo>
                          <a:pt x="821" y="2730"/>
                        </a:lnTo>
                        <a:lnTo>
                          <a:pt x="856" y="2672"/>
                        </a:lnTo>
                        <a:lnTo>
                          <a:pt x="893" y="2614"/>
                        </a:lnTo>
                        <a:lnTo>
                          <a:pt x="930" y="2557"/>
                        </a:lnTo>
                        <a:lnTo>
                          <a:pt x="968" y="2500"/>
                        </a:lnTo>
                        <a:lnTo>
                          <a:pt x="1007" y="2443"/>
                        </a:lnTo>
                        <a:lnTo>
                          <a:pt x="1046" y="2388"/>
                        </a:lnTo>
                        <a:lnTo>
                          <a:pt x="1086" y="2332"/>
                        </a:lnTo>
                        <a:lnTo>
                          <a:pt x="1126" y="2277"/>
                        </a:lnTo>
                        <a:lnTo>
                          <a:pt x="1167" y="2223"/>
                        </a:lnTo>
                        <a:lnTo>
                          <a:pt x="1209" y="2169"/>
                        </a:lnTo>
                        <a:lnTo>
                          <a:pt x="1251" y="2116"/>
                        </a:lnTo>
                        <a:lnTo>
                          <a:pt x="1294" y="2063"/>
                        </a:lnTo>
                        <a:lnTo>
                          <a:pt x="1338" y="2011"/>
                        </a:lnTo>
                        <a:lnTo>
                          <a:pt x="1382" y="1959"/>
                        </a:lnTo>
                        <a:lnTo>
                          <a:pt x="1427" y="1908"/>
                        </a:lnTo>
                        <a:lnTo>
                          <a:pt x="1473" y="1858"/>
                        </a:lnTo>
                        <a:lnTo>
                          <a:pt x="1519" y="1807"/>
                        </a:lnTo>
                        <a:lnTo>
                          <a:pt x="1565" y="1758"/>
                        </a:lnTo>
                        <a:lnTo>
                          <a:pt x="1613" y="1709"/>
                        </a:lnTo>
                        <a:lnTo>
                          <a:pt x="1660" y="1661"/>
                        </a:lnTo>
                        <a:lnTo>
                          <a:pt x="1709" y="1613"/>
                        </a:lnTo>
                        <a:lnTo>
                          <a:pt x="1758" y="1566"/>
                        </a:lnTo>
                        <a:lnTo>
                          <a:pt x="1807" y="1519"/>
                        </a:lnTo>
                        <a:lnTo>
                          <a:pt x="1857" y="1473"/>
                        </a:lnTo>
                        <a:lnTo>
                          <a:pt x="1908" y="1427"/>
                        </a:lnTo>
                        <a:lnTo>
                          <a:pt x="1959" y="1383"/>
                        </a:lnTo>
                        <a:lnTo>
                          <a:pt x="2011" y="1338"/>
                        </a:lnTo>
                        <a:lnTo>
                          <a:pt x="2063" y="1295"/>
                        </a:lnTo>
                        <a:lnTo>
                          <a:pt x="2116" y="1252"/>
                        </a:lnTo>
                        <a:lnTo>
                          <a:pt x="2169" y="1209"/>
                        </a:lnTo>
                        <a:lnTo>
                          <a:pt x="2223" y="1168"/>
                        </a:lnTo>
                        <a:lnTo>
                          <a:pt x="2277" y="1126"/>
                        </a:lnTo>
                        <a:lnTo>
                          <a:pt x="2332" y="1086"/>
                        </a:lnTo>
                        <a:lnTo>
                          <a:pt x="2387" y="1046"/>
                        </a:lnTo>
                        <a:lnTo>
                          <a:pt x="2443" y="1007"/>
                        </a:lnTo>
                        <a:lnTo>
                          <a:pt x="2499" y="968"/>
                        </a:lnTo>
                        <a:lnTo>
                          <a:pt x="2556" y="930"/>
                        </a:lnTo>
                        <a:lnTo>
                          <a:pt x="2613" y="893"/>
                        </a:lnTo>
                        <a:lnTo>
                          <a:pt x="2671" y="857"/>
                        </a:lnTo>
                        <a:lnTo>
                          <a:pt x="2729" y="821"/>
                        </a:lnTo>
                        <a:lnTo>
                          <a:pt x="2788" y="786"/>
                        </a:lnTo>
                        <a:lnTo>
                          <a:pt x="2847" y="751"/>
                        </a:lnTo>
                        <a:lnTo>
                          <a:pt x="2907" y="717"/>
                        </a:lnTo>
                        <a:lnTo>
                          <a:pt x="2967" y="684"/>
                        </a:lnTo>
                        <a:lnTo>
                          <a:pt x="3027" y="652"/>
                        </a:lnTo>
                        <a:lnTo>
                          <a:pt x="3088" y="620"/>
                        </a:lnTo>
                        <a:lnTo>
                          <a:pt x="3150" y="589"/>
                        </a:lnTo>
                        <a:lnTo>
                          <a:pt x="3211" y="559"/>
                        </a:lnTo>
                        <a:lnTo>
                          <a:pt x="3273" y="530"/>
                        </a:lnTo>
                        <a:lnTo>
                          <a:pt x="3336" y="501"/>
                        </a:lnTo>
                        <a:lnTo>
                          <a:pt x="3399" y="473"/>
                        </a:lnTo>
                        <a:lnTo>
                          <a:pt x="3462" y="446"/>
                        </a:lnTo>
                        <a:lnTo>
                          <a:pt x="3526" y="419"/>
                        </a:lnTo>
                        <a:lnTo>
                          <a:pt x="3590" y="393"/>
                        </a:lnTo>
                        <a:lnTo>
                          <a:pt x="3655" y="368"/>
                        </a:lnTo>
                        <a:lnTo>
                          <a:pt x="3720" y="344"/>
                        </a:lnTo>
                        <a:lnTo>
                          <a:pt x="3785" y="321"/>
                        </a:lnTo>
                        <a:lnTo>
                          <a:pt x="3851" y="298"/>
                        </a:lnTo>
                        <a:lnTo>
                          <a:pt x="3917" y="276"/>
                        </a:lnTo>
                        <a:lnTo>
                          <a:pt x="3983" y="255"/>
                        </a:lnTo>
                        <a:lnTo>
                          <a:pt x="4050" y="235"/>
                        </a:lnTo>
                        <a:lnTo>
                          <a:pt x="4117" y="215"/>
                        </a:lnTo>
                        <a:lnTo>
                          <a:pt x="4185" y="197"/>
                        </a:lnTo>
                        <a:lnTo>
                          <a:pt x="4252" y="179"/>
                        </a:lnTo>
                        <a:lnTo>
                          <a:pt x="4320" y="162"/>
                        </a:lnTo>
                        <a:lnTo>
                          <a:pt x="4389" y="145"/>
                        </a:lnTo>
                        <a:lnTo>
                          <a:pt x="4458" y="130"/>
                        </a:lnTo>
                        <a:lnTo>
                          <a:pt x="4527" y="115"/>
                        </a:lnTo>
                        <a:lnTo>
                          <a:pt x="4596" y="102"/>
                        </a:lnTo>
                        <a:lnTo>
                          <a:pt x="4666" y="89"/>
                        </a:lnTo>
                        <a:lnTo>
                          <a:pt x="4736" y="77"/>
                        </a:lnTo>
                        <a:lnTo>
                          <a:pt x="4806" y="65"/>
                        </a:lnTo>
                        <a:lnTo>
                          <a:pt x="4876" y="55"/>
                        </a:lnTo>
                        <a:lnTo>
                          <a:pt x="4947" y="46"/>
                        </a:lnTo>
                        <a:lnTo>
                          <a:pt x="5018" y="37"/>
                        </a:lnTo>
                        <a:lnTo>
                          <a:pt x="5090" y="29"/>
                        </a:lnTo>
                        <a:lnTo>
                          <a:pt x="5161" y="23"/>
                        </a:lnTo>
                        <a:lnTo>
                          <a:pt x="5233" y="17"/>
                        </a:lnTo>
                        <a:lnTo>
                          <a:pt x="5305" y="12"/>
                        </a:lnTo>
                        <a:lnTo>
                          <a:pt x="5378" y="8"/>
                        </a:lnTo>
                        <a:lnTo>
                          <a:pt x="5450" y="4"/>
                        </a:lnTo>
                        <a:lnTo>
                          <a:pt x="5523" y="2"/>
                        </a:lnTo>
                        <a:lnTo>
                          <a:pt x="5596" y="1"/>
                        </a:lnTo>
                        <a:lnTo>
                          <a:pt x="5669" y="0"/>
                        </a:lnTo>
                        <a:lnTo>
                          <a:pt x="5669" y="0"/>
                        </a:lnTo>
                        <a:lnTo>
                          <a:pt x="5744" y="1"/>
                        </a:lnTo>
                        <a:lnTo>
                          <a:pt x="5817" y="2"/>
                        </a:lnTo>
                        <a:lnTo>
                          <a:pt x="5890" y="4"/>
                        </a:lnTo>
                        <a:lnTo>
                          <a:pt x="5962" y="8"/>
                        </a:lnTo>
                        <a:lnTo>
                          <a:pt x="6034" y="12"/>
                        </a:lnTo>
                        <a:lnTo>
                          <a:pt x="6107" y="17"/>
                        </a:lnTo>
                        <a:lnTo>
                          <a:pt x="6178" y="23"/>
                        </a:lnTo>
                        <a:lnTo>
                          <a:pt x="6250" y="29"/>
                        </a:lnTo>
                        <a:lnTo>
                          <a:pt x="6321" y="37"/>
                        </a:lnTo>
                        <a:lnTo>
                          <a:pt x="6392" y="46"/>
                        </a:lnTo>
                        <a:lnTo>
                          <a:pt x="6463" y="55"/>
                        </a:lnTo>
                        <a:lnTo>
                          <a:pt x="6534" y="65"/>
                        </a:lnTo>
                        <a:lnTo>
                          <a:pt x="6604" y="77"/>
                        </a:lnTo>
                        <a:lnTo>
                          <a:pt x="6674" y="89"/>
                        </a:lnTo>
                        <a:lnTo>
                          <a:pt x="6744" y="102"/>
                        </a:lnTo>
                        <a:lnTo>
                          <a:pt x="6813" y="115"/>
                        </a:lnTo>
                        <a:lnTo>
                          <a:pt x="6882" y="130"/>
                        </a:lnTo>
                        <a:lnTo>
                          <a:pt x="6951" y="145"/>
                        </a:lnTo>
                        <a:lnTo>
                          <a:pt x="7019" y="162"/>
                        </a:lnTo>
                        <a:lnTo>
                          <a:pt x="7087" y="179"/>
                        </a:lnTo>
                        <a:lnTo>
                          <a:pt x="7155" y="197"/>
                        </a:lnTo>
                        <a:lnTo>
                          <a:pt x="7222" y="215"/>
                        </a:lnTo>
                        <a:lnTo>
                          <a:pt x="7289" y="235"/>
                        </a:lnTo>
                        <a:lnTo>
                          <a:pt x="7356" y="255"/>
                        </a:lnTo>
                        <a:lnTo>
                          <a:pt x="7423" y="276"/>
                        </a:lnTo>
                        <a:lnTo>
                          <a:pt x="7489" y="298"/>
                        </a:lnTo>
                        <a:lnTo>
                          <a:pt x="7554" y="321"/>
                        </a:lnTo>
                        <a:lnTo>
                          <a:pt x="7620" y="344"/>
                        </a:lnTo>
                        <a:lnTo>
                          <a:pt x="7685" y="368"/>
                        </a:lnTo>
                        <a:lnTo>
                          <a:pt x="7749" y="393"/>
                        </a:lnTo>
                        <a:lnTo>
                          <a:pt x="7813" y="419"/>
                        </a:lnTo>
                        <a:lnTo>
                          <a:pt x="7877" y="446"/>
                        </a:lnTo>
                        <a:lnTo>
                          <a:pt x="7940" y="473"/>
                        </a:lnTo>
                        <a:lnTo>
                          <a:pt x="8003" y="501"/>
                        </a:lnTo>
                        <a:lnTo>
                          <a:pt x="8066" y="530"/>
                        </a:lnTo>
                        <a:lnTo>
                          <a:pt x="8128" y="559"/>
                        </a:lnTo>
                        <a:lnTo>
                          <a:pt x="8190" y="589"/>
                        </a:lnTo>
                        <a:lnTo>
                          <a:pt x="8251" y="620"/>
                        </a:lnTo>
                        <a:lnTo>
                          <a:pt x="8312" y="652"/>
                        </a:lnTo>
                        <a:lnTo>
                          <a:pt x="8373" y="684"/>
                        </a:lnTo>
                        <a:lnTo>
                          <a:pt x="8433" y="717"/>
                        </a:lnTo>
                        <a:lnTo>
                          <a:pt x="8492" y="751"/>
                        </a:lnTo>
                        <a:lnTo>
                          <a:pt x="8551" y="786"/>
                        </a:lnTo>
                        <a:lnTo>
                          <a:pt x="8610" y="821"/>
                        </a:lnTo>
                        <a:lnTo>
                          <a:pt x="8668" y="857"/>
                        </a:lnTo>
                        <a:lnTo>
                          <a:pt x="8726" y="893"/>
                        </a:lnTo>
                        <a:lnTo>
                          <a:pt x="8783" y="930"/>
                        </a:lnTo>
                        <a:lnTo>
                          <a:pt x="8840" y="968"/>
                        </a:lnTo>
                        <a:lnTo>
                          <a:pt x="8896" y="1007"/>
                        </a:lnTo>
                        <a:lnTo>
                          <a:pt x="8952" y="1046"/>
                        </a:lnTo>
                        <a:lnTo>
                          <a:pt x="9008" y="1086"/>
                        </a:lnTo>
                        <a:lnTo>
                          <a:pt x="9062" y="1126"/>
                        </a:lnTo>
                        <a:lnTo>
                          <a:pt x="9117" y="1168"/>
                        </a:lnTo>
                        <a:lnTo>
                          <a:pt x="9170" y="1209"/>
                        </a:lnTo>
                        <a:lnTo>
                          <a:pt x="9224" y="1252"/>
                        </a:lnTo>
                        <a:lnTo>
                          <a:pt x="9277" y="1295"/>
                        </a:lnTo>
                        <a:lnTo>
                          <a:pt x="9329" y="1338"/>
                        </a:lnTo>
                        <a:lnTo>
                          <a:pt x="9380" y="1383"/>
                        </a:lnTo>
                        <a:lnTo>
                          <a:pt x="9432" y="1427"/>
                        </a:lnTo>
                        <a:lnTo>
                          <a:pt x="9482" y="1473"/>
                        </a:lnTo>
                        <a:lnTo>
                          <a:pt x="9532" y="1519"/>
                        </a:lnTo>
                        <a:lnTo>
                          <a:pt x="9582" y="1566"/>
                        </a:lnTo>
                        <a:lnTo>
                          <a:pt x="9631" y="1613"/>
                        </a:lnTo>
                        <a:lnTo>
                          <a:pt x="9679" y="1661"/>
                        </a:lnTo>
                        <a:lnTo>
                          <a:pt x="9727" y="1709"/>
                        </a:lnTo>
                        <a:lnTo>
                          <a:pt x="9774" y="1758"/>
                        </a:lnTo>
                        <a:lnTo>
                          <a:pt x="9821" y="1807"/>
                        </a:lnTo>
                        <a:lnTo>
                          <a:pt x="9867" y="1858"/>
                        </a:lnTo>
                        <a:lnTo>
                          <a:pt x="9912" y="1908"/>
                        </a:lnTo>
                        <a:lnTo>
                          <a:pt x="9957" y="1959"/>
                        </a:lnTo>
                        <a:lnTo>
                          <a:pt x="10001" y="2011"/>
                        </a:lnTo>
                        <a:lnTo>
                          <a:pt x="10045" y="2063"/>
                        </a:lnTo>
                        <a:lnTo>
                          <a:pt x="10088" y="2116"/>
                        </a:lnTo>
                        <a:lnTo>
                          <a:pt x="10130" y="2169"/>
                        </a:lnTo>
                        <a:lnTo>
                          <a:pt x="10172" y="2223"/>
                        </a:lnTo>
                        <a:lnTo>
                          <a:pt x="10213" y="2277"/>
                        </a:lnTo>
                        <a:lnTo>
                          <a:pt x="10254" y="2332"/>
                        </a:lnTo>
                        <a:lnTo>
                          <a:pt x="10294" y="2388"/>
                        </a:lnTo>
                        <a:lnTo>
                          <a:pt x="10333" y="2443"/>
                        </a:lnTo>
                        <a:lnTo>
                          <a:pt x="10371" y="2500"/>
                        </a:lnTo>
                        <a:lnTo>
                          <a:pt x="10409" y="2557"/>
                        </a:lnTo>
                        <a:lnTo>
                          <a:pt x="10446" y="2614"/>
                        </a:lnTo>
                        <a:lnTo>
                          <a:pt x="10483" y="2672"/>
                        </a:lnTo>
                        <a:lnTo>
                          <a:pt x="10519" y="2730"/>
                        </a:lnTo>
                        <a:lnTo>
                          <a:pt x="10554" y="2788"/>
                        </a:lnTo>
                        <a:lnTo>
                          <a:pt x="10588" y="2848"/>
                        </a:lnTo>
                        <a:lnTo>
                          <a:pt x="10622" y="2907"/>
                        </a:lnTo>
                        <a:lnTo>
                          <a:pt x="10655" y="2967"/>
                        </a:lnTo>
                        <a:lnTo>
                          <a:pt x="10688" y="3028"/>
                        </a:lnTo>
                        <a:lnTo>
                          <a:pt x="10719" y="3089"/>
                        </a:lnTo>
                        <a:lnTo>
                          <a:pt x="10750" y="3150"/>
                        </a:lnTo>
                        <a:lnTo>
                          <a:pt x="10780" y="3212"/>
                        </a:lnTo>
                        <a:lnTo>
                          <a:pt x="10810" y="3274"/>
                        </a:lnTo>
                        <a:lnTo>
                          <a:pt x="10839" y="3336"/>
                        </a:lnTo>
                        <a:lnTo>
                          <a:pt x="10867" y="3399"/>
                        </a:lnTo>
                        <a:lnTo>
                          <a:pt x="10894" y="3463"/>
                        </a:lnTo>
                        <a:lnTo>
                          <a:pt x="10921" y="3527"/>
                        </a:lnTo>
                        <a:lnTo>
                          <a:pt x="10946" y="3591"/>
                        </a:lnTo>
                        <a:lnTo>
                          <a:pt x="10971" y="3655"/>
                        </a:lnTo>
                        <a:lnTo>
                          <a:pt x="10996" y="3720"/>
                        </a:lnTo>
                        <a:lnTo>
                          <a:pt x="11019" y="3786"/>
                        </a:lnTo>
                        <a:lnTo>
                          <a:pt x="11042" y="3851"/>
                        </a:lnTo>
                        <a:lnTo>
                          <a:pt x="11064" y="3917"/>
                        </a:lnTo>
                        <a:lnTo>
                          <a:pt x="11085" y="3984"/>
                        </a:lnTo>
                        <a:lnTo>
                          <a:pt x="11105" y="4050"/>
                        </a:lnTo>
                        <a:lnTo>
                          <a:pt x="11124" y="4118"/>
                        </a:lnTo>
                        <a:lnTo>
                          <a:pt x="11143" y="4185"/>
                        </a:lnTo>
                        <a:lnTo>
                          <a:pt x="11161" y="4253"/>
                        </a:lnTo>
                        <a:lnTo>
                          <a:pt x="11178" y="4321"/>
                        </a:lnTo>
                        <a:lnTo>
                          <a:pt x="11194" y="4389"/>
                        </a:lnTo>
                        <a:lnTo>
                          <a:pt x="11210" y="4458"/>
                        </a:lnTo>
                        <a:lnTo>
                          <a:pt x="11224" y="4527"/>
                        </a:lnTo>
                        <a:lnTo>
                          <a:pt x="11238" y="4596"/>
                        </a:lnTo>
                        <a:lnTo>
                          <a:pt x="11251" y="4666"/>
                        </a:lnTo>
                        <a:lnTo>
                          <a:pt x="11263" y="4736"/>
                        </a:lnTo>
                        <a:lnTo>
                          <a:pt x="11274" y="4806"/>
                        </a:lnTo>
                        <a:lnTo>
                          <a:pt x="11285" y="4877"/>
                        </a:lnTo>
                        <a:lnTo>
                          <a:pt x="11294" y="4948"/>
                        </a:lnTo>
                        <a:lnTo>
                          <a:pt x="11303" y="5019"/>
                        </a:lnTo>
                        <a:lnTo>
                          <a:pt x="11310" y="5090"/>
                        </a:lnTo>
                        <a:lnTo>
                          <a:pt x="11317" y="5162"/>
                        </a:lnTo>
                        <a:lnTo>
                          <a:pt x="11323" y="5233"/>
                        </a:lnTo>
                        <a:lnTo>
                          <a:pt x="11328" y="5306"/>
                        </a:lnTo>
                        <a:lnTo>
                          <a:pt x="11332" y="5378"/>
                        </a:lnTo>
                        <a:lnTo>
                          <a:pt x="11335" y="5451"/>
                        </a:lnTo>
                        <a:lnTo>
                          <a:pt x="11338" y="5523"/>
                        </a:lnTo>
                        <a:lnTo>
                          <a:pt x="11339" y="5596"/>
                        </a:lnTo>
                        <a:lnTo>
                          <a:pt x="11340" y="5671"/>
                        </a:lnTo>
                        <a:close/>
                      </a:path>
                    </a:pathLst>
                  </a:custGeom>
                  <a:solidFill>
                    <a:srgbClr val="EC660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  <p:sp>
                <p:nvSpPr>
                  <p:cNvPr id="293" name="Freeform 7">
                    <a:extLst>
                      <a:ext uri="{FF2B5EF4-FFF2-40B4-BE49-F238E27FC236}">
                        <a16:creationId xmlns:a16="http://schemas.microsoft.com/office/drawing/2014/main" id="{7C64F6B6-FBC0-46FD-B24A-4652CE18E9E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88" y="1252"/>
                    <a:ext cx="2268" cy="2268"/>
                  </a:xfrm>
                  <a:custGeom>
                    <a:avLst/>
                    <a:gdLst/>
                    <a:ahLst/>
                    <a:cxnLst>
                      <a:cxn ang="0">
                        <a:pos x="11317" y="6179"/>
                      </a:cxn>
                      <a:cxn ang="0">
                        <a:pos x="11224" y="6813"/>
                      </a:cxn>
                      <a:cxn ang="0">
                        <a:pos x="11064" y="7423"/>
                      </a:cxn>
                      <a:cxn ang="0">
                        <a:pos x="10839" y="8004"/>
                      </a:cxn>
                      <a:cxn ang="0">
                        <a:pos x="10554" y="8552"/>
                      </a:cxn>
                      <a:cxn ang="0">
                        <a:pos x="10213" y="9063"/>
                      </a:cxn>
                      <a:cxn ang="0">
                        <a:pos x="9821" y="9533"/>
                      </a:cxn>
                      <a:cxn ang="0">
                        <a:pos x="9380" y="9958"/>
                      </a:cxn>
                      <a:cxn ang="0">
                        <a:pos x="8896" y="10333"/>
                      </a:cxn>
                      <a:cxn ang="0">
                        <a:pos x="8373" y="10656"/>
                      </a:cxn>
                      <a:cxn ang="0">
                        <a:pos x="7813" y="10921"/>
                      </a:cxn>
                      <a:cxn ang="0">
                        <a:pos x="7222" y="11125"/>
                      </a:cxn>
                      <a:cxn ang="0">
                        <a:pos x="6604" y="11264"/>
                      </a:cxn>
                      <a:cxn ang="0">
                        <a:pos x="5962" y="11333"/>
                      </a:cxn>
                      <a:cxn ang="0">
                        <a:pos x="5378" y="11333"/>
                      </a:cxn>
                      <a:cxn ang="0">
                        <a:pos x="4736" y="11264"/>
                      </a:cxn>
                      <a:cxn ang="0">
                        <a:pos x="4117" y="11125"/>
                      </a:cxn>
                      <a:cxn ang="0">
                        <a:pos x="3526" y="10921"/>
                      </a:cxn>
                      <a:cxn ang="0">
                        <a:pos x="2967" y="10656"/>
                      </a:cxn>
                      <a:cxn ang="0">
                        <a:pos x="2443" y="10333"/>
                      </a:cxn>
                      <a:cxn ang="0">
                        <a:pos x="1959" y="9958"/>
                      </a:cxn>
                      <a:cxn ang="0">
                        <a:pos x="1519" y="9533"/>
                      </a:cxn>
                      <a:cxn ang="0">
                        <a:pos x="1126" y="9063"/>
                      </a:cxn>
                      <a:cxn ang="0">
                        <a:pos x="785" y="8552"/>
                      </a:cxn>
                      <a:cxn ang="0">
                        <a:pos x="501" y="8004"/>
                      </a:cxn>
                      <a:cxn ang="0">
                        <a:pos x="276" y="7423"/>
                      </a:cxn>
                      <a:cxn ang="0">
                        <a:pos x="115" y="6813"/>
                      </a:cxn>
                      <a:cxn ang="0">
                        <a:pos x="22" y="6179"/>
                      </a:cxn>
                      <a:cxn ang="0">
                        <a:pos x="0" y="5596"/>
                      </a:cxn>
                      <a:cxn ang="0">
                        <a:pos x="45" y="4948"/>
                      </a:cxn>
                      <a:cxn ang="0">
                        <a:pos x="161" y="4321"/>
                      </a:cxn>
                      <a:cxn ang="0">
                        <a:pos x="344" y="3720"/>
                      </a:cxn>
                      <a:cxn ang="0">
                        <a:pos x="589" y="3150"/>
                      </a:cxn>
                      <a:cxn ang="0">
                        <a:pos x="893" y="2614"/>
                      </a:cxn>
                      <a:cxn ang="0">
                        <a:pos x="1251" y="2116"/>
                      </a:cxn>
                      <a:cxn ang="0">
                        <a:pos x="1660" y="1661"/>
                      </a:cxn>
                      <a:cxn ang="0">
                        <a:pos x="2116" y="1252"/>
                      </a:cxn>
                      <a:cxn ang="0">
                        <a:pos x="2613" y="893"/>
                      </a:cxn>
                      <a:cxn ang="0">
                        <a:pos x="3150" y="589"/>
                      </a:cxn>
                      <a:cxn ang="0">
                        <a:pos x="3720" y="344"/>
                      </a:cxn>
                      <a:cxn ang="0">
                        <a:pos x="4320" y="162"/>
                      </a:cxn>
                      <a:cxn ang="0">
                        <a:pos x="4947" y="46"/>
                      </a:cxn>
                      <a:cxn ang="0">
                        <a:pos x="5596" y="1"/>
                      </a:cxn>
                      <a:cxn ang="0">
                        <a:pos x="6178" y="23"/>
                      </a:cxn>
                      <a:cxn ang="0">
                        <a:pos x="6813" y="115"/>
                      </a:cxn>
                      <a:cxn ang="0">
                        <a:pos x="7423" y="276"/>
                      </a:cxn>
                      <a:cxn ang="0">
                        <a:pos x="8003" y="501"/>
                      </a:cxn>
                      <a:cxn ang="0">
                        <a:pos x="8551" y="786"/>
                      </a:cxn>
                      <a:cxn ang="0">
                        <a:pos x="9062" y="1126"/>
                      </a:cxn>
                      <a:cxn ang="0">
                        <a:pos x="9532" y="1519"/>
                      </a:cxn>
                      <a:cxn ang="0">
                        <a:pos x="9957" y="1959"/>
                      </a:cxn>
                      <a:cxn ang="0">
                        <a:pos x="10333" y="2443"/>
                      </a:cxn>
                      <a:cxn ang="0">
                        <a:pos x="10655" y="2967"/>
                      </a:cxn>
                      <a:cxn ang="0">
                        <a:pos x="10921" y="3527"/>
                      </a:cxn>
                      <a:cxn ang="0">
                        <a:pos x="11124" y="4118"/>
                      </a:cxn>
                      <a:cxn ang="0">
                        <a:pos x="11263" y="4736"/>
                      </a:cxn>
                      <a:cxn ang="0">
                        <a:pos x="11332" y="5378"/>
                      </a:cxn>
                    </a:cxnLst>
                    <a:rect l="0" t="0" r="r" b="b"/>
                    <a:pathLst>
                      <a:path w="11340" h="11340">
                        <a:moveTo>
                          <a:pt x="11340" y="5671"/>
                        </a:moveTo>
                        <a:lnTo>
                          <a:pt x="11340" y="5671"/>
                        </a:lnTo>
                        <a:lnTo>
                          <a:pt x="11339" y="5744"/>
                        </a:lnTo>
                        <a:lnTo>
                          <a:pt x="11338" y="5817"/>
                        </a:lnTo>
                        <a:lnTo>
                          <a:pt x="11335" y="5890"/>
                        </a:lnTo>
                        <a:lnTo>
                          <a:pt x="11332" y="5962"/>
                        </a:lnTo>
                        <a:lnTo>
                          <a:pt x="11328" y="6035"/>
                        </a:lnTo>
                        <a:lnTo>
                          <a:pt x="11323" y="6107"/>
                        </a:lnTo>
                        <a:lnTo>
                          <a:pt x="11317" y="6179"/>
                        </a:lnTo>
                        <a:lnTo>
                          <a:pt x="11310" y="6250"/>
                        </a:lnTo>
                        <a:lnTo>
                          <a:pt x="11303" y="6322"/>
                        </a:lnTo>
                        <a:lnTo>
                          <a:pt x="11294" y="6393"/>
                        </a:lnTo>
                        <a:lnTo>
                          <a:pt x="11285" y="6464"/>
                        </a:lnTo>
                        <a:lnTo>
                          <a:pt x="11274" y="6534"/>
                        </a:lnTo>
                        <a:lnTo>
                          <a:pt x="11263" y="6604"/>
                        </a:lnTo>
                        <a:lnTo>
                          <a:pt x="11251" y="6674"/>
                        </a:lnTo>
                        <a:lnTo>
                          <a:pt x="11238" y="6744"/>
                        </a:lnTo>
                        <a:lnTo>
                          <a:pt x="11224" y="6813"/>
                        </a:lnTo>
                        <a:lnTo>
                          <a:pt x="11210" y="6882"/>
                        </a:lnTo>
                        <a:lnTo>
                          <a:pt x="11194" y="6951"/>
                        </a:lnTo>
                        <a:lnTo>
                          <a:pt x="11178" y="7019"/>
                        </a:lnTo>
                        <a:lnTo>
                          <a:pt x="11161" y="7088"/>
                        </a:lnTo>
                        <a:lnTo>
                          <a:pt x="11143" y="7155"/>
                        </a:lnTo>
                        <a:lnTo>
                          <a:pt x="11124" y="7223"/>
                        </a:lnTo>
                        <a:lnTo>
                          <a:pt x="11105" y="7290"/>
                        </a:lnTo>
                        <a:lnTo>
                          <a:pt x="11085" y="7357"/>
                        </a:lnTo>
                        <a:lnTo>
                          <a:pt x="11064" y="7423"/>
                        </a:lnTo>
                        <a:lnTo>
                          <a:pt x="11042" y="7489"/>
                        </a:lnTo>
                        <a:lnTo>
                          <a:pt x="11019" y="7555"/>
                        </a:lnTo>
                        <a:lnTo>
                          <a:pt x="10996" y="7620"/>
                        </a:lnTo>
                        <a:lnTo>
                          <a:pt x="10971" y="7685"/>
                        </a:lnTo>
                        <a:lnTo>
                          <a:pt x="10946" y="7749"/>
                        </a:lnTo>
                        <a:lnTo>
                          <a:pt x="10921" y="7814"/>
                        </a:lnTo>
                        <a:lnTo>
                          <a:pt x="10894" y="7877"/>
                        </a:lnTo>
                        <a:lnTo>
                          <a:pt x="10867" y="7941"/>
                        </a:lnTo>
                        <a:lnTo>
                          <a:pt x="10839" y="8004"/>
                        </a:lnTo>
                        <a:lnTo>
                          <a:pt x="10810" y="8066"/>
                        </a:lnTo>
                        <a:lnTo>
                          <a:pt x="10780" y="8129"/>
                        </a:lnTo>
                        <a:lnTo>
                          <a:pt x="10750" y="8190"/>
                        </a:lnTo>
                        <a:lnTo>
                          <a:pt x="10719" y="8252"/>
                        </a:lnTo>
                        <a:lnTo>
                          <a:pt x="10688" y="8313"/>
                        </a:lnTo>
                        <a:lnTo>
                          <a:pt x="10655" y="8373"/>
                        </a:lnTo>
                        <a:lnTo>
                          <a:pt x="10622" y="8433"/>
                        </a:lnTo>
                        <a:lnTo>
                          <a:pt x="10588" y="8493"/>
                        </a:lnTo>
                        <a:lnTo>
                          <a:pt x="10554" y="8552"/>
                        </a:lnTo>
                        <a:lnTo>
                          <a:pt x="10519" y="8610"/>
                        </a:lnTo>
                        <a:lnTo>
                          <a:pt x="10483" y="8669"/>
                        </a:lnTo>
                        <a:lnTo>
                          <a:pt x="10446" y="8726"/>
                        </a:lnTo>
                        <a:lnTo>
                          <a:pt x="10409" y="8784"/>
                        </a:lnTo>
                        <a:lnTo>
                          <a:pt x="10371" y="8840"/>
                        </a:lnTo>
                        <a:lnTo>
                          <a:pt x="10333" y="8897"/>
                        </a:lnTo>
                        <a:lnTo>
                          <a:pt x="10294" y="8953"/>
                        </a:lnTo>
                        <a:lnTo>
                          <a:pt x="10254" y="9008"/>
                        </a:lnTo>
                        <a:lnTo>
                          <a:pt x="10213" y="9063"/>
                        </a:lnTo>
                        <a:lnTo>
                          <a:pt x="10172" y="9117"/>
                        </a:lnTo>
                        <a:lnTo>
                          <a:pt x="10130" y="9171"/>
                        </a:lnTo>
                        <a:lnTo>
                          <a:pt x="10088" y="9224"/>
                        </a:lnTo>
                        <a:lnTo>
                          <a:pt x="10045" y="9277"/>
                        </a:lnTo>
                        <a:lnTo>
                          <a:pt x="10001" y="9329"/>
                        </a:lnTo>
                        <a:lnTo>
                          <a:pt x="9957" y="9381"/>
                        </a:lnTo>
                        <a:lnTo>
                          <a:pt x="9912" y="9432"/>
                        </a:lnTo>
                        <a:lnTo>
                          <a:pt x="9867" y="9483"/>
                        </a:lnTo>
                        <a:lnTo>
                          <a:pt x="9821" y="9533"/>
                        </a:lnTo>
                        <a:lnTo>
                          <a:pt x="9774" y="9582"/>
                        </a:lnTo>
                        <a:lnTo>
                          <a:pt x="9727" y="9631"/>
                        </a:lnTo>
                        <a:lnTo>
                          <a:pt x="9679" y="9680"/>
                        </a:lnTo>
                        <a:lnTo>
                          <a:pt x="9631" y="9727"/>
                        </a:lnTo>
                        <a:lnTo>
                          <a:pt x="9582" y="9775"/>
                        </a:lnTo>
                        <a:lnTo>
                          <a:pt x="9532" y="9821"/>
                        </a:lnTo>
                        <a:lnTo>
                          <a:pt x="9482" y="9867"/>
                        </a:lnTo>
                        <a:lnTo>
                          <a:pt x="9432" y="9913"/>
                        </a:lnTo>
                        <a:lnTo>
                          <a:pt x="9380" y="9958"/>
                        </a:lnTo>
                        <a:lnTo>
                          <a:pt x="9329" y="10002"/>
                        </a:lnTo>
                        <a:lnTo>
                          <a:pt x="9277" y="10046"/>
                        </a:lnTo>
                        <a:lnTo>
                          <a:pt x="9224" y="10089"/>
                        </a:lnTo>
                        <a:lnTo>
                          <a:pt x="9170" y="10131"/>
                        </a:lnTo>
                        <a:lnTo>
                          <a:pt x="9117" y="10173"/>
                        </a:lnTo>
                        <a:lnTo>
                          <a:pt x="9062" y="10214"/>
                        </a:lnTo>
                        <a:lnTo>
                          <a:pt x="9008" y="10254"/>
                        </a:lnTo>
                        <a:lnTo>
                          <a:pt x="8952" y="10294"/>
                        </a:lnTo>
                        <a:lnTo>
                          <a:pt x="8896" y="10333"/>
                        </a:lnTo>
                        <a:lnTo>
                          <a:pt x="8840" y="10372"/>
                        </a:lnTo>
                        <a:lnTo>
                          <a:pt x="8783" y="10410"/>
                        </a:lnTo>
                        <a:lnTo>
                          <a:pt x="8726" y="10447"/>
                        </a:lnTo>
                        <a:lnTo>
                          <a:pt x="8668" y="10484"/>
                        </a:lnTo>
                        <a:lnTo>
                          <a:pt x="8610" y="10519"/>
                        </a:lnTo>
                        <a:lnTo>
                          <a:pt x="8551" y="10555"/>
                        </a:lnTo>
                        <a:lnTo>
                          <a:pt x="8492" y="10589"/>
                        </a:lnTo>
                        <a:lnTo>
                          <a:pt x="8433" y="10623"/>
                        </a:lnTo>
                        <a:lnTo>
                          <a:pt x="8373" y="10656"/>
                        </a:lnTo>
                        <a:lnTo>
                          <a:pt x="8312" y="10688"/>
                        </a:lnTo>
                        <a:lnTo>
                          <a:pt x="8251" y="10720"/>
                        </a:lnTo>
                        <a:lnTo>
                          <a:pt x="8190" y="10751"/>
                        </a:lnTo>
                        <a:lnTo>
                          <a:pt x="8128" y="10781"/>
                        </a:lnTo>
                        <a:lnTo>
                          <a:pt x="8066" y="10811"/>
                        </a:lnTo>
                        <a:lnTo>
                          <a:pt x="8003" y="10839"/>
                        </a:lnTo>
                        <a:lnTo>
                          <a:pt x="7940" y="10867"/>
                        </a:lnTo>
                        <a:lnTo>
                          <a:pt x="7877" y="10895"/>
                        </a:lnTo>
                        <a:lnTo>
                          <a:pt x="7813" y="10921"/>
                        </a:lnTo>
                        <a:lnTo>
                          <a:pt x="7749" y="10947"/>
                        </a:lnTo>
                        <a:lnTo>
                          <a:pt x="7685" y="10972"/>
                        </a:lnTo>
                        <a:lnTo>
                          <a:pt x="7620" y="10996"/>
                        </a:lnTo>
                        <a:lnTo>
                          <a:pt x="7554" y="11020"/>
                        </a:lnTo>
                        <a:lnTo>
                          <a:pt x="7489" y="11042"/>
                        </a:lnTo>
                        <a:lnTo>
                          <a:pt x="7423" y="11064"/>
                        </a:lnTo>
                        <a:lnTo>
                          <a:pt x="7356" y="11085"/>
                        </a:lnTo>
                        <a:lnTo>
                          <a:pt x="7289" y="11106"/>
                        </a:lnTo>
                        <a:lnTo>
                          <a:pt x="7222" y="11125"/>
                        </a:lnTo>
                        <a:lnTo>
                          <a:pt x="7155" y="11144"/>
                        </a:lnTo>
                        <a:lnTo>
                          <a:pt x="7087" y="11162"/>
                        </a:lnTo>
                        <a:lnTo>
                          <a:pt x="7019" y="11179"/>
                        </a:lnTo>
                        <a:lnTo>
                          <a:pt x="6951" y="11195"/>
                        </a:lnTo>
                        <a:lnTo>
                          <a:pt x="6882" y="11210"/>
                        </a:lnTo>
                        <a:lnTo>
                          <a:pt x="6813" y="11225"/>
                        </a:lnTo>
                        <a:lnTo>
                          <a:pt x="6744" y="11239"/>
                        </a:lnTo>
                        <a:lnTo>
                          <a:pt x="6674" y="11252"/>
                        </a:lnTo>
                        <a:lnTo>
                          <a:pt x="6604" y="11264"/>
                        </a:lnTo>
                        <a:lnTo>
                          <a:pt x="6534" y="11275"/>
                        </a:lnTo>
                        <a:lnTo>
                          <a:pt x="6463" y="11285"/>
                        </a:lnTo>
                        <a:lnTo>
                          <a:pt x="6392" y="11295"/>
                        </a:lnTo>
                        <a:lnTo>
                          <a:pt x="6321" y="11303"/>
                        </a:lnTo>
                        <a:lnTo>
                          <a:pt x="6250" y="11311"/>
                        </a:lnTo>
                        <a:lnTo>
                          <a:pt x="6178" y="11318"/>
                        </a:lnTo>
                        <a:lnTo>
                          <a:pt x="6107" y="11324"/>
                        </a:lnTo>
                        <a:lnTo>
                          <a:pt x="6034" y="11329"/>
                        </a:lnTo>
                        <a:lnTo>
                          <a:pt x="5962" y="11333"/>
                        </a:lnTo>
                        <a:lnTo>
                          <a:pt x="5890" y="11336"/>
                        </a:lnTo>
                        <a:lnTo>
                          <a:pt x="5817" y="11338"/>
                        </a:lnTo>
                        <a:lnTo>
                          <a:pt x="5744" y="11340"/>
                        </a:lnTo>
                        <a:lnTo>
                          <a:pt x="5669" y="11340"/>
                        </a:lnTo>
                        <a:lnTo>
                          <a:pt x="5669" y="11340"/>
                        </a:lnTo>
                        <a:lnTo>
                          <a:pt x="5596" y="11340"/>
                        </a:lnTo>
                        <a:lnTo>
                          <a:pt x="5523" y="11338"/>
                        </a:lnTo>
                        <a:lnTo>
                          <a:pt x="5450" y="11336"/>
                        </a:lnTo>
                        <a:lnTo>
                          <a:pt x="5378" y="11333"/>
                        </a:lnTo>
                        <a:lnTo>
                          <a:pt x="5305" y="11329"/>
                        </a:lnTo>
                        <a:lnTo>
                          <a:pt x="5233" y="11324"/>
                        </a:lnTo>
                        <a:lnTo>
                          <a:pt x="5161" y="11318"/>
                        </a:lnTo>
                        <a:lnTo>
                          <a:pt x="5090" y="11311"/>
                        </a:lnTo>
                        <a:lnTo>
                          <a:pt x="5018" y="11303"/>
                        </a:lnTo>
                        <a:lnTo>
                          <a:pt x="4947" y="11295"/>
                        </a:lnTo>
                        <a:lnTo>
                          <a:pt x="4876" y="11285"/>
                        </a:lnTo>
                        <a:lnTo>
                          <a:pt x="4806" y="11275"/>
                        </a:lnTo>
                        <a:lnTo>
                          <a:pt x="4736" y="11264"/>
                        </a:lnTo>
                        <a:lnTo>
                          <a:pt x="4666" y="11252"/>
                        </a:lnTo>
                        <a:lnTo>
                          <a:pt x="4596" y="11239"/>
                        </a:lnTo>
                        <a:lnTo>
                          <a:pt x="4527" y="11225"/>
                        </a:lnTo>
                        <a:lnTo>
                          <a:pt x="4458" y="11210"/>
                        </a:lnTo>
                        <a:lnTo>
                          <a:pt x="4389" y="11195"/>
                        </a:lnTo>
                        <a:lnTo>
                          <a:pt x="4320" y="11179"/>
                        </a:lnTo>
                        <a:lnTo>
                          <a:pt x="4252" y="11162"/>
                        </a:lnTo>
                        <a:lnTo>
                          <a:pt x="4185" y="11144"/>
                        </a:lnTo>
                        <a:lnTo>
                          <a:pt x="4117" y="11125"/>
                        </a:lnTo>
                        <a:lnTo>
                          <a:pt x="4050" y="11106"/>
                        </a:lnTo>
                        <a:lnTo>
                          <a:pt x="3983" y="11085"/>
                        </a:lnTo>
                        <a:lnTo>
                          <a:pt x="3917" y="11064"/>
                        </a:lnTo>
                        <a:lnTo>
                          <a:pt x="3851" y="11042"/>
                        </a:lnTo>
                        <a:lnTo>
                          <a:pt x="3785" y="11020"/>
                        </a:lnTo>
                        <a:lnTo>
                          <a:pt x="3720" y="10996"/>
                        </a:lnTo>
                        <a:lnTo>
                          <a:pt x="3655" y="10972"/>
                        </a:lnTo>
                        <a:lnTo>
                          <a:pt x="3590" y="10947"/>
                        </a:lnTo>
                        <a:lnTo>
                          <a:pt x="3526" y="10921"/>
                        </a:lnTo>
                        <a:lnTo>
                          <a:pt x="3462" y="10895"/>
                        </a:lnTo>
                        <a:lnTo>
                          <a:pt x="3399" y="10867"/>
                        </a:lnTo>
                        <a:lnTo>
                          <a:pt x="3336" y="10839"/>
                        </a:lnTo>
                        <a:lnTo>
                          <a:pt x="3273" y="10811"/>
                        </a:lnTo>
                        <a:lnTo>
                          <a:pt x="3211" y="10781"/>
                        </a:lnTo>
                        <a:lnTo>
                          <a:pt x="3150" y="10751"/>
                        </a:lnTo>
                        <a:lnTo>
                          <a:pt x="3088" y="10720"/>
                        </a:lnTo>
                        <a:lnTo>
                          <a:pt x="3027" y="10688"/>
                        </a:lnTo>
                        <a:lnTo>
                          <a:pt x="2967" y="10656"/>
                        </a:lnTo>
                        <a:lnTo>
                          <a:pt x="2907" y="10623"/>
                        </a:lnTo>
                        <a:lnTo>
                          <a:pt x="2847" y="10589"/>
                        </a:lnTo>
                        <a:lnTo>
                          <a:pt x="2788" y="10555"/>
                        </a:lnTo>
                        <a:lnTo>
                          <a:pt x="2729" y="10519"/>
                        </a:lnTo>
                        <a:lnTo>
                          <a:pt x="2671" y="10484"/>
                        </a:lnTo>
                        <a:lnTo>
                          <a:pt x="2613" y="10447"/>
                        </a:lnTo>
                        <a:lnTo>
                          <a:pt x="2556" y="10410"/>
                        </a:lnTo>
                        <a:lnTo>
                          <a:pt x="2499" y="10372"/>
                        </a:lnTo>
                        <a:lnTo>
                          <a:pt x="2443" y="10333"/>
                        </a:lnTo>
                        <a:lnTo>
                          <a:pt x="2387" y="10294"/>
                        </a:lnTo>
                        <a:lnTo>
                          <a:pt x="2332" y="10254"/>
                        </a:lnTo>
                        <a:lnTo>
                          <a:pt x="2277" y="10214"/>
                        </a:lnTo>
                        <a:lnTo>
                          <a:pt x="2223" y="10173"/>
                        </a:lnTo>
                        <a:lnTo>
                          <a:pt x="2169" y="10131"/>
                        </a:lnTo>
                        <a:lnTo>
                          <a:pt x="2116" y="10089"/>
                        </a:lnTo>
                        <a:lnTo>
                          <a:pt x="2063" y="10046"/>
                        </a:lnTo>
                        <a:lnTo>
                          <a:pt x="2011" y="10002"/>
                        </a:lnTo>
                        <a:lnTo>
                          <a:pt x="1959" y="9958"/>
                        </a:lnTo>
                        <a:lnTo>
                          <a:pt x="1908" y="9913"/>
                        </a:lnTo>
                        <a:lnTo>
                          <a:pt x="1857" y="9867"/>
                        </a:lnTo>
                        <a:lnTo>
                          <a:pt x="1807" y="9821"/>
                        </a:lnTo>
                        <a:lnTo>
                          <a:pt x="1758" y="9775"/>
                        </a:lnTo>
                        <a:lnTo>
                          <a:pt x="1709" y="9727"/>
                        </a:lnTo>
                        <a:lnTo>
                          <a:pt x="1660" y="9680"/>
                        </a:lnTo>
                        <a:lnTo>
                          <a:pt x="1613" y="9631"/>
                        </a:lnTo>
                        <a:lnTo>
                          <a:pt x="1565" y="9582"/>
                        </a:lnTo>
                        <a:lnTo>
                          <a:pt x="1519" y="9533"/>
                        </a:lnTo>
                        <a:lnTo>
                          <a:pt x="1473" y="9483"/>
                        </a:lnTo>
                        <a:lnTo>
                          <a:pt x="1427" y="9432"/>
                        </a:lnTo>
                        <a:lnTo>
                          <a:pt x="1382" y="9381"/>
                        </a:lnTo>
                        <a:lnTo>
                          <a:pt x="1338" y="9329"/>
                        </a:lnTo>
                        <a:lnTo>
                          <a:pt x="1294" y="9277"/>
                        </a:lnTo>
                        <a:lnTo>
                          <a:pt x="1251" y="9224"/>
                        </a:lnTo>
                        <a:lnTo>
                          <a:pt x="1209" y="9171"/>
                        </a:lnTo>
                        <a:lnTo>
                          <a:pt x="1167" y="9117"/>
                        </a:lnTo>
                        <a:lnTo>
                          <a:pt x="1126" y="9063"/>
                        </a:lnTo>
                        <a:lnTo>
                          <a:pt x="1086" y="9008"/>
                        </a:lnTo>
                        <a:lnTo>
                          <a:pt x="1046" y="8953"/>
                        </a:lnTo>
                        <a:lnTo>
                          <a:pt x="1007" y="8897"/>
                        </a:lnTo>
                        <a:lnTo>
                          <a:pt x="968" y="8840"/>
                        </a:lnTo>
                        <a:lnTo>
                          <a:pt x="930" y="8784"/>
                        </a:lnTo>
                        <a:lnTo>
                          <a:pt x="893" y="8726"/>
                        </a:lnTo>
                        <a:lnTo>
                          <a:pt x="856" y="8669"/>
                        </a:lnTo>
                        <a:lnTo>
                          <a:pt x="821" y="8610"/>
                        </a:lnTo>
                        <a:lnTo>
                          <a:pt x="785" y="8552"/>
                        </a:lnTo>
                        <a:lnTo>
                          <a:pt x="751" y="8493"/>
                        </a:lnTo>
                        <a:lnTo>
                          <a:pt x="717" y="8433"/>
                        </a:lnTo>
                        <a:lnTo>
                          <a:pt x="684" y="8373"/>
                        </a:lnTo>
                        <a:lnTo>
                          <a:pt x="652" y="8313"/>
                        </a:lnTo>
                        <a:lnTo>
                          <a:pt x="620" y="8252"/>
                        </a:lnTo>
                        <a:lnTo>
                          <a:pt x="589" y="8190"/>
                        </a:lnTo>
                        <a:lnTo>
                          <a:pt x="559" y="8129"/>
                        </a:lnTo>
                        <a:lnTo>
                          <a:pt x="529" y="8066"/>
                        </a:lnTo>
                        <a:lnTo>
                          <a:pt x="501" y="8004"/>
                        </a:lnTo>
                        <a:lnTo>
                          <a:pt x="473" y="7941"/>
                        </a:lnTo>
                        <a:lnTo>
                          <a:pt x="445" y="7877"/>
                        </a:lnTo>
                        <a:lnTo>
                          <a:pt x="419" y="7814"/>
                        </a:lnTo>
                        <a:lnTo>
                          <a:pt x="393" y="7749"/>
                        </a:lnTo>
                        <a:lnTo>
                          <a:pt x="368" y="7685"/>
                        </a:lnTo>
                        <a:lnTo>
                          <a:pt x="344" y="7620"/>
                        </a:lnTo>
                        <a:lnTo>
                          <a:pt x="320" y="7555"/>
                        </a:lnTo>
                        <a:lnTo>
                          <a:pt x="298" y="7489"/>
                        </a:lnTo>
                        <a:lnTo>
                          <a:pt x="276" y="7423"/>
                        </a:lnTo>
                        <a:lnTo>
                          <a:pt x="255" y="7357"/>
                        </a:lnTo>
                        <a:lnTo>
                          <a:pt x="234" y="7290"/>
                        </a:lnTo>
                        <a:lnTo>
                          <a:pt x="215" y="7223"/>
                        </a:lnTo>
                        <a:lnTo>
                          <a:pt x="196" y="7155"/>
                        </a:lnTo>
                        <a:lnTo>
                          <a:pt x="178" y="7088"/>
                        </a:lnTo>
                        <a:lnTo>
                          <a:pt x="161" y="7019"/>
                        </a:lnTo>
                        <a:lnTo>
                          <a:pt x="145" y="6951"/>
                        </a:lnTo>
                        <a:lnTo>
                          <a:pt x="130" y="6882"/>
                        </a:lnTo>
                        <a:lnTo>
                          <a:pt x="115" y="6813"/>
                        </a:lnTo>
                        <a:lnTo>
                          <a:pt x="101" y="6744"/>
                        </a:lnTo>
                        <a:lnTo>
                          <a:pt x="88" y="6674"/>
                        </a:lnTo>
                        <a:lnTo>
                          <a:pt x="76" y="6604"/>
                        </a:lnTo>
                        <a:lnTo>
                          <a:pt x="65" y="6534"/>
                        </a:lnTo>
                        <a:lnTo>
                          <a:pt x="55" y="6464"/>
                        </a:lnTo>
                        <a:lnTo>
                          <a:pt x="45" y="6393"/>
                        </a:lnTo>
                        <a:lnTo>
                          <a:pt x="37" y="6322"/>
                        </a:lnTo>
                        <a:lnTo>
                          <a:pt x="29" y="6250"/>
                        </a:lnTo>
                        <a:lnTo>
                          <a:pt x="22" y="6179"/>
                        </a:lnTo>
                        <a:lnTo>
                          <a:pt x="16" y="6107"/>
                        </a:lnTo>
                        <a:lnTo>
                          <a:pt x="11" y="6035"/>
                        </a:lnTo>
                        <a:lnTo>
                          <a:pt x="7" y="5962"/>
                        </a:lnTo>
                        <a:lnTo>
                          <a:pt x="4" y="5890"/>
                        </a:lnTo>
                        <a:lnTo>
                          <a:pt x="2" y="5817"/>
                        </a:lnTo>
                        <a:lnTo>
                          <a:pt x="0" y="5744"/>
                        </a:lnTo>
                        <a:lnTo>
                          <a:pt x="0" y="5671"/>
                        </a:lnTo>
                        <a:lnTo>
                          <a:pt x="0" y="5671"/>
                        </a:lnTo>
                        <a:lnTo>
                          <a:pt x="0" y="5596"/>
                        </a:lnTo>
                        <a:lnTo>
                          <a:pt x="2" y="5523"/>
                        </a:lnTo>
                        <a:lnTo>
                          <a:pt x="4" y="5451"/>
                        </a:lnTo>
                        <a:lnTo>
                          <a:pt x="7" y="5378"/>
                        </a:lnTo>
                        <a:lnTo>
                          <a:pt x="11" y="5306"/>
                        </a:lnTo>
                        <a:lnTo>
                          <a:pt x="16" y="5233"/>
                        </a:lnTo>
                        <a:lnTo>
                          <a:pt x="22" y="5162"/>
                        </a:lnTo>
                        <a:lnTo>
                          <a:pt x="29" y="5090"/>
                        </a:lnTo>
                        <a:lnTo>
                          <a:pt x="37" y="5019"/>
                        </a:lnTo>
                        <a:lnTo>
                          <a:pt x="45" y="4948"/>
                        </a:lnTo>
                        <a:lnTo>
                          <a:pt x="55" y="4877"/>
                        </a:lnTo>
                        <a:lnTo>
                          <a:pt x="65" y="4806"/>
                        </a:lnTo>
                        <a:lnTo>
                          <a:pt x="76" y="4736"/>
                        </a:lnTo>
                        <a:lnTo>
                          <a:pt x="88" y="4666"/>
                        </a:lnTo>
                        <a:lnTo>
                          <a:pt x="101" y="4596"/>
                        </a:lnTo>
                        <a:lnTo>
                          <a:pt x="115" y="4527"/>
                        </a:lnTo>
                        <a:lnTo>
                          <a:pt x="130" y="4458"/>
                        </a:lnTo>
                        <a:lnTo>
                          <a:pt x="145" y="4389"/>
                        </a:lnTo>
                        <a:lnTo>
                          <a:pt x="161" y="4321"/>
                        </a:lnTo>
                        <a:lnTo>
                          <a:pt x="178" y="4253"/>
                        </a:lnTo>
                        <a:lnTo>
                          <a:pt x="196" y="4185"/>
                        </a:lnTo>
                        <a:lnTo>
                          <a:pt x="215" y="4118"/>
                        </a:lnTo>
                        <a:lnTo>
                          <a:pt x="234" y="4050"/>
                        </a:lnTo>
                        <a:lnTo>
                          <a:pt x="255" y="3984"/>
                        </a:lnTo>
                        <a:lnTo>
                          <a:pt x="276" y="3917"/>
                        </a:lnTo>
                        <a:lnTo>
                          <a:pt x="298" y="3851"/>
                        </a:lnTo>
                        <a:lnTo>
                          <a:pt x="320" y="3786"/>
                        </a:lnTo>
                        <a:lnTo>
                          <a:pt x="344" y="3720"/>
                        </a:lnTo>
                        <a:lnTo>
                          <a:pt x="368" y="3655"/>
                        </a:lnTo>
                        <a:lnTo>
                          <a:pt x="393" y="3591"/>
                        </a:lnTo>
                        <a:lnTo>
                          <a:pt x="419" y="3527"/>
                        </a:lnTo>
                        <a:lnTo>
                          <a:pt x="445" y="3463"/>
                        </a:lnTo>
                        <a:lnTo>
                          <a:pt x="473" y="3399"/>
                        </a:lnTo>
                        <a:lnTo>
                          <a:pt x="501" y="3336"/>
                        </a:lnTo>
                        <a:lnTo>
                          <a:pt x="529" y="3274"/>
                        </a:lnTo>
                        <a:lnTo>
                          <a:pt x="559" y="3212"/>
                        </a:lnTo>
                        <a:lnTo>
                          <a:pt x="589" y="3150"/>
                        </a:lnTo>
                        <a:lnTo>
                          <a:pt x="620" y="3089"/>
                        </a:lnTo>
                        <a:lnTo>
                          <a:pt x="652" y="3028"/>
                        </a:lnTo>
                        <a:lnTo>
                          <a:pt x="684" y="2967"/>
                        </a:lnTo>
                        <a:lnTo>
                          <a:pt x="717" y="2907"/>
                        </a:lnTo>
                        <a:lnTo>
                          <a:pt x="751" y="2848"/>
                        </a:lnTo>
                        <a:lnTo>
                          <a:pt x="785" y="2788"/>
                        </a:lnTo>
                        <a:lnTo>
                          <a:pt x="821" y="2730"/>
                        </a:lnTo>
                        <a:lnTo>
                          <a:pt x="856" y="2672"/>
                        </a:lnTo>
                        <a:lnTo>
                          <a:pt x="893" y="2614"/>
                        </a:lnTo>
                        <a:lnTo>
                          <a:pt x="930" y="2557"/>
                        </a:lnTo>
                        <a:lnTo>
                          <a:pt x="968" y="2500"/>
                        </a:lnTo>
                        <a:lnTo>
                          <a:pt x="1007" y="2443"/>
                        </a:lnTo>
                        <a:lnTo>
                          <a:pt x="1046" y="2388"/>
                        </a:lnTo>
                        <a:lnTo>
                          <a:pt x="1086" y="2332"/>
                        </a:lnTo>
                        <a:lnTo>
                          <a:pt x="1126" y="2277"/>
                        </a:lnTo>
                        <a:lnTo>
                          <a:pt x="1167" y="2223"/>
                        </a:lnTo>
                        <a:lnTo>
                          <a:pt x="1209" y="2169"/>
                        </a:lnTo>
                        <a:lnTo>
                          <a:pt x="1251" y="2116"/>
                        </a:lnTo>
                        <a:lnTo>
                          <a:pt x="1294" y="2063"/>
                        </a:lnTo>
                        <a:lnTo>
                          <a:pt x="1338" y="2011"/>
                        </a:lnTo>
                        <a:lnTo>
                          <a:pt x="1382" y="1959"/>
                        </a:lnTo>
                        <a:lnTo>
                          <a:pt x="1427" y="1908"/>
                        </a:lnTo>
                        <a:lnTo>
                          <a:pt x="1473" y="1858"/>
                        </a:lnTo>
                        <a:lnTo>
                          <a:pt x="1519" y="1807"/>
                        </a:lnTo>
                        <a:lnTo>
                          <a:pt x="1565" y="1758"/>
                        </a:lnTo>
                        <a:lnTo>
                          <a:pt x="1613" y="1709"/>
                        </a:lnTo>
                        <a:lnTo>
                          <a:pt x="1660" y="1661"/>
                        </a:lnTo>
                        <a:lnTo>
                          <a:pt x="1709" y="1613"/>
                        </a:lnTo>
                        <a:lnTo>
                          <a:pt x="1758" y="1566"/>
                        </a:lnTo>
                        <a:lnTo>
                          <a:pt x="1807" y="1519"/>
                        </a:lnTo>
                        <a:lnTo>
                          <a:pt x="1857" y="1473"/>
                        </a:lnTo>
                        <a:lnTo>
                          <a:pt x="1908" y="1427"/>
                        </a:lnTo>
                        <a:lnTo>
                          <a:pt x="1959" y="1383"/>
                        </a:lnTo>
                        <a:lnTo>
                          <a:pt x="2011" y="1338"/>
                        </a:lnTo>
                        <a:lnTo>
                          <a:pt x="2063" y="1295"/>
                        </a:lnTo>
                        <a:lnTo>
                          <a:pt x="2116" y="1252"/>
                        </a:lnTo>
                        <a:lnTo>
                          <a:pt x="2169" y="1209"/>
                        </a:lnTo>
                        <a:lnTo>
                          <a:pt x="2223" y="1168"/>
                        </a:lnTo>
                        <a:lnTo>
                          <a:pt x="2277" y="1126"/>
                        </a:lnTo>
                        <a:lnTo>
                          <a:pt x="2332" y="1086"/>
                        </a:lnTo>
                        <a:lnTo>
                          <a:pt x="2387" y="1046"/>
                        </a:lnTo>
                        <a:lnTo>
                          <a:pt x="2443" y="1007"/>
                        </a:lnTo>
                        <a:lnTo>
                          <a:pt x="2499" y="968"/>
                        </a:lnTo>
                        <a:lnTo>
                          <a:pt x="2556" y="930"/>
                        </a:lnTo>
                        <a:lnTo>
                          <a:pt x="2613" y="893"/>
                        </a:lnTo>
                        <a:lnTo>
                          <a:pt x="2671" y="857"/>
                        </a:lnTo>
                        <a:lnTo>
                          <a:pt x="2729" y="821"/>
                        </a:lnTo>
                        <a:lnTo>
                          <a:pt x="2788" y="786"/>
                        </a:lnTo>
                        <a:lnTo>
                          <a:pt x="2847" y="751"/>
                        </a:lnTo>
                        <a:lnTo>
                          <a:pt x="2907" y="717"/>
                        </a:lnTo>
                        <a:lnTo>
                          <a:pt x="2967" y="684"/>
                        </a:lnTo>
                        <a:lnTo>
                          <a:pt x="3027" y="652"/>
                        </a:lnTo>
                        <a:lnTo>
                          <a:pt x="3088" y="620"/>
                        </a:lnTo>
                        <a:lnTo>
                          <a:pt x="3150" y="589"/>
                        </a:lnTo>
                        <a:lnTo>
                          <a:pt x="3211" y="559"/>
                        </a:lnTo>
                        <a:lnTo>
                          <a:pt x="3273" y="530"/>
                        </a:lnTo>
                        <a:lnTo>
                          <a:pt x="3336" y="501"/>
                        </a:lnTo>
                        <a:lnTo>
                          <a:pt x="3399" y="473"/>
                        </a:lnTo>
                        <a:lnTo>
                          <a:pt x="3462" y="446"/>
                        </a:lnTo>
                        <a:lnTo>
                          <a:pt x="3526" y="419"/>
                        </a:lnTo>
                        <a:lnTo>
                          <a:pt x="3590" y="393"/>
                        </a:lnTo>
                        <a:lnTo>
                          <a:pt x="3655" y="368"/>
                        </a:lnTo>
                        <a:lnTo>
                          <a:pt x="3720" y="344"/>
                        </a:lnTo>
                        <a:lnTo>
                          <a:pt x="3785" y="321"/>
                        </a:lnTo>
                        <a:lnTo>
                          <a:pt x="3851" y="298"/>
                        </a:lnTo>
                        <a:lnTo>
                          <a:pt x="3917" y="276"/>
                        </a:lnTo>
                        <a:lnTo>
                          <a:pt x="3983" y="255"/>
                        </a:lnTo>
                        <a:lnTo>
                          <a:pt x="4050" y="235"/>
                        </a:lnTo>
                        <a:lnTo>
                          <a:pt x="4117" y="215"/>
                        </a:lnTo>
                        <a:lnTo>
                          <a:pt x="4185" y="197"/>
                        </a:lnTo>
                        <a:lnTo>
                          <a:pt x="4252" y="179"/>
                        </a:lnTo>
                        <a:lnTo>
                          <a:pt x="4320" y="162"/>
                        </a:lnTo>
                        <a:lnTo>
                          <a:pt x="4389" y="145"/>
                        </a:lnTo>
                        <a:lnTo>
                          <a:pt x="4458" y="130"/>
                        </a:lnTo>
                        <a:lnTo>
                          <a:pt x="4527" y="115"/>
                        </a:lnTo>
                        <a:lnTo>
                          <a:pt x="4596" y="102"/>
                        </a:lnTo>
                        <a:lnTo>
                          <a:pt x="4666" y="89"/>
                        </a:lnTo>
                        <a:lnTo>
                          <a:pt x="4736" y="77"/>
                        </a:lnTo>
                        <a:lnTo>
                          <a:pt x="4806" y="65"/>
                        </a:lnTo>
                        <a:lnTo>
                          <a:pt x="4876" y="55"/>
                        </a:lnTo>
                        <a:lnTo>
                          <a:pt x="4947" y="46"/>
                        </a:lnTo>
                        <a:lnTo>
                          <a:pt x="5018" y="37"/>
                        </a:lnTo>
                        <a:lnTo>
                          <a:pt x="5090" y="29"/>
                        </a:lnTo>
                        <a:lnTo>
                          <a:pt x="5161" y="23"/>
                        </a:lnTo>
                        <a:lnTo>
                          <a:pt x="5233" y="17"/>
                        </a:lnTo>
                        <a:lnTo>
                          <a:pt x="5305" y="12"/>
                        </a:lnTo>
                        <a:lnTo>
                          <a:pt x="5378" y="8"/>
                        </a:lnTo>
                        <a:lnTo>
                          <a:pt x="5450" y="4"/>
                        </a:lnTo>
                        <a:lnTo>
                          <a:pt x="5523" y="2"/>
                        </a:lnTo>
                        <a:lnTo>
                          <a:pt x="5596" y="1"/>
                        </a:lnTo>
                        <a:lnTo>
                          <a:pt x="5669" y="0"/>
                        </a:lnTo>
                        <a:lnTo>
                          <a:pt x="5669" y="0"/>
                        </a:lnTo>
                        <a:lnTo>
                          <a:pt x="5744" y="1"/>
                        </a:lnTo>
                        <a:lnTo>
                          <a:pt x="5817" y="2"/>
                        </a:lnTo>
                        <a:lnTo>
                          <a:pt x="5890" y="4"/>
                        </a:lnTo>
                        <a:lnTo>
                          <a:pt x="5962" y="8"/>
                        </a:lnTo>
                        <a:lnTo>
                          <a:pt x="6034" y="12"/>
                        </a:lnTo>
                        <a:lnTo>
                          <a:pt x="6107" y="17"/>
                        </a:lnTo>
                        <a:lnTo>
                          <a:pt x="6178" y="23"/>
                        </a:lnTo>
                        <a:lnTo>
                          <a:pt x="6250" y="29"/>
                        </a:lnTo>
                        <a:lnTo>
                          <a:pt x="6321" y="37"/>
                        </a:lnTo>
                        <a:lnTo>
                          <a:pt x="6392" y="46"/>
                        </a:lnTo>
                        <a:lnTo>
                          <a:pt x="6463" y="55"/>
                        </a:lnTo>
                        <a:lnTo>
                          <a:pt x="6534" y="65"/>
                        </a:lnTo>
                        <a:lnTo>
                          <a:pt x="6604" y="77"/>
                        </a:lnTo>
                        <a:lnTo>
                          <a:pt x="6674" y="89"/>
                        </a:lnTo>
                        <a:lnTo>
                          <a:pt x="6744" y="102"/>
                        </a:lnTo>
                        <a:lnTo>
                          <a:pt x="6813" y="115"/>
                        </a:lnTo>
                        <a:lnTo>
                          <a:pt x="6882" y="130"/>
                        </a:lnTo>
                        <a:lnTo>
                          <a:pt x="6951" y="145"/>
                        </a:lnTo>
                        <a:lnTo>
                          <a:pt x="7019" y="162"/>
                        </a:lnTo>
                        <a:lnTo>
                          <a:pt x="7087" y="179"/>
                        </a:lnTo>
                        <a:lnTo>
                          <a:pt x="7155" y="197"/>
                        </a:lnTo>
                        <a:lnTo>
                          <a:pt x="7222" y="215"/>
                        </a:lnTo>
                        <a:lnTo>
                          <a:pt x="7289" y="235"/>
                        </a:lnTo>
                        <a:lnTo>
                          <a:pt x="7356" y="255"/>
                        </a:lnTo>
                        <a:lnTo>
                          <a:pt x="7423" y="276"/>
                        </a:lnTo>
                        <a:lnTo>
                          <a:pt x="7489" y="298"/>
                        </a:lnTo>
                        <a:lnTo>
                          <a:pt x="7554" y="321"/>
                        </a:lnTo>
                        <a:lnTo>
                          <a:pt x="7620" y="344"/>
                        </a:lnTo>
                        <a:lnTo>
                          <a:pt x="7685" y="368"/>
                        </a:lnTo>
                        <a:lnTo>
                          <a:pt x="7749" y="393"/>
                        </a:lnTo>
                        <a:lnTo>
                          <a:pt x="7813" y="419"/>
                        </a:lnTo>
                        <a:lnTo>
                          <a:pt x="7877" y="446"/>
                        </a:lnTo>
                        <a:lnTo>
                          <a:pt x="7940" y="473"/>
                        </a:lnTo>
                        <a:lnTo>
                          <a:pt x="8003" y="501"/>
                        </a:lnTo>
                        <a:lnTo>
                          <a:pt x="8066" y="530"/>
                        </a:lnTo>
                        <a:lnTo>
                          <a:pt x="8128" y="559"/>
                        </a:lnTo>
                        <a:lnTo>
                          <a:pt x="8190" y="589"/>
                        </a:lnTo>
                        <a:lnTo>
                          <a:pt x="8251" y="620"/>
                        </a:lnTo>
                        <a:lnTo>
                          <a:pt x="8312" y="652"/>
                        </a:lnTo>
                        <a:lnTo>
                          <a:pt x="8373" y="684"/>
                        </a:lnTo>
                        <a:lnTo>
                          <a:pt x="8433" y="717"/>
                        </a:lnTo>
                        <a:lnTo>
                          <a:pt x="8492" y="751"/>
                        </a:lnTo>
                        <a:lnTo>
                          <a:pt x="8551" y="786"/>
                        </a:lnTo>
                        <a:lnTo>
                          <a:pt x="8610" y="821"/>
                        </a:lnTo>
                        <a:lnTo>
                          <a:pt x="8668" y="857"/>
                        </a:lnTo>
                        <a:lnTo>
                          <a:pt x="8726" y="893"/>
                        </a:lnTo>
                        <a:lnTo>
                          <a:pt x="8783" y="930"/>
                        </a:lnTo>
                        <a:lnTo>
                          <a:pt x="8840" y="968"/>
                        </a:lnTo>
                        <a:lnTo>
                          <a:pt x="8896" y="1007"/>
                        </a:lnTo>
                        <a:lnTo>
                          <a:pt x="8952" y="1046"/>
                        </a:lnTo>
                        <a:lnTo>
                          <a:pt x="9008" y="1086"/>
                        </a:lnTo>
                        <a:lnTo>
                          <a:pt x="9062" y="1126"/>
                        </a:lnTo>
                        <a:lnTo>
                          <a:pt x="9117" y="1168"/>
                        </a:lnTo>
                        <a:lnTo>
                          <a:pt x="9170" y="1209"/>
                        </a:lnTo>
                        <a:lnTo>
                          <a:pt x="9224" y="1252"/>
                        </a:lnTo>
                        <a:lnTo>
                          <a:pt x="9277" y="1295"/>
                        </a:lnTo>
                        <a:lnTo>
                          <a:pt x="9329" y="1338"/>
                        </a:lnTo>
                        <a:lnTo>
                          <a:pt x="9380" y="1383"/>
                        </a:lnTo>
                        <a:lnTo>
                          <a:pt x="9432" y="1427"/>
                        </a:lnTo>
                        <a:lnTo>
                          <a:pt x="9482" y="1473"/>
                        </a:lnTo>
                        <a:lnTo>
                          <a:pt x="9532" y="1519"/>
                        </a:lnTo>
                        <a:lnTo>
                          <a:pt x="9582" y="1566"/>
                        </a:lnTo>
                        <a:lnTo>
                          <a:pt x="9631" y="1613"/>
                        </a:lnTo>
                        <a:lnTo>
                          <a:pt x="9679" y="1661"/>
                        </a:lnTo>
                        <a:lnTo>
                          <a:pt x="9727" y="1709"/>
                        </a:lnTo>
                        <a:lnTo>
                          <a:pt x="9774" y="1758"/>
                        </a:lnTo>
                        <a:lnTo>
                          <a:pt x="9821" y="1807"/>
                        </a:lnTo>
                        <a:lnTo>
                          <a:pt x="9867" y="1858"/>
                        </a:lnTo>
                        <a:lnTo>
                          <a:pt x="9912" y="1908"/>
                        </a:lnTo>
                        <a:lnTo>
                          <a:pt x="9957" y="1959"/>
                        </a:lnTo>
                        <a:lnTo>
                          <a:pt x="10001" y="2011"/>
                        </a:lnTo>
                        <a:lnTo>
                          <a:pt x="10045" y="2063"/>
                        </a:lnTo>
                        <a:lnTo>
                          <a:pt x="10088" y="2116"/>
                        </a:lnTo>
                        <a:lnTo>
                          <a:pt x="10130" y="2169"/>
                        </a:lnTo>
                        <a:lnTo>
                          <a:pt x="10172" y="2223"/>
                        </a:lnTo>
                        <a:lnTo>
                          <a:pt x="10213" y="2277"/>
                        </a:lnTo>
                        <a:lnTo>
                          <a:pt x="10254" y="2332"/>
                        </a:lnTo>
                        <a:lnTo>
                          <a:pt x="10294" y="2388"/>
                        </a:lnTo>
                        <a:lnTo>
                          <a:pt x="10333" y="2443"/>
                        </a:lnTo>
                        <a:lnTo>
                          <a:pt x="10371" y="2500"/>
                        </a:lnTo>
                        <a:lnTo>
                          <a:pt x="10409" y="2557"/>
                        </a:lnTo>
                        <a:lnTo>
                          <a:pt x="10446" y="2614"/>
                        </a:lnTo>
                        <a:lnTo>
                          <a:pt x="10483" y="2672"/>
                        </a:lnTo>
                        <a:lnTo>
                          <a:pt x="10519" y="2730"/>
                        </a:lnTo>
                        <a:lnTo>
                          <a:pt x="10554" y="2788"/>
                        </a:lnTo>
                        <a:lnTo>
                          <a:pt x="10588" y="2848"/>
                        </a:lnTo>
                        <a:lnTo>
                          <a:pt x="10622" y="2907"/>
                        </a:lnTo>
                        <a:lnTo>
                          <a:pt x="10655" y="2967"/>
                        </a:lnTo>
                        <a:lnTo>
                          <a:pt x="10688" y="3028"/>
                        </a:lnTo>
                        <a:lnTo>
                          <a:pt x="10719" y="3089"/>
                        </a:lnTo>
                        <a:lnTo>
                          <a:pt x="10750" y="3150"/>
                        </a:lnTo>
                        <a:lnTo>
                          <a:pt x="10780" y="3212"/>
                        </a:lnTo>
                        <a:lnTo>
                          <a:pt x="10810" y="3274"/>
                        </a:lnTo>
                        <a:lnTo>
                          <a:pt x="10839" y="3336"/>
                        </a:lnTo>
                        <a:lnTo>
                          <a:pt x="10867" y="3399"/>
                        </a:lnTo>
                        <a:lnTo>
                          <a:pt x="10894" y="3463"/>
                        </a:lnTo>
                        <a:lnTo>
                          <a:pt x="10921" y="3527"/>
                        </a:lnTo>
                        <a:lnTo>
                          <a:pt x="10946" y="3591"/>
                        </a:lnTo>
                        <a:lnTo>
                          <a:pt x="10971" y="3655"/>
                        </a:lnTo>
                        <a:lnTo>
                          <a:pt x="10996" y="3720"/>
                        </a:lnTo>
                        <a:lnTo>
                          <a:pt x="11019" y="3786"/>
                        </a:lnTo>
                        <a:lnTo>
                          <a:pt x="11042" y="3851"/>
                        </a:lnTo>
                        <a:lnTo>
                          <a:pt x="11064" y="3917"/>
                        </a:lnTo>
                        <a:lnTo>
                          <a:pt x="11085" y="3984"/>
                        </a:lnTo>
                        <a:lnTo>
                          <a:pt x="11105" y="4050"/>
                        </a:lnTo>
                        <a:lnTo>
                          <a:pt x="11124" y="4118"/>
                        </a:lnTo>
                        <a:lnTo>
                          <a:pt x="11143" y="4185"/>
                        </a:lnTo>
                        <a:lnTo>
                          <a:pt x="11161" y="4253"/>
                        </a:lnTo>
                        <a:lnTo>
                          <a:pt x="11178" y="4321"/>
                        </a:lnTo>
                        <a:lnTo>
                          <a:pt x="11194" y="4389"/>
                        </a:lnTo>
                        <a:lnTo>
                          <a:pt x="11210" y="4458"/>
                        </a:lnTo>
                        <a:lnTo>
                          <a:pt x="11224" y="4527"/>
                        </a:lnTo>
                        <a:lnTo>
                          <a:pt x="11238" y="4596"/>
                        </a:lnTo>
                        <a:lnTo>
                          <a:pt x="11251" y="4666"/>
                        </a:lnTo>
                        <a:lnTo>
                          <a:pt x="11263" y="4736"/>
                        </a:lnTo>
                        <a:lnTo>
                          <a:pt x="11274" y="4806"/>
                        </a:lnTo>
                        <a:lnTo>
                          <a:pt x="11285" y="4877"/>
                        </a:lnTo>
                        <a:lnTo>
                          <a:pt x="11294" y="4948"/>
                        </a:lnTo>
                        <a:lnTo>
                          <a:pt x="11303" y="5019"/>
                        </a:lnTo>
                        <a:lnTo>
                          <a:pt x="11310" y="5090"/>
                        </a:lnTo>
                        <a:lnTo>
                          <a:pt x="11317" y="5162"/>
                        </a:lnTo>
                        <a:lnTo>
                          <a:pt x="11323" y="5233"/>
                        </a:lnTo>
                        <a:lnTo>
                          <a:pt x="11328" y="5306"/>
                        </a:lnTo>
                        <a:lnTo>
                          <a:pt x="11332" y="5378"/>
                        </a:lnTo>
                        <a:lnTo>
                          <a:pt x="11335" y="5451"/>
                        </a:lnTo>
                        <a:lnTo>
                          <a:pt x="11338" y="5523"/>
                        </a:lnTo>
                        <a:lnTo>
                          <a:pt x="11339" y="5596"/>
                        </a:lnTo>
                        <a:lnTo>
                          <a:pt x="11340" y="5671"/>
                        </a:lnTo>
                      </a:path>
                    </a:pathLst>
                  </a:custGeom>
                  <a:solidFill>
                    <a:schemeClr val="accent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  <p:sp>
                <p:nvSpPr>
                  <p:cNvPr id="294" name="Freeform 8">
                    <a:extLst>
                      <a:ext uri="{FF2B5EF4-FFF2-40B4-BE49-F238E27FC236}">
                        <a16:creationId xmlns:a16="http://schemas.microsoft.com/office/drawing/2014/main" id="{4F0C9375-E941-4B1B-8208-803DC363296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1510" y="1566"/>
                    <a:ext cx="1615" cy="1653"/>
                  </a:xfrm>
                  <a:custGeom>
                    <a:avLst/>
                    <a:gdLst/>
                    <a:ahLst/>
                    <a:cxnLst>
                      <a:cxn ang="0">
                        <a:pos x="4319" y="2213"/>
                      </a:cxn>
                      <a:cxn ang="0">
                        <a:pos x="4796" y="1894"/>
                      </a:cxn>
                      <a:cxn ang="0">
                        <a:pos x="4876" y="1759"/>
                      </a:cxn>
                      <a:cxn ang="0">
                        <a:pos x="4526" y="1075"/>
                      </a:cxn>
                      <a:cxn ang="0">
                        <a:pos x="4005" y="1264"/>
                      </a:cxn>
                      <a:cxn ang="0">
                        <a:pos x="3815" y="1225"/>
                      </a:cxn>
                      <a:cxn ang="0">
                        <a:pos x="3367" y="807"/>
                      </a:cxn>
                      <a:cxn ang="0">
                        <a:pos x="3456" y="245"/>
                      </a:cxn>
                      <a:cxn ang="0">
                        <a:pos x="2745" y="3"/>
                      </a:cxn>
                      <a:cxn ang="0">
                        <a:pos x="2590" y="70"/>
                      </a:cxn>
                      <a:cxn ang="0">
                        <a:pos x="2416" y="615"/>
                      </a:cxn>
                      <a:cxn ang="0">
                        <a:pos x="1822" y="774"/>
                      </a:cxn>
                      <a:cxn ang="0">
                        <a:pos x="1644" y="700"/>
                      </a:cxn>
                      <a:cxn ang="0">
                        <a:pos x="1252" y="324"/>
                      </a:cxn>
                      <a:cxn ang="0">
                        <a:pos x="653" y="807"/>
                      </a:cxn>
                      <a:cxn ang="0">
                        <a:pos x="942" y="1274"/>
                      </a:cxn>
                      <a:cxn ang="0">
                        <a:pos x="960" y="1467"/>
                      </a:cxn>
                      <a:cxn ang="0">
                        <a:pos x="660" y="2003"/>
                      </a:cxn>
                      <a:cxn ang="0">
                        <a:pos x="90" y="2042"/>
                      </a:cxn>
                      <a:cxn ang="0">
                        <a:pos x="0" y="2797"/>
                      </a:cxn>
                      <a:cxn ang="0">
                        <a:pos x="86" y="2927"/>
                      </a:cxn>
                      <a:cxn ang="0">
                        <a:pos x="656" y="2972"/>
                      </a:cxn>
                      <a:cxn ang="0">
                        <a:pos x="952" y="3509"/>
                      </a:cxn>
                      <a:cxn ang="0">
                        <a:pos x="932" y="3702"/>
                      </a:cxn>
                      <a:cxn ang="0">
                        <a:pos x="640" y="4167"/>
                      </a:cxn>
                      <a:cxn ang="0">
                        <a:pos x="1235" y="4655"/>
                      </a:cxn>
                      <a:cxn ang="0">
                        <a:pos x="1630" y="4283"/>
                      </a:cxn>
                      <a:cxn ang="0">
                        <a:pos x="1809" y="4210"/>
                      </a:cxn>
                      <a:cxn ang="0">
                        <a:pos x="2403" y="4373"/>
                      </a:cxn>
                      <a:cxn ang="0">
                        <a:pos x="2574" y="4919"/>
                      </a:cxn>
                      <a:cxn ang="0">
                        <a:pos x="2728" y="4987"/>
                      </a:cxn>
                      <a:cxn ang="0">
                        <a:pos x="3441" y="4750"/>
                      </a:cxn>
                      <a:cxn ang="0">
                        <a:pos x="3356" y="4187"/>
                      </a:cxn>
                      <a:cxn ang="0">
                        <a:pos x="3806" y="3773"/>
                      </a:cxn>
                      <a:cxn ang="0">
                        <a:pos x="3997" y="3735"/>
                      </a:cxn>
                      <a:cxn ang="0">
                        <a:pos x="4516" y="3927"/>
                      </a:cxn>
                      <a:cxn ang="0">
                        <a:pos x="4871" y="3245"/>
                      </a:cxn>
                      <a:cxn ang="0">
                        <a:pos x="4421" y="2930"/>
                      </a:cxn>
                      <a:cxn ang="0">
                        <a:pos x="4317" y="2787"/>
                      </a:cxn>
                      <a:cxn ang="0">
                        <a:pos x="3788" y="2500"/>
                      </a:cxn>
                      <a:cxn ang="0">
                        <a:pos x="3728" y="2887"/>
                      </a:cxn>
                      <a:cxn ang="0">
                        <a:pos x="3545" y="3252"/>
                      </a:cxn>
                      <a:cxn ang="0">
                        <a:pos x="3261" y="3541"/>
                      </a:cxn>
                      <a:cxn ang="0">
                        <a:pos x="2899" y="3730"/>
                      </a:cxn>
                      <a:cxn ang="0">
                        <a:pos x="2481" y="3796"/>
                      </a:cxn>
                      <a:cxn ang="0">
                        <a:pos x="2093" y="3736"/>
                      </a:cxn>
                      <a:cxn ang="0">
                        <a:pos x="1728" y="3553"/>
                      </a:cxn>
                      <a:cxn ang="0">
                        <a:pos x="1439" y="3269"/>
                      </a:cxn>
                      <a:cxn ang="0">
                        <a:pos x="1250" y="2907"/>
                      </a:cxn>
                      <a:cxn ang="0">
                        <a:pos x="1184" y="2490"/>
                      </a:cxn>
                      <a:cxn ang="0">
                        <a:pos x="1244" y="2102"/>
                      </a:cxn>
                      <a:cxn ang="0">
                        <a:pos x="1427" y="1736"/>
                      </a:cxn>
                      <a:cxn ang="0">
                        <a:pos x="1711" y="1448"/>
                      </a:cxn>
                      <a:cxn ang="0">
                        <a:pos x="2073" y="1259"/>
                      </a:cxn>
                      <a:cxn ang="0">
                        <a:pos x="2492" y="1192"/>
                      </a:cxn>
                      <a:cxn ang="0">
                        <a:pos x="2878" y="1252"/>
                      </a:cxn>
                      <a:cxn ang="0">
                        <a:pos x="3244" y="1435"/>
                      </a:cxn>
                      <a:cxn ang="0">
                        <a:pos x="3532" y="1719"/>
                      </a:cxn>
                      <a:cxn ang="0">
                        <a:pos x="3721" y="2081"/>
                      </a:cxn>
                      <a:cxn ang="0">
                        <a:pos x="3788" y="2500"/>
                      </a:cxn>
                    </a:cxnLst>
                    <a:rect l="0" t="0" r="r" b="b"/>
                    <a:pathLst>
                      <a:path w="4876" h="4990">
                        <a:moveTo>
                          <a:pt x="4332" y="2502"/>
                        </a:moveTo>
                        <a:lnTo>
                          <a:pt x="4332" y="2502"/>
                        </a:lnTo>
                        <a:lnTo>
                          <a:pt x="4331" y="2455"/>
                        </a:lnTo>
                        <a:lnTo>
                          <a:pt x="4329" y="2412"/>
                        </a:lnTo>
                        <a:lnTo>
                          <a:pt x="4327" y="2373"/>
                        </a:lnTo>
                        <a:lnTo>
                          <a:pt x="4324" y="2340"/>
                        </a:lnTo>
                        <a:lnTo>
                          <a:pt x="4319" y="2291"/>
                        </a:lnTo>
                        <a:lnTo>
                          <a:pt x="4317" y="2273"/>
                        </a:lnTo>
                        <a:lnTo>
                          <a:pt x="4317" y="2273"/>
                        </a:lnTo>
                        <a:lnTo>
                          <a:pt x="4315" y="2258"/>
                        </a:lnTo>
                        <a:lnTo>
                          <a:pt x="4315" y="2243"/>
                        </a:lnTo>
                        <a:lnTo>
                          <a:pt x="4317" y="2228"/>
                        </a:lnTo>
                        <a:lnTo>
                          <a:pt x="4319" y="2213"/>
                        </a:lnTo>
                        <a:lnTo>
                          <a:pt x="4323" y="2199"/>
                        </a:lnTo>
                        <a:lnTo>
                          <a:pt x="4327" y="2184"/>
                        </a:lnTo>
                        <a:lnTo>
                          <a:pt x="4333" y="2170"/>
                        </a:lnTo>
                        <a:lnTo>
                          <a:pt x="4340" y="2156"/>
                        </a:lnTo>
                        <a:lnTo>
                          <a:pt x="4348" y="2142"/>
                        </a:lnTo>
                        <a:lnTo>
                          <a:pt x="4356" y="2130"/>
                        </a:lnTo>
                        <a:lnTo>
                          <a:pt x="4366" y="2117"/>
                        </a:lnTo>
                        <a:lnTo>
                          <a:pt x="4376" y="2106"/>
                        </a:lnTo>
                        <a:lnTo>
                          <a:pt x="4387" y="2096"/>
                        </a:lnTo>
                        <a:lnTo>
                          <a:pt x="4399" y="2087"/>
                        </a:lnTo>
                        <a:lnTo>
                          <a:pt x="4411" y="2078"/>
                        </a:lnTo>
                        <a:lnTo>
                          <a:pt x="4424" y="2071"/>
                        </a:lnTo>
                        <a:lnTo>
                          <a:pt x="4796" y="1894"/>
                        </a:lnTo>
                        <a:lnTo>
                          <a:pt x="4796" y="1894"/>
                        </a:lnTo>
                        <a:lnTo>
                          <a:pt x="4809" y="1887"/>
                        </a:lnTo>
                        <a:lnTo>
                          <a:pt x="4820" y="1879"/>
                        </a:lnTo>
                        <a:lnTo>
                          <a:pt x="4831" y="1870"/>
                        </a:lnTo>
                        <a:lnTo>
                          <a:pt x="4841" y="1860"/>
                        </a:lnTo>
                        <a:lnTo>
                          <a:pt x="4849" y="1849"/>
                        </a:lnTo>
                        <a:lnTo>
                          <a:pt x="4857" y="1838"/>
                        </a:lnTo>
                        <a:lnTo>
                          <a:pt x="4863" y="1826"/>
                        </a:lnTo>
                        <a:lnTo>
                          <a:pt x="4868" y="1813"/>
                        </a:lnTo>
                        <a:lnTo>
                          <a:pt x="4872" y="1800"/>
                        </a:lnTo>
                        <a:lnTo>
                          <a:pt x="4875" y="1787"/>
                        </a:lnTo>
                        <a:lnTo>
                          <a:pt x="4876" y="1773"/>
                        </a:lnTo>
                        <a:lnTo>
                          <a:pt x="4876" y="1759"/>
                        </a:lnTo>
                        <a:lnTo>
                          <a:pt x="4875" y="1746"/>
                        </a:lnTo>
                        <a:lnTo>
                          <a:pt x="4872" y="1732"/>
                        </a:lnTo>
                        <a:lnTo>
                          <a:pt x="4868" y="1718"/>
                        </a:lnTo>
                        <a:lnTo>
                          <a:pt x="4863" y="1705"/>
                        </a:lnTo>
                        <a:lnTo>
                          <a:pt x="4595" y="1142"/>
                        </a:lnTo>
                        <a:lnTo>
                          <a:pt x="4595" y="1142"/>
                        </a:lnTo>
                        <a:lnTo>
                          <a:pt x="4588" y="1130"/>
                        </a:lnTo>
                        <a:lnTo>
                          <a:pt x="4580" y="1118"/>
                        </a:lnTo>
                        <a:lnTo>
                          <a:pt x="4571" y="1107"/>
                        </a:lnTo>
                        <a:lnTo>
                          <a:pt x="4561" y="1097"/>
                        </a:lnTo>
                        <a:lnTo>
                          <a:pt x="4550" y="1089"/>
                        </a:lnTo>
                        <a:lnTo>
                          <a:pt x="4539" y="1081"/>
                        </a:lnTo>
                        <a:lnTo>
                          <a:pt x="4526" y="1075"/>
                        </a:lnTo>
                        <a:lnTo>
                          <a:pt x="4514" y="1070"/>
                        </a:lnTo>
                        <a:lnTo>
                          <a:pt x="4501" y="1066"/>
                        </a:lnTo>
                        <a:lnTo>
                          <a:pt x="4487" y="1063"/>
                        </a:lnTo>
                        <a:lnTo>
                          <a:pt x="4474" y="1062"/>
                        </a:lnTo>
                        <a:lnTo>
                          <a:pt x="4460" y="1062"/>
                        </a:lnTo>
                        <a:lnTo>
                          <a:pt x="4446" y="1063"/>
                        </a:lnTo>
                        <a:lnTo>
                          <a:pt x="4433" y="1066"/>
                        </a:lnTo>
                        <a:lnTo>
                          <a:pt x="4419" y="1070"/>
                        </a:lnTo>
                        <a:lnTo>
                          <a:pt x="4406" y="1075"/>
                        </a:lnTo>
                        <a:lnTo>
                          <a:pt x="4033" y="1253"/>
                        </a:lnTo>
                        <a:lnTo>
                          <a:pt x="4033" y="1253"/>
                        </a:lnTo>
                        <a:lnTo>
                          <a:pt x="4019" y="1259"/>
                        </a:lnTo>
                        <a:lnTo>
                          <a:pt x="4005" y="1264"/>
                        </a:lnTo>
                        <a:lnTo>
                          <a:pt x="3990" y="1267"/>
                        </a:lnTo>
                        <a:lnTo>
                          <a:pt x="3975" y="1269"/>
                        </a:lnTo>
                        <a:lnTo>
                          <a:pt x="3960" y="1271"/>
                        </a:lnTo>
                        <a:lnTo>
                          <a:pt x="3944" y="1271"/>
                        </a:lnTo>
                        <a:lnTo>
                          <a:pt x="3928" y="1270"/>
                        </a:lnTo>
                        <a:lnTo>
                          <a:pt x="3913" y="1267"/>
                        </a:lnTo>
                        <a:lnTo>
                          <a:pt x="3897" y="1264"/>
                        </a:lnTo>
                        <a:lnTo>
                          <a:pt x="3882" y="1260"/>
                        </a:lnTo>
                        <a:lnTo>
                          <a:pt x="3867" y="1255"/>
                        </a:lnTo>
                        <a:lnTo>
                          <a:pt x="3853" y="1249"/>
                        </a:lnTo>
                        <a:lnTo>
                          <a:pt x="3839" y="1242"/>
                        </a:lnTo>
                        <a:lnTo>
                          <a:pt x="3827" y="1234"/>
                        </a:lnTo>
                        <a:lnTo>
                          <a:pt x="3815" y="1225"/>
                        </a:lnTo>
                        <a:lnTo>
                          <a:pt x="3804" y="1215"/>
                        </a:lnTo>
                        <a:lnTo>
                          <a:pt x="3451" y="932"/>
                        </a:lnTo>
                        <a:lnTo>
                          <a:pt x="3451" y="932"/>
                        </a:lnTo>
                        <a:lnTo>
                          <a:pt x="3439" y="924"/>
                        </a:lnTo>
                        <a:lnTo>
                          <a:pt x="3428" y="914"/>
                        </a:lnTo>
                        <a:lnTo>
                          <a:pt x="3417" y="903"/>
                        </a:lnTo>
                        <a:lnTo>
                          <a:pt x="3407" y="891"/>
                        </a:lnTo>
                        <a:lnTo>
                          <a:pt x="3398" y="879"/>
                        </a:lnTo>
                        <a:lnTo>
                          <a:pt x="3390" y="865"/>
                        </a:lnTo>
                        <a:lnTo>
                          <a:pt x="3383" y="852"/>
                        </a:lnTo>
                        <a:lnTo>
                          <a:pt x="3376" y="837"/>
                        </a:lnTo>
                        <a:lnTo>
                          <a:pt x="3371" y="822"/>
                        </a:lnTo>
                        <a:lnTo>
                          <a:pt x="3367" y="807"/>
                        </a:lnTo>
                        <a:lnTo>
                          <a:pt x="3363" y="792"/>
                        </a:lnTo>
                        <a:lnTo>
                          <a:pt x="3361" y="777"/>
                        </a:lnTo>
                        <a:lnTo>
                          <a:pt x="3360" y="761"/>
                        </a:lnTo>
                        <a:lnTo>
                          <a:pt x="3360" y="746"/>
                        </a:lnTo>
                        <a:lnTo>
                          <a:pt x="3362" y="731"/>
                        </a:lnTo>
                        <a:lnTo>
                          <a:pt x="3364" y="717"/>
                        </a:lnTo>
                        <a:lnTo>
                          <a:pt x="3458" y="314"/>
                        </a:lnTo>
                        <a:lnTo>
                          <a:pt x="3458" y="314"/>
                        </a:lnTo>
                        <a:lnTo>
                          <a:pt x="3460" y="300"/>
                        </a:lnTo>
                        <a:lnTo>
                          <a:pt x="3461" y="286"/>
                        </a:lnTo>
                        <a:lnTo>
                          <a:pt x="3461" y="272"/>
                        </a:lnTo>
                        <a:lnTo>
                          <a:pt x="3459" y="258"/>
                        </a:lnTo>
                        <a:lnTo>
                          <a:pt x="3456" y="245"/>
                        </a:lnTo>
                        <a:lnTo>
                          <a:pt x="3452" y="232"/>
                        </a:lnTo>
                        <a:lnTo>
                          <a:pt x="3447" y="219"/>
                        </a:lnTo>
                        <a:lnTo>
                          <a:pt x="3440" y="207"/>
                        </a:lnTo>
                        <a:lnTo>
                          <a:pt x="3432" y="196"/>
                        </a:lnTo>
                        <a:lnTo>
                          <a:pt x="3423" y="186"/>
                        </a:lnTo>
                        <a:lnTo>
                          <a:pt x="3414" y="176"/>
                        </a:lnTo>
                        <a:lnTo>
                          <a:pt x="3403" y="168"/>
                        </a:lnTo>
                        <a:lnTo>
                          <a:pt x="3391" y="160"/>
                        </a:lnTo>
                        <a:lnTo>
                          <a:pt x="3379" y="153"/>
                        </a:lnTo>
                        <a:lnTo>
                          <a:pt x="3366" y="148"/>
                        </a:lnTo>
                        <a:lnTo>
                          <a:pt x="3352" y="144"/>
                        </a:lnTo>
                        <a:lnTo>
                          <a:pt x="2745" y="3"/>
                        </a:lnTo>
                        <a:lnTo>
                          <a:pt x="2745" y="3"/>
                        </a:lnTo>
                        <a:lnTo>
                          <a:pt x="2730" y="1"/>
                        </a:lnTo>
                        <a:lnTo>
                          <a:pt x="2716" y="0"/>
                        </a:lnTo>
                        <a:lnTo>
                          <a:pt x="2702" y="0"/>
                        </a:lnTo>
                        <a:lnTo>
                          <a:pt x="2688" y="2"/>
                        </a:lnTo>
                        <a:lnTo>
                          <a:pt x="2675" y="5"/>
                        </a:lnTo>
                        <a:lnTo>
                          <a:pt x="2662" y="9"/>
                        </a:lnTo>
                        <a:lnTo>
                          <a:pt x="2649" y="15"/>
                        </a:lnTo>
                        <a:lnTo>
                          <a:pt x="2638" y="21"/>
                        </a:lnTo>
                        <a:lnTo>
                          <a:pt x="2626" y="29"/>
                        </a:lnTo>
                        <a:lnTo>
                          <a:pt x="2616" y="38"/>
                        </a:lnTo>
                        <a:lnTo>
                          <a:pt x="2606" y="48"/>
                        </a:lnTo>
                        <a:lnTo>
                          <a:pt x="2598" y="58"/>
                        </a:lnTo>
                        <a:lnTo>
                          <a:pt x="2590" y="70"/>
                        </a:lnTo>
                        <a:lnTo>
                          <a:pt x="2584" y="82"/>
                        </a:lnTo>
                        <a:lnTo>
                          <a:pt x="2578" y="96"/>
                        </a:lnTo>
                        <a:lnTo>
                          <a:pt x="2574" y="110"/>
                        </a:lnTo>
                        <a:lnTo>
                          <a:pt x="2481" y="512"/>
                        </a:lnTo>
                        <a:lnTo>
                          <a:pt x="2481" y="512"/>
                        </a:lnTo>
                        <a:lnTo>
                          <a:pt x="2477" y="526"/>
                        </a:lnTo>
                        <a:lnTo>
                          <a:pt x="2472" y="540"/>
                        </a:lnTo>
                        <a:lnTo>
                          <a:pt x="2465" y="554"/>
                        </a:lnTo>
                        <a:lnTo>
                          <a:pt x="2457" y="567"/>
                        </a:lnTo>
                        <a:lnTo>
                          <a:pt x="2448" y="580"/>
                        </a:lnTo>
                        <a:lnTo>
                          <a:pt x="2438" y="592"/>
                        </a:lnTo>
                        <a:lnTo>
                          <a:pt x="2428" y="604"/>
                        </a:lnTo>
                        <a:lnTo>
                          <a:pt x="2416" y="615"/>
                        </a:lnTo>
                        <a:lnTo>
                          <a:pt x="2404" y="625"/>
                        </a:lnTo>
                        <a:lnTo>
                          <a:pt x="2392" y="634"/>
                        </a:lnTo>
                        <a:lnTo>
                          <a:pt x="2378" y="643"/>
                        </a:lnTo>
                        <a:lnTo>
                          <a:pt x="2365" y="650"/>
                        </a:lnTo>
                        <a:lnTo>
                          <a:pt x="2351" y="656"/>
                        </a:lnTo>
                        <a:lnTo>
                          <a:pt x="2336" y="661"/>
                        </a:lnTo>
                        <a:lnTo>
                          <a:pt x="2322" y="665"/>
                        </a:lnTo>
                        <a:lnTo>
                          <a:pt x="2308" y="668"/>
                        </a:lnTo>
                        <a:lnTo>
                          <a:pt x="1866" y="766"/>
                        </a:lnTo>
                        <a:lnTo>
                          <a:pt x="1866" y="766"/>
                        </a:lnTo>
                        <a:lnTo>
                          <a:pt x="1852" y="770"/>
                        </a:lnTo>
                        <a:lnTo>
                          <a:pt x="1837" y="772"/>
                        </a:lnTo>
                        <a:lnTo>
                          <a:pt x="1822" y="774"/>
                        </a:lnTo>
                        <a:lnTo>
                          <a:pt x="1807" y="774"/>
                        </a:lnTo>
                        <a:lnTo>
                          <a:pt x="1792" y="774"/>
                        </a:lnTo>
                        <a:lnTo>
                          <a:pt x="1776" y="772"/>
                        </a:lnTo>
                        <a:lnTo>
                          <a:pt x="1761" y="769"/>
                        </a:lnTo>
                        <a:lnTo>
                          <a:pt x="1745" y="765"/>
                        </a:lnTo>
                        <a:lnTo>
                          <a:pt x="1730" y="760"/>
                        </a:lnTo>
                        <a:lnTo>
                          <a:pt x="1716" y="754"/>
                        </a:lnTo>
                        <a:lnTo>
                          <a:pt x="1702" y="747"/>
                        </a:lnTo>
                        <a:lnTo>
                          <a:pt x="1689" y="739"/>
                        </a:lnTo>
                        <a:lnTo>
                          <a:pt x="1676" y="730"/>
                        </a:lnTo>
                        <a:lnTo>
                          <a:pt x="1664" y="721"/>
                        </a:lnTo>
                        <a:lnTo>
                          <a:pt x="1654" y="711"/>
                        </a:lnTo>
                        <a:lnTo>
                          <a:pt x="1644" y="700"/>
                        </a:lnTo>
                        <a:lnTo>
                          <a:pt x="1387" y="375"/>
                        </a:lnTo>
                        <a:lnTo>
                          <a:pt x="1387" y="375"/>
                        </a:lnTo>
                        <a:lnTo>
                          <a:pt x="1378" y="365"/>
                        </a:lnTo>
                        <a:lnTo>
                          <a:pt x="1368" y="355"/>
                        </a:lnTo>
                        <a:lnTo>
                          <a:pt x="1356" y="346"/>
                        </a:lnTo>
                        <a:lnTo>
                          <a:pt x="1345" y="339"/>
                        </a:lnTo>
                        <a:lnTo>
                          <a:pt x="1332" y="333"/>
                        </a:lnTo>
                        <a:lnTo>
                          <a:pt x="1319" y="328"/>
                        </a:lnTo>
                        <a:lnTo>
                          <a:pt x="1306" y="325"/>
                        </a:lnTo>
                        <a:lnTo>
                          <a:pt x="1293" y="323"/>
                        </a:lnTo>
                        <a:lnTo>
                          <a:pt x="1279" y="322"/>
                        </a:lnTo>
                        <a:lnTo>
                          <a:pt x="1265" y="322"/>
                        </a:lnTo>
                        <a:lnTo>
                          <a:pt x="1252" y="324"/>
                        </a:lnTo>
                        <a:lnTo>
                          <a:pt x="1238" y="327"/>
                        </a:lnTo>
                        <a:lnTo>
                          <a:pt x="1225" y="331"/>
                        </a:lnTo>
                        <a:lnTo>
                          <a:pt x="1213" y="337"/>
                        </a:lnTo>
                        <a:lnTo>
                          <a:pt x="1200" y="344"/>
                        </a:lnTo>
                        <a:lnTo>
                          <a:pt x="1188" y="352"/>
                        </a:lnTo>
                        <a:lnTo>
                          <a:pt x="700" y="739"/>
                        </a:lnTo>
                        <a:lnTo>
                          <a:pt x="700" y="739"/>
                        </a:lnTo>
                        <a:lnTo>
                          <a:pt x="689" y="748"/>
                        </a:lnTo>
                        <a:lnTo>
                          <a:pt x="679" y="759"/>
                        </a:lnTo>
                        <a:lnTo>
                          <a:pt x="671" y="770"/>
                        </a:lnTo>
                        <a:lnTo>
                          <a:pt x="664" y="782"/>
                        </a:lnTo>
                        <a:lnTo>
                          <a:pt x="658" y="794"/>
                        </a:lnTo>
                        <a:lnTo>
                          <a:pt x="653" y="807"/>
                        </a:lnTo>
                        <a:lnTo>
                          <a:pt x="649" y="820"/>
                        </a:lnTo>
                        <a:lnTo>
                          <a:pt x="647" y="834"/>
                        </a:lnTo>
                        <a:lnTo>
                          <a:pt x="646" y="847"/>
                        </a:lnTo>
                        <a:lnTo>
                          <a:pt x="647" y="861"/>
                        </a:lnTo>
                        <a:lnTo>
                          <a:pt x="648" y="874"/>
                        </a:lnTo>
                        <a:lnTo>
                          <a:pt x="651" y="888"/>
                        </a:lnTo>
                        <a:lnTo>
                          <a:pt x="656" y="901"/>
                        </a:lnTo>
                        <a:lnTo>
                          <a:pt x="661" y="914"/>
                        </a:lnTo>
                        <a:lnTo>
                          <a:pt x="668" y="926"/>
                        </a:lnTo>
                        <a:lnTo>
                          <a:pt x="677" y="938"/>
                        </a:lnTo>
                        <a:lnTo>
                          <a:pt x="933" y="1262"/>
                        </a:lnTo>
                        <a:lnTo>
                          <a:pt x="933" y="1262"/>
                        </a:lnTo>
                        <a:lnTo>
                          <a:pt x="942" y="1274"/>
                        </a:lnTo>
                        <a:lnTo>
                          <a:pt x="950" y="1287"/>
                        </a:lnTo>
                        <a:lnTo>
                          <a:pt x="956" y="1301"/>
                        </a:lnTo>
                        <a:lnTo>
                          <a:pt x="962" y="1315"/>
                        </a:lnTo>
                        <a:lnTo>
                          <a:pt x="966" y="1330"/>
                        </a:lnTo>
                        <a:lnTo>
                          <a:pt x="970" y="1345"/>
                        </a:lnTo>
                        <a:lnTo>
                          <a:pt x="972" y="1361"/>
                        </a:lnTo>
                        <a:lnTo>
                          <a:pt x="974" y="1376"/>
                        </a:lnTo>
                        <a:lnTo>
                          <a:pt x="974" y="1392"/>
                        </a:lnTo>
                        <a:lnTo>
                          <a:pt x="973" y="1408"/>
                        </a:lnTo>
                        <a:lnTo>
                          <a:pt x="971" y="1423"/>
                        </a:lnTo>
                        <a:lnTo>
                          <a:pt x="969" y="1438"/>
                        </a:lnTo>
                        <a:lnTo>
                          <a:pt x="965" y="1453"/>
                        </a:lnTo>
                        <a:lnTo>
                          <a:pt x="960" y="1467"/>
                        </a:lnTo>
                        <a:lnTo>
                          <a:pt x="954" y="1481"/>
                        </a:lnTo>
                        <a:lnTo>
                          <a:pt x="947" y="1494"/>
                        </a:lnTo>
                        <a:lnTo>
                          <a:pt x="749" y="1901"/>
                        </a:lnTo>
                        <a:lnTo>
                          <a:pt x="749" y="1901"/>
                        </a:lnTo>
                        <a:lnTo>
                          <a:pt x="744" y="1914"/>
                        </a:lnTo>
                        <a:lnTo>
                          <a:pt x="737" y="1927"/>
                        </a:lnTo>
                        <a:lnTo>
                          <a:pt x="728" y="1940"/>
                        </a:lnTo>
                        <a:lnTo>
                          <a:pt x="719" y="1952"/>
                        </a:lnTo>
                        <a:lnTo>
                          <a:pt x="709" y="1964"/>
                        </a:lnTo>
                        <a:lnTo>
                          <a:pt x="698" y="1975"/>
                        </a:lnTo>
                        <a:lnTo>
                          <a:pt x="686" y="1985"/>
                        </a:lnTo>
                        <a:lnTo>
                          <a:pt x="673" y="1994"/>
                        </a:lnTo>
                        <a:lnTo>
                          <a:pt x="660" y="2003"/>
                        </a:lnTo>
                        <a:lnTo>
                          <a:pt x="646" y="2010"/>
                        </a:lnTo>
                        <a:lnTo>
                          <a:pt x="632" y="2017"/>
                        </a:lnTo>
                        <a:lnTo>
                          <a:pt x="617" y="2023"/>
                        </a:lnTo>
                        <a:lnTo>
                          <a:pt x="603" y="2027"/>
                        </a:lnTo>
                        <a:lnTo>
                          <a:pt x="588" y="2030"/>
                        </a:lnTo>
                        <a:lnTo>
                          <a:pt x="573" y="2032"/>
                        </a:lnTo>
                        <a:lnTo>
                          <a:pt x="558" y="2033"/>
                        </a:lnTo>
                        <a:lnTo>
                          <a:pt x="145" y="2031"/>
                        </a:lnTo>
                        <a:lnTo>
                          <a:pt x="145" y="2031"/>
                        </a:lnTo>
                        <a:lnTo>
                          <a:pt x="130" y="2032"/>
                        </a:lnTo>
                        <a:lnTo>
                          <a:pt x="116" y="2034"/>
                        </a:lnTo>
                        <a:lnTo>
                          <a:pt x="103" y="2037"/>
                        </a:lnTo>
                        <a:lnTo>
                          <a:pt x="90" y="2042"/>
                        </a:lnTo>
                        <a:lnTo>
                          <a:pt x="77" y="2048"/>
                        </a:lnTo>
                        <a:lnTo>
                          <a:pt x="65" y="2055"/>
                        </a:lnTo>
                        <a:lnTo>
                          <a:pt x="55" y="2063"/>
                        </a:lnTo>
                        <a:lnTo>
                          <a:pt x="44" y="2072"/>
                        </a:lnTo>
                        <a:lnTo>
                          <a:pt x="35" y="2083"/>
                        </a:lnTo>
                        <a:lnTo>
                          <a:pt x="27" y="2093"/>
                        </a:lnTo>
                        <a:lnTo>
                          <a:pt x="20" y="2105"/>
                        </a:lnTo>
                        <a:lnTo>
                          <a:pt x="14" y="2117"/>
                        </a:lnTo>
                        <a:lnTo>
                          <a:pt x="9" y="2130"/>
                        </a:lnTo>
                        <a:lnTo>
                          <a:pt x="5" y="2144"/>
                        </a:lnTo>
                        <a:lnTo>
                          <a:pt x="3" y="2158"/>
                        </a:lnTo>
                        <a:lnTo>
                          <a:pt x="2" y="2172"/>
                        </a:lnTo>
                        <a:lnTo>
                          <a:pt x="0" y="2797"/>
                        </a:lnTo>
                        <a:lnTo>
                          <a:pt x="0" y="2797"/>
                        </a:lnTo>
                        <a:lnTo>
                          <a:pt x="1" y="2811"/>
                        </a:lnTo>
                        <a:lnTo>
                          <a:pt x="3" y="2825"/>
                        </a:lnTo>
                        <a:lnTo>
                          <a:pt x="6" y="2839"/>
                        </a:lnTo>
                        <a:lnTo>
                          <a:pt x="11" y="2852"/>
                        </a:lnTo>
                        <a:lnTo>
                          <a:pt x="17" y="2864"/>
                        </a:lnTo>
                        <a:lnTo>
                          <a:pt x="24" y="2876"/>
                        </a:lnTo>
                        <a:lnTo>
                          <a:pt x="32" y="2887"/>
                        </a:lnTo>
                        <a:lnTo>
                          <a:pt x="41" y="2897"/>
                        </a:lnTo>
                        <a:lnTo>
                          <a:pt x="51" y="2906"/>
                        </a:lnTo>
                        <a:lnTo>
                          <a:pt x="62" y="2914"/>
                        </a:lnTo>
                        <a:lnTo>
                          <a:pt x="74" y="2921"/>
                        </a:lnTo>
                        <a:lnTo>
                          <a:pt x="86" y="2927"/>
                        </a:lnTo>
                        <a:lnTo>
                          <a:pt x="99" y="2932"/>
                        </a:lnTo>
                        <a:lnTo>
                          <a:pt x="113" y="2936"/>
                        </a:lnTo>
                        <a:lnTo>
                          <a:pt x="127" y="2938"/>
                        </a:lnTo>
                        <a:lnTo>
                          <a:pt x="141" y="2939"/>
                        </a:lnTo>
                        <a:lnTo>
                          <a:pt x="555" y="2941"/>
                        </a:lnTo>
                        <a:lnTo>
                          <a:pt x="555" y="2941"/>
                        </a:lnTo>
                        <a:lnTo>
                          <a:pt x="570" y="2941"/>
                        </a:lnTo>
                        <a:lnTo>
                          <a:pt x="584" y="2944"/>
                        </a:lnTo>
                        <a:lnTo>
                          <a:pt x="599" y="2947"/>
                        </a:lnTo>
                        <a:lnTo>
                          <a:pt x="614" y="2951"/>
                        </a:lnTo>
                        <a:lnTo>
                          <a:pt x="628" y="2957"/>
                        </a:lnTo>
                        <a:lnTo>
                          <a:pt x="642" y="2964"/>
                        </a:lnTo>
                        <a:lnTo>
                          <a:pt x="656" y="2972"/>
                        </a:lnTo>
                        <a:lnTo>
                          <a:pt x="669" y="2980"/>
                        </a:lnTo>
                        <a:lnTo>
                          <a:pt x="682" y="2990"/>
                        </a:lnTo>
                        <a:lnTo>
                          <a:pt x="694" y="3000"/>
                        </a:lnTo>
                        <a:lnTo>
                          <a:pt x="705" y="3011"/>
                        </a:lnTo>
                        <a:lnTo>
                          <a:pt x="715" y="3023"/>
                        </a:lnTo>
                        <a:lnTo>
                          <a:pt x="724" y="3035"/>
                        </a:lnTo>
                        <a:lnTo>
                          <a:pt x="732" y="3048"/>
                        </a:lnTo>
                        <a:lnTo>
                          <a:pt x="739" y="3061"/>
                        </a:lnTo>
                        <a:lnTo>
                          <a:pt x="745" y="3075"/>
                        </a:lnTo>
                        <a:lnTo>
                          <a:pt x="939" y="3482"/>
                        </a:lnTo>
                        <a:lnTo>
                          <a:pt x="939" y="3482"/>
                        </a:lnTo>
                        <a:lnTo>
                          <a:pt x="946" y="3495"/>
                        </a:lnTo>
                        <a:lnTo>
                          <a:pt x="952" y="3509"/>
                        </a:lnTo>
                        <a:lnTo>
                          <a:pt x="956" y="3523"/>
                        </a:lnTo>
                        <a:lnTo>
                          <a:pt x="960" y="3538"/>
                        </a:lnTo>
                        <a:lnTo>
                          <a:pt x="963" y="3553"/>
                        </a:lnTo>
                        <a:lnTo>
                          <a:pt x="964" y="3569"/>
                        </a:lnTo>
                        <a:lnTo>
                          <a:pt x="965" y="3585"/>
                        </a:lnTo>
                        <a:lnTo>
                          <a:pt x="965" y="3600"/>
                        </a:lnTo>
                        <a:lnTo>
                          <a:pt x="963" y="3616"/>
                        </a:lnTo>
                        <a:lnTo>
                          <a:pt x="960" y="3632"/>
                        </a:lnTo>
                        <a:lnTo>
                          <a:pt x="957" y="3647"/>
                        </a:lnTo>
                        <a:lnTo>
                          <a:pt x="952" y="3661"/>
                        </a:lnTo>
                        <a:lnTo>
                          <a:pt x="947" y="3676"/>
                        </a:lnTo>
                        <a:lnTo>
                          <a:pt x="940" y="3689"/>
                        </a:lnTo>
                        <a:lnTo>
                          <a:pt x="932" y="3702"/>
                        </a:lnTo>
                        <a:lnTo>
                          <a:pt x="924" y="3714"/>
                        </a:lnTo>
                        <a:lnTo>
                          <a:pt x="664" y="4036"/>
                        </a:lnTo>
                        <a:lnTo>
                          <a:pt x="664" y="4036"/>
                        </a:lnTo>
                        <a:lnTo>
                          <a:pt x="656" y="4048"/>
                        </a:lnTo>
                        <a:lnTo>
                          <a:pt x="649" y="4060"/>
                        </a:lnTo>
                        <a:lnTo>
                          <a:pt x="643" y="4073"/>
                        </a:lnTo>
                        <a:lnTo>
                          <a:pt x="639" y="4086"/>
                        </a:lnTo>
                        <a:lnTo>
                          <a:pt x="636" y="4100"/>
                        </a:lnTo>
                        <a:lnTo>
                          <a:pt x="634" y="4113"/>
                        </a:lnTo>
                        <a:lnTo>
                          <a:pt x="633" y="4127"/>
                        </a:lnTo>
                        <a:lnTo>
                          <a:pt x="634" y="4141"/>
                        </a:lnTo>
                        <a:lnTo>
                          <a:pt x="636" y="4154"/>
                        </a:lnTo>
                        <a:lnTo>
                          <a:pt x="640" y="4167"/>
                        </a:lnTo>
                        <a:lnTo>
                          <a:pt x="644" y="4180"/>
                        </a:lnTo>
                        <a:lnTo>
                          <a:pt x="650" y="4192"/>
                        </a:lnTo>
                        <a:lnTo>
                          <a:pt x="657" y="4204"/>
                        </a:lnTo>
                        <a:lnTo>
                          <a:pt x="666" y="4216"/>
                        </a:lnTo>
                        <a:lnTo>
                          <a:pt x="675" y="4226"/>
                        </a:lnTo>
                        <a:lnTo>
                          <a:pt x="686" y="4236"/>
                        </a:lnTo>
                        <a:lnTo>
                          <a:pt x="1172" y="4626"/>
                        </a:lnTo>
                        <a:lnTo>
                          <a:pt x="1172" y="4626"/>
                        </a:lnTo>
                        <a:lnTo>
                          <a:pt x="1183" y="4634"/>
                        </a:lnTo>
                        <a:lnTo>
                          <a:pt x="1196" y="4642"/>
                        </a:lnTo>
                        <a:lnTo>
                          <a:pt x="1208" y="4647"/>
                        </a:lnTo>
                        <a:lnTo>
                          <a:pt x="1221" y="4652"/>
                        </a:lnTo>
                        <a:lnTo>
                          <a:pt x="1235" y="4655"/>
                        </a:lnTo>
                        <a:lnTo>
                          <a:pt x="1248" y="4657"/>
                        </a:lnTo>
                        <a:lnTo>
                          <a:pt x="1262" y="4657"/>
                        </a:lnTo>
                        <a:lnTo>
                          <a:pt x="1276" y="4656"/>
                        </a:lnTo>
                        <a:lnTo>
                          <a:pt x="1289" y="4654"/>
                        </a:lnTo>
                        <a:lnTo>
                          <a:pt x="1302" y="4651"/>
                        </a:lnTo>
                        <a:lnTo>
                          <a:pt x="1315" y="4646"/>
                        </a:lnTo>
                        <a:lnTo>
                          <a:pt x="1328" y="4640"/>
                        </a:lnTo>
                        <a:lnTo>
                          <a:pt x="1339" y="4633"/>
                        </a:lnTo>
                        <a:lnTo>
                          <a:pt x="1351" y="4625"/>
                        </a:lnTo>
                        <a:lnTo>
                          <a:pt x="1361" y="4615"/>
                        </a:lnTo>
                        <a:lnTo>
                          <a:pt x="1371" y="4604"/>
                        </a:lnTo>
                        <a:lnTo>
                          <a:pt x="1630" y="4283"/>
                        </a:lnTo>
                        <a:lnTo>
                          <a:pt x="1630" y="4283"/>
                        </a:lnTo>
                        <a:lnTo>
                          <a:pt x="1639" y="4272"/>
                        </a:lnTo>
                        <a:lnTo>
                          <a:pt x="1650" y="4262"/>
                        </a:lnTo>
                        <a:lnTo>
                          <a:pt x="1662" y="4252"/>
                        </a:lnTo>
                        <a:lnTo>
                          <a:pt x="1675" y="4244"/>
                        </a:lnTo>
                        <a:lnTo>
                          <a:pt x="1688" y="4236"/>
                        </a:lnTo>
                        <a:lnTo>
                          <a:pt x="1702" y="4229"/>
                        </a:lnTo>
                        <a:lnTo>
                          <a:pt x="1717" y="4223"/>
                        </a:lnTo>
                        <a:lnTo>
                          <a:pt x="1732" y="4219"/>
                        </a:lnTo>
                        <a:lnTo>
                          <a:pt x="1747" y="4215"/>
                        </a:lnTo>
                        <a:lnTo>
                          <a:pt x="1762" y="4212"/>
                        </a:lnTo>
                        <a:lnTo>
                          <a:pt x="1778" y="4210"/>
                        </a:lnTo>
                        <a:lnTo>
                          <a:pt x="1793" y="4210"/>
                        </a:lnTo>
                        <a:lnTo>
                          <a:pt x="1809" y="4210"/>
                        </a:lnTo>
                        <a:lnTo>
                          <a:pt x="1824" y="4212"/>
                        </a:lnTo>
                        <a:lnTo>
                          <a:pt x="1838" y="4215"/>
                        </a:lnTo>
                        <a:lnTo>
                          <a:pt x="1852" y="4219"/>
                        </a:lnTo>
                        <a:lnTo>
                          <a:pt x="2295" y="4319"/>
                        </a:lnTo>
                        <a:lnTo>
                          <a:pt x="2295" y="4319"/>
                        </a:lnTo>
                        <a:lnTo>
                          <a:pt x="2309" y="4322"/>
                        </a:lnTo>
                        <a:lnTo>
                          <a:pt x="2324" y="4326"/>
                        </a:lnTo>
                        <a:lnTo>
                          <a:pt x="2338" y="4331"/>
                        </a:lnTo>
                        <a:lnTo>
                          <a:pt x="2352" y="4337"/>
                        </a:lnTo>
                        <a:lnTo>
                          <a:pt x="2366" y="4345"/>
                        </a:lnTo>
                        <a:lnTo>
                          <a:pt x="2379" y="4353"/>
                        </a:lnTo>
                        <a:lnTo>
                          <a:pt x="2391" y="4363"/>
                        </a:lnTo>
                        <a:lnTo>
                          <a:pt x="2403" y="4373"/>
                        </a:lnTo>
                        <a:lnTo>
                          <a:pt x="2415" y="4384"/>
                        </a:lnTo>
                        <a:lnTo>
                          <a:pt x="2425" y="4396"/>
                        </a:lnTo>
                        <a:lnTo>
                          <a:pt x="2435" y="4408"/>
                        </a:lnTo>
                        <a:lnTo>
                          <a:pt x="2443" y="4421"/>
                        </a:lnTo>
                        <a:lnTo>
                          <a:pt x="2451" y="4434"/>
                        </a:lnTo>
                        <a:lnTo>
                          <a:pt x="2457" y="4448"/>
                        </a:lnTo>
                        <a:lnTo>
                          <a:pt x="2464" y="4462"/>
                        </a:lnTo>
                        <a:lnTo>
                          <a:pt x="2468" y="4476"/>
                        </a:lnTo>
                        <a:lnTo>
                          <a:pt x="2558" y="4880"/>
                        </a:lnTo>
                        <a:lnTo>
                          <a:pt x="2558" y="4880"/>
                        </a:lnTo>
                        <a:lnTo>
                          <a:pt x="2562" y="4894"/>
                        </a:lnTo>
                        <a:lnTo>
                          <a:pt x="2567" y="4907"/>
                        </a:lnTo>
                        <a:lnTo>
                          <a:pt x="2574" y="4919"/>
                        </a:lnTo>
                        <a:lnTo>
                          <a:pt x="2581" y="4931"/>
                        </a:lnTo>
                        <a:lnTo>
                          <a:pt x="2590" y="4942"/>
                        </a:lnTo>
                        <a:lnTo>
                          <a:pt x="2600" y="4952"/>
                        </a:lnTo>
                        <a:lnTo>
                          <a:pt x="2610" y="4960"/>
                        </a:lnTo>
                        <a:lnTo>
                          <a:pt x="2621" y="4968"/>
                        </a:lnTo>
                        <a:lnTo>
                          <a:pt x="2633" y="4975"/>
                        </a:lnTo>
                        <a:lnTo>
                          <a:pt x="2645" y="4981"/>
                        </a:lnTo>
                        <a:lnTo>
                          <a:pt x="2658" y="4985"/>
                        </a:lnTo>
                        <a:lnTo>
                          <a:pt x="2672" y="4988"/>
                        </a:lnTo>
                        <a:lnTo>
                          <a:pt x="2685" y="4990"/>
                        </a:lnTo>
                        <a:lnTo>
                          <a:pt x="2699" y="4990"/>
                        </a:lnTo>
                        <a:lnTo>
                          <a:pt x="2714" y="4989"/>
                        </a:lnTo>
                        <a:lnTo>
                          <a:pt x="2728" y="4987"/>
                        </a:lnTo>
                        <a:lnTo>
                          <a:pt x="3336" y="4850"/>
                        </a:lnTo>
                        <a:lnTo>
                          <a:pt x="3336" y="4850"/>
                        </a:lnTo>
                        <a:lnTo>
                          <a:pt x="3350" y="4846"/>
                        </a:lnTo>
                        <a:lnTo>
                          <a:pt x="3363" y="4841"/>
                        </a:lnTo>
                        <a:lnTo>
                          <a:pt x="3376" y="4835"/>
                        </a:lnTo>
                        <a:lnTo>
                          <a:pt x="3387" y="4827"/>
                        </a:lnTo>
                        <a:lnTo>
                          <a:pt x="3398" y="4819"/>
                        </a:lnTo>
                        <a:lnTo>
                          <a:pt x="3408" y="4809"/>
                        </a:lnTo>
                        <a:lnTo>
                          <a:pt x="3417" y="4799"/>
                        </a:lnTo>
                        <a:lnTo>
                          <a:pt x="3425" y="4787"/>
                        </a:lnTo>
                        <a:lnTo>
                          <a:pt x="3431" y="4776"/>
                        </a:lnTo>
                        <a:lnTo>
                          <a:pt x="3437" y="4763"/>
                        </a:lnTo>
                        <a:lnTo>
                          <a:pt x="3441" y="4750"/>
                        </a:lnTo>
                        <a:lnTo>
                          <a:pt x="3444" y="4737"/>
                        </a:lnTo>
                        <a:lnTo>
                          <a:pt x="3446" y="4723"/>
                        </a:lnTo>
                        <a:lnTo>
                          <a:pt x="3447" y="4709"/>
                        </a:lnTo>
                        <a:lnTo>
                          <a:pt x="3446" y="4695"/>
                        </a:lnTo>
                        <a:lnTo>
                          <a:pt x="3443" y="4681"/>
                        </a:lnTo>
                        <a:lnTo>
                          <a:pt x="3352" y="4278"/>
                        </a:lnTo>
                        <a:lnTo>
                          <a:pt x="3352" y="4278"/>
                        </a:lnTo>
                        <a:lnTo>
                          <a:pt x="3350" y="4263"/>
                        </a:lnTo>
                        <a:lnTo>
                          <a:pt x="3349" y="4248"/>
                        </a:lnTo>
                        <a:lnTo>
                          <a:pt x="3349" y="4233"/>
                        </a:lnTo>
                        <a:lnTo>
                          <a:pt x="3350" y="4218"/>
                        </a:lnTo>
                        <a:lnTo>
                          <a:pt x="3352" y="4203"/>
                        </a:lnTo>
                        <a:lnTo>
                          <a:pt x="3356" y="4187"/>
                        </a:lnTo>
                        <a:lnTo>
                          <a:pt x="3360" y="4172"/>
                        </a:lnTo>
                        <a:lnTo>
                          <a:pt x="3366" y="4158"/>
                        </a:lnTo>
                        <a:lnTo>
                          <a:pt x="3372" y="4143"/>
                        </a:lnTo>
                        <a:lnTo>
                          <a:pt x="3379" y="4129"/>
                        </a:lnTo>
                        <a:lnTo>
                          <a:pt x="3388" y="4116"/>
                        </a:lnTo>
                        <a:lnTo>
                          <a:pt x="3397" y="4103"/>
                        </a:lnTo>
                        <a:lnTo>
                          <a:pt x="3407" y="4092"/>
                        </a:lnTo>
                        <a:lnTo>
                          <a:pt x="3417" y="4081"/>
                        </a:lnTo>
                        <a:lnTo>
                          <a:pt x="3429" y="4071"/>
                        </a:lnTo>
                        <a:lnTo>
                          <a:pt x="3441" y="4063"/>
                        </a:lnTo>
                        <a:lnTo>
                          <a:pt x="3795" y="3783"/>
                        </a:lnTo>
                        <a:lnTo>
                          <a:pt x="3795" y="3783"/>
                        </a:lnTo>
                        <a:lnTo>
                          <a:pt x="3806" y="3773"/>
                        </a:lnTo>
                        <a:lnTo>
                          <a:pt x="3818" y="3764"/>
                        </a:lnTo>
                        <a:lnTo>
                          <a:pt x="3831" y="3756"/>
                        </a:lnTo>
                        <a:lnTo>
                          <a:pt x="3845" y="3749"/>
                        </a:lnTo>
                        <a:lnTo>
                          <a:pt x="3859" y="3743"/>
                        </a:lnTo>
                        <a:lnTo>
                          <a:pt x="3874" y="3738"/>
                        </a:lnTo>
                        <a:lnTo>
                          <a:pt x="3889" y="3734"/>
                        </a:lnTo>
                        <a:lnTo>
                          <a:pt x="3905" y="3731"/>
                        </a:lnTo>
                        <a:lnTo>
                          <a:pt x="3920" y="3729"/>
                        </a:lnTo>
                        <a:lnTo>
                          <a:pt x="3936" y="3728"/>
                        </a:lnTo>
                        <a:lnTo>
                          <a:pt x="3952" y="3728"/>
                        </a:lnTo>
                        <a:lnTo>
                          <a:pt x="3967" y="3730"/>
                        </a:lnTo>
                        <a:lnTo>
                          <a:pt x="3982" y="3732"/>
                        </a:lnTo>
                        <a:lnTo>
                          <a:pt x="3997" y="3735"/>
                        </a:lnTo>
                        <a:lnTo>
                          <a:pt x="4011" y="3740"/>
                        </a:lnTo>
                        <a:lnTo>
                          <a:pt x="4024" y="3746"/>
                        </a:lnTo>
                        <a:lnTo>
                          <a:pt x="4396" y="3926"/>
                        </a:lnTo>
                        <a:lnTo>
                          <a:pt x="4396" y="3926"/>
                        </a:lnTo>
                        <a:lnTo>
                          <a:pt x="4409" y="3932"/>
                        </a:lnTo>
                        <a:lnTo>
                          <a:pt x="4423" y="3936"/>
                        </a:lnTo>
                        <a:lnTo>
                          <a:pt x="4436" y="3939"/>
                        </a:lnTo>
                        <a:lnTo>
                          <a:pt x="4450" y="3940"/>
                        </a:lnTo>
                        <a:lnTo>
                          <a:pt x="4464" y="3940"/>
                        </a:lnTo>
                        <a:lnTo>
                          <a:pt x="4477" y="3939"/>
                        </a:lnTo>
                        <a:lnTo>
                          <a:pt x="4491" y="3936"/>
                        </a:lnTo>
                        <a:lnTo>
                          <a:pt x="4504" y="3932"/>
                        </a:lnTo>
                        <a:lnTo>
                          <a:pt x="4516" y="3927"/>
                        </a:lnTo>
                        <a:lnTo>
                          <a:pt x="4529" y="3921"/>
                        </a:lnTo>
                        <a:lnTo>
                          <a:pt x="4540" y="3914"/>
                        </a:lnTo>
                        <a:lnTo>
                          <a:pt x="4551" y="3905"/>
                        </a:lnTo>
                        <a:lnTo>
                          <a:pt x="4561" y="3896"/>
                        </a:lnTo>
                        <a:lnTo>
                          <a:pt x="4570" y="3885"/>
                        </a:lnTo>
                        <a:lnTo>
                          <a:pt x="4578" y="3873"/>
                        </a:lnTo>
                        <a:lnTo>
                          <a:pt x="4585" y="3860"/>
                        </a:lnTo>
                        <a:lnTo>
                          <a:pt x="4857" y="3300"/>
                        </a:lnTo>
                        <a:lnTo>
                          <a:pt x="4857" y="3300"/>
                        </a:lnTo>
                        <a:lnTo>
                          <a:pt x="4863" y="3286"/>
                        </a:lnTo>
                        <a:lnTo>
                          <a:pt x="4867" y="3273"/>
                        </a:lnTo>
                        <a:lnTo>
                          <a:pt x="4870" y="3259"/>
                        </a:lnTo>
                        <a:lnTo>
                          <a:pt x="4871" y="3245"/>
                        </a:lnTo>
                        <a:lnTo>
                          <a:pt x="4872" y="3231"/>
                        </a:lnTo>
                        <a:lnTo>
                          <a:pt x="4870" y="3218"/>
                        </a:lnTo>
                        <a:lnTo>
                          <a:pt x="4868" y="3204"/>
                        </a:lnTo>
                        <a:lnTo>
                          <a:pt x="4864" y="3191"/>
                        </a:lnTo>
                        <a:lnTo>
                          <a:pt x="4859" y="3179"/>
                        </a:lnTo>
                        <a:lnTo>
                          <a:pt x="4853" y="3167"/>
                        </a:lnTo>
                        <a:lnTo>
                          <a:pt x="4845" y="3155"/>
                        </a:lnTo>
                        <a:lnTo>
                          <a:pt x="4837" y="3144"/>
                        </a:lnTo>
                        <a:lnTo>
                          <a:pt x="4827" y="3134"/>
                        </a:lnTo>
                        <a:lnTo>
                          <a:pt x="4816" y="3125"/>
                        </a:lnTo>
                        <a:lnTo>
                          <a:pt x="4805" y="3117"/>
                        </a:lnTo>
                        <a:lnTo>
                          <a:pt x="4792" y="3110"/>
                        </a:lnTo>
                        <a:lnTo>
                          <a:pt x="4421" y="2930"/>
                        </a:lnTo>
                        <a:lnTo>
                          <a:pt x="4421" y="2930"/>
                        </a:lnTo>
                        <a:lnTo>
                          <a:pt x="4408" y="2923"/>
                        </a:lnTo>
                        <a:lnTo>
                          <a:pt x="4396" y="2915"/>
                        </a:lnTo>
                        <a:lnTo>
                          <a:pt x="4384" y="2905"/>
                        </a:lnTo>
                        <a:lnTo>
                          <a:pt x="4373" y="2895"/>
                        </a:lnTo>
                        <a:lnTo>
                          <a:pt x="4363" y="2884"/>
                        </a:lnTo>
                        <a:lnTo>
                          <a:pt x="4354" y="2872"/>
                        </a:lnTo>
                        <a:lnTo>
                          <a:pt x="4345" y="2859"/>
                        </a:lnTo>
                        <a:lnTo>
                          <a:pt x="4338" y="2845"/>
                        </a:lnTo>
                        <a:lnTo>
                          <a:pt x="4331" y="2831"/>
                        </a:lnTo>
                        <a:lnTo>
                          <a:pt x="4325" y="2817"/>
                        </a:lnTo>
                        <a:lnTo>
                          <a:pt x="4321" y="2802"/>
                        </a:lnTo>
                        <a:lnTo>
                          <a:pt x="4317" y="2787"/>
                        </a:lnTo>
                        <a:lnTo>
                          <a:pt x="4315" y="2772"/>
                        </a:lnTo>
                        <a:lnTo>
                          <a:pt x="4314" y="2758"/>
                        </a:lnTo>
                        <a:lnTo>
                          <a:pt x="4314" y="2743"/>
                        </a:lnTo>
                        <a:lnTo>
                          <a:pt x="4316" y="2728"/>
                        </a:lnTo>
                        <a:lnTo>
                          <a:pt x="4316" y="2728"/>
                        </a:lnTo>
                        <a:lnTo>
                          <a:pt x="4318" y="2710"/>
                        </a:lnTo>
                        <a:lnTo>
                          <a:pt x="4323" y="2662"/>
                        </a:lnTo>
                        <a:lnTo>
                          <a:pt x="4326" y="2629"/>
                        </a:lnTo>
                        <a:lnTo>
                          <a:pt x="4329" y="2590"/>
                        </a:lnTo>
                        <a:lnTo>
                          <a:pt x="4331" y="2548"/>
                        </a:lnTo>
                        <a:lnTo>
                          <a:pt x="4332" y="2502"/>
                        </a:lnTo>
                        <a:lnTo>
                          <a:pt x="4332" y="2502"/>
                        </a:lnTo>
                        <a:close/>
                        <a:moveTo>
                          <a:pt x="3788" y="2500"/>
                        </a:moveTo>
                        <a:lnTo>
                          <a:pt x="3788" y="2500"/>
                        </a:lnTo>
                        <a:lnTo>
                          <a:pt x="3787" y="2533"/>
                        </a:lnTo>
                        <a:lnTo>
                          <a:pt x="3786" y="2567"/>
                        </a:lnTo>
                        <a:lnTo>
                          <a:pt x="3784" y="2600"/>
                        </a:lnTo>
                        <a:lnTo>
                          <a:pt x="3780" y="2633"/>
                        </a:lnTo>
                        <a:lnTo>
                          <a:pt x="3777" y="2666"/>
                        </a:lnTo>
                        <a:lnTo>
                          <a:pt x="3772" y="2698"/>
                        </a:lnTo>
                        <a:lnTo>
                          <a:pt x="3767" y="2730"/>
                        </a:lnTo>
                        <a:lnTo>
                          <a:pt x="3760" y="2762"/>
                        </a:lnTo>
                        <a:lnTo>
                          <a:pt x="3753" y="2794"/>
                        </a:lnTo>
                        <a:lnTo>
                          <a:pt x="3746" y="2825"/>
                        </a:lnTo>
                        <a:lnTo>
                          <a:pt x="3737" y="2856"/>
                        </a:lnTo>
                        <a:lnTo>
                          <a:pt x="3728" y="2887"/>
                        </a:lnTo>
                        <a:lnTo>
                          <a:pt x="3718" y="2917"/>
                        </a:lnTo>
                        <a:lnTo>
                          <a:pt x="3707" y="2947"/>
                        </a:lnTo>
                        <a:lnTo>
                          <a:pt x="3696" y="2977"/>
                        </a:lnTo>
                        <a:lnTo>
                          <a:pt x="3684" y="3006"/>
                        </a:lnTo>
                        <a:lnTo>
                          <a:pt x="3671" y="3035"/>
                        </a:lnTo>
                        <a:lnTo>
                          <a:pt x="3657" y="3064"/>
                        </a:lnTo>
                        <a:lnTo>
                          <a:pt x="3643" y="3092"/>
                        </a:lnTo>
                        <a:lnTo>
                          <a:pt x="3628" y="3120"/>
                        </a:lnTo>
                        <a:lnTo>
                          <a:pt x="3613" y="3147"/>
                        </a:lnTo>
                        <a:lnTo>
                          <a:pt x="3597" y="3174"/>
                        </a:lnTo>
                        <a:lnTo>
                          <a:pt x="3580" y="3201"/>
                        </a:lnTo>
                        <a:lnTo>
                          <a:pt x="3563" y="3227"/>
                        </a:lnTo>
                        <a:lnTo>
                          <a:pt x="3545" y="3252"/>
                        </a:lnTo>
                        <a:lnTo>
                          <a:pt x="3526" y="3278"/>
                        </a:lnTo>
                        <a:lnTo>
                          <a:pt x="3507" y="3302"/>
                        </a:lnTo>
                        <a:lnTo>
                          <a:pt x="3487" y="3327"/>
                        </a:lnTo>
                        <a:lnTo>
                          <a:pt x="3467" y="3350"/>
                        </a:lnTo>
                        <a:lnTo>
                          <a:pt x="3446" y="3374"/>
                        </a:lnTo>
                        <a:lnTo>
                          <a:pt x="3425" y="3396"/>
                        </a:lnTo>
                        <a:lnTo>
                          <a:pt x="3403" y="3419"/>
                        </a:lnTo>
                        <a:lnTo>
                          <a:pt x="3381" y="3440"/>
                        </a:lnTo>
                        <a:lnTo>
                          <a:pt x="3358" y="3462"/>
                        </a:lnTo>
                        <a:lnTo>
                          <a:pt x="3334" y="3482"/>
                        </a:lnTo>
                        <a:lnTo>
                          <a:pt x="3310" y="3502"/>
                        </a:lnTo>
                        <a:lnTo>
                          <a:pt x="3286" y="3522"/>
                        </a:lnTo>
                        <a:lnTo>
                          <a:pt x="3261" y="3541"/>
                        </a:lnTo>
                        <a:lnTo>
                          <a:pt x="3236" y="3559"/>
                        </a:lnTo>
                        <a:lnTo>
                          <a:pt x="3210" y="3577"/>
                        </a:lnTo>
                        <a:lnTo>
                          <a:pt x="3184" y="3594"/>
                        </a:lnTo>
                        <a:lnTo>
                          <a:pt x="3157" y="3611"/>
                        </a:lnTo>
                        <a:lnTo>
                          <a:pt x="3130" y="3626"/>
                        </a:lnTo>
                        <a:lnTo>
                          <a:pt x="3102" y="3642"/>
                        </a:lnTo>
                        <a:lnTo>
                          <a:pt x="3074" y="3656"/>
                        </a:lnTo>
                        <a:lnTo>
                          <a:pt x="3046" y="3670"/>
                        </a:lnTo>
                        <a:lnTo>
                          <a:pt x="3017" y="3683"/>
                        </a:lnTo>
                        <a:lnTo>
                          <a:pt x="2988" y="3696"/>
                        </a:lnTo>
                        <a:lnTo>
                          <a:pt x="2959" y="3708"/>
                        </a:lnTo>
                        <a:lnTo>
                          <a:pt x="2929" y="3719"/>
                        </a:lnTo>
                        <a:lnTo>
                          <a:pt x="2899" y="3730"/>
                        </a:lnTo>
                        <a:lnTo>
                          <a:pt x="2868" y="3739"/>
                        </a:lnTo>
                        <a:lnTo>
                          <a:pt x="2838" y="3748"/>
                        </a:lnTo>
                        <a:lnTo>
                          <a:pt x="2807" y="3757"/>
                        </a:lnTo>
                        <a:lnTo>
                          <a:pt x="2775" y="3764"/>
                        </a:lnTo>
                        <a:lnTo>
                          <a:pt x="2744" y="3771"/>
                        </a:lnTo>
                        <a:lnTo>
                          <a:pt x="2712" y="3777"/>
                        </a:lnTo>
                        <a:lnTo>
                          <a:pt x="2679" y="3782"/>
                        </a:lnTo>
                        <a:lnTo>
                          <a:pt x="2647" y="3787"/>
                        </a:lnTo>
                        <a:lnTo>
                          <a:pt x="2614" y="3790"/>
                        </a:lnTo>
                        <a:lnTo>
                          <a:pt x="2581" y="3793"/>
                        </a:lnTo>
                        <a:lnTo>
                          <a:pt x="2548" y="3795"/>
                        </a:lnTo>
                        <a:lnTo>
                          <a:pt x="2515" y="3796"/>
                        </a:lnTo>
                        <a:lnTo>
                          <a:pt x="2481" y="3796"/>
                        </a:lnTo>
                        <a:lnTo>
                          <a:pt x="2481" y="3796"/>
                        </a:lnTo>
                        <a:lnTo>
                          <a:pt x="2446" y="3796"/>
                        </a:lnTo>
                        <a:lnTo>
                          <a:pt x="2413" y="3794"/>
                        </a:lnTo>
                        <a:lnTo>
                          <a:pt x="2380" y="3792"/>
                        </a:lnTo>
                        <a:lnTo>
                          <a:pt x="2347" y="3789"/>
                        </a:lnTo>
                        <a:lnTo>
                          <a:pt x="2314" y="3785"/>
                        </a:lnTo>
                        <a:lnTo>
                          <a:pt x="2282" y="3781"/>
                        </a:lnTo>
                        <a:lnTo>
                          <a:pt x="2250" y="3775"/>
                        </a:lnTo>
                        <a:lnTo>
                          <a:pt x="2218" y="3769"/>
                        </a:lnTo>
                        <a:lnTo>
                          <a:pt x="2186" y="3762"/>
                        </a:lnTo>
                        <a:lnTo>
                          <a:pt x="2155" y="3754"/>
                        </a:lnTo>
                        <a:lnTo>
                          <a:pt x="2124" y="3746"/>
                        </a:lnTo>
                        <a:lnTo>
                          <a:pt x="2093" y="3736"/>
                        </a:lnTo>
                        <a:lnTo>
                          <a:pt x="2063" y="3726"/>
                        </a:lnTo>
                        <a:lnTo>
                          <a:pt x="2033" y="3716"/>
                        </a:lnTo>
                        <a:lnTo>
                          <a:pt x="2003" y="3704"/>
                        </a:lnTo>
                        <a:lnTo>
                          <a:pt x="1974" y="3692"/>
                        </a:lnTo>
                        <a:lnTo>
                          <a:pt x="1945" y="3679"/>
                        </a:lnTo>
                        <a:lnTo>
                          <a:pt x="1916" y="3666"/>
                        </a:lnTo>
                        <a:lnTo>
                          <a:pt x="1888" y="3652"/>
                        </a:lnTo>
                        <a:lnTo>
                          <a:pt x="1860" y="3637"/>
                        </a:lnTo>
                        <a:lnTo>
                          <a:pt x="1833" y="3621"/>
                        </a:lnTo>
                        <a:lnTo>
                          <a:pt x="1806" y="3605"/>
                        </a:lnTo>
                        <a:lnTo>
                          <a:pt x="1779" y="3589"/>
                        </a:lnTo>
                        <a:lnTo>
                          <a:pt x="1753" y="3571"/>
                        </a:lnTo>
                        <a:lnTo>
                          <a:pt x="1728" y="3553"/>
                        </a:lnTo>
                        <a:lnTo>
                          <a:pt x="1702" y="3535"/>
                        </a:lnTo>
                        <a:lnTo>
                          <a:pt x="1678" y="3516"/>
                        </a:lnTo>
                        <a:lnTo>
                          <a:pt x="1653" y="3496"/>
                        </a:lnTo>
                        <a:lnTo>
                          <a:pt x="1630" y="3476"/>
                        </a:lnTo>
                        <a:lnTo>
                          <a:pt x="1606" y="3455"/>
                        </a:lnTo>
                        <a:lnTo>
                          <a:pt x="1584" y="3433"/>
                        </a:lnTo>
                        <a:lnTo>
                          <a:pt x="1561" y="3412"/>
                        </a:lnTo>
                        <a:lnTo>
                          <a:pt x="1540" y="3389"/>
                        </a:lnTo>
                        <a:lnTo>
                          <a:pt x="1518" y="3366"/>
                        </a:lnTo>
                        <a:lnTo>
                          <a:pt x="1498" y="3343"/>
                        </a:lnTo>
                        <a:lnTo>
                          <a:pt x="1478" y="3319"/>
                        </a:lnTo>
                        <a:lnTo>
                          <a:pt x="1458" y="3294"/>
                        </a:lnTo>
                        <a:lnTo>
                          <a:pt x="1439" y="3269"/>
                        </a:lnTo>
                        <a:lnTo>
                          <a:pt x="1421" y="3244"/>
                        </a:lnTo>
                        <a:lnTo>
                          <a:pt x="1403" y="3218"/>
                        </a:lnTo>
                        <a:lnTo>
                          <a:pt x="1386" y="3192"/>
                        </a:lnTo>
                        <a:lnTo>
                          <a:pt x="1370" y="3165"/>
                        </a:lnTo>
                        <a:lnTo>
                          <a:pt x="1354" y="3138"/>
                        </a:lnTo>
                        <a:lnTo>
                          <a:pt x="1338" y="3111"/>
                        </a:lnTo>
                        <a:lnTo>
                          <a:pt x="1324" y="3083"/>
                        </a:lnTo>
                        <a:lnTo>
                          <a:pt x="1310" y="3054"/>
                        </a:lnTo>
                        <a:lnTo>
                          <a:pt x="1297" y="3026"/>
                        </a:lnTo>
                        <a:lnTo>
                          <a:pt x="1284" y="2997"/>
                        </a:lnTo>
                        <a:lnTo>
                          <a:pt x="1272" y="2967"/>
                        </a:lnTo>
                        <a:lnTo>
                          <a:pt x="1261" y="2937"/>
                        </a:lnTo>
                        <a:lnTo>
                          <a:pt x="1250" y="2907"/>
                        </a:lnTo>
                        <a:lnTo>
                          <a:pt x="1241" y="2877"/>
                        </a:lnTo>
                        <a:lnTo>
                          <a:pt x="1232" y="2846"/>
                        </a:lnTo>
                        <a:lnTo>
                          <a:pt x="1223" y="2815"/>
                        </a:lnTo>
                        <a:lnTo>
                          <a:pt x="1216" y="2784"/>
                        </a:lnTo>
                        <a:lnTo>
                          <a:pt x="1209" y="2752"/>
                        </a:lnTo>
                        <a:lnTo>
                          <a:pt x="1203" y="2720"/>
                        </a:lnTo>
                        <a:lnTo>
                          <a:pt x="1198" y="2688"/>
                        </a:lnTo>
                        <a:lnTo>
                          <a:pt x="1194" y="2655"/>
                        </a:lnTo>
                        <a:lnTo>
                          <a:pt x="1190" y="2623"/>
                        </a:lnTo>
                        <a:lnTo>
                          <a:pt x="1187" y="2590"/>
                        </a:lnTo>
                        <a:lnTo>
                          <a:pt x="1185" y="2557"/>
                        </a:lnTo>
                        <a:lnTo>
                          <a:pt x="1184" y="2523"/>
                        </a:lnTo>
                        <a:lnTo>
                          <a:pt x="1184" y="2490"/>
                        </a:lnTo>
                        <a:lnTo>
                          <a:pt x="1184" y="2490"/>
                        </a:lnTo>
                        <a:lnTo>
                          <a:pt x="1184" y="2455"/>
                        </a:lnTo>
                        <a:lnTo>
                          <a:pt x="1186" y="2422"/>
                        </a:lnTo>
                        <a:lnTo>
                          <a:pt x="1188" y="2388"/>
                        </a:lnTo>
                        <a:lnTo>
                          <a:pt x="1191" y="2356"/>
                        </a:lnTo>
                        <a:lnTo>
                          <a:pt x="1195" y="2323"/>
                        </a:lnTo>
                        <a:lnTo>
                          <a:pt x="1199" y="2290"/>
                        </a:lnTo>
                        <a:lnTo>
                          <a:pt x="1205" y="2258"/>
                        </a:lnTo>
                        <a:lnTo>
                          <a:pt x="1211" y="2226"/>
                        </a:lnTo>
                        <a:lnTo>
                          <a:pt x="1218" y="2195"/>
                        </a:lnTo>
                        <a:lnTo>
                          <a:pt x="1226" y="2163"/>
                        </a:lnTo>
                        <a:lnTo>
                          <a:pt x="1234" y="2132"/>
                        </a:lnTo>
                        <a:lnTo>
                          <a:pt x="1244" y="2102"/>
                        </a:lnTo>
                        <a:lnTo>
                          <a:pt x="1254" y="2071"/>
                        </a:lnTo>
                        <a:lnTo>
                          <a:pt x="1264" y="2041"/>
                        </a:lnTo>
                        <a:lnTo>
                          <a:pt x="1276" y="2012"/>
                        </a:lnTo>
                        <a:lnTo>
                          <a:pt x="1288" y="1982"/>
                        </a:lnTo>
                        <a:lnTo>
                          <a:pt x="1301" y="1953"/>
                        </a:lnTo>
                        <a:lnTo>
                          <a:pt x="1314" y="1925"/>
                        </a:lnTo>
                        <a:lnTo>
                          <a:pt x="1328" y="1897"/>
                        </a:lnTo>
                        <a:lnTo>
                          <a:pt x="1343" y="1869"/>
                        </a:lnTo>
                        <a:lnTo>
                          <a:pt x="1359" y="1841"/>
                        </a:lnTo>
                        <a:lnTo>
                          <a:pt x="1375" y="1814"/>
                        </a:lnTo>
                        <a:lnTo>
                          <a:pt x="1391" y="1788"/>
                        </a:lnTo>
                        <a:lnTo>
                          <a:pt x="1409" y="1762"/>
                        </a:lnTo>
                        <a:lnTo>
                          <a:pt x="1427" y="1736"/>
                        </a:lnTo>
                        <a:lnTo>
                          <a:pt x="1445" y="1711"/>
                        </a:lnTo>
                        <a:lnTo>
                          <a:pt x="1464" y="1686"/>
                        </a:lnTo>
                        <a:lnTo>
                          <a:pt x="1484" y="1662"/>
                        </a:lnTo>
                        <a:lnTo>
                          <a:pt x="1504" y="1638"/>
                        </a:lnTo>
                        <a:lnTo>
                          <a:pt x="1525" y="1615"/>
                        </a:lnTo>
                        <a:lnTo>
                          <a:pt x="1547" y="1592"/>
                        </a:lnTo>
                        <a:lnTo>
                          <a:pt x="1569" y="1570"/>
                        </a:lnTo>
                        <a:lnTo>
                          <a:pt x="1591" y="1548"/>
                        </a:lnTo>
                        <a:lnTo>
                          <a:pt x="1614" y="1527"/>
                        </a:lnTo>
                        <a:lnTo>
                          <a:pt x="1637" y="1506"/>
                        </a:lnTo>
                        <a:lnTo>
                          <a:pt x="1661" y="1486"/>
                        </a:lnTo>
                        <a:lnTo>
                          <a:pt x="1686" y="1467"/>
                        </a:lnTo>
                        <a:lnTo>
                          <a:pt x="1711" y="1448"/>
                        </a:lnTo>
                        <a:lnTo>
                          <a:pt x="1736" y="1429"/>
                        </a:lnTo>
                        <a:lnTo>
                          <a:pt x="1762" y="1412"/>
                        </a:lnTo>
                        <a:lnTo>
                          <a:pt x="1788" y="1395"/>
                        </a:lnTo>
                        <a:lnTo>
                          <a:pt x="1815" y="1378"/>
                        </a:lnTo>
                        <a:lnTo>
                          <a:pt x="1842" y="1362"/>
                        </a:lnTo>
                        <a:lnTo>
                          <a:pt x="1869" y="1347"/>
                        </a:lnTo>
                        <a:lnTo>
                          <a:pt x="1897" y="1332"/>
                        </a:lnTo>
                        <a:lnTo>
                          <a:pt x="1926" y="1318"/>
                        </a:lnTo>
                        <a:lnTo>
                          <a:pt x="1954" y="1305"/>
                        </a:lnTo>
                        <a:lnTo>
                          <a:pt x="1983" y="1293"/>
                        </a:lnTo>
                        <a:lnTo>
                          <a:pt x="2013" y="1281"/>
                        </a:lnTo>
                        <a:lnTo>
                          <a:pt x="2043" y="1270"/>
                        </a:lnTo>
                        <a:lnTo>
                          <a:pt x="2073" y="1259"/>
                        </a:lnTo>
                        <a:lnTo>
                          <a:pt x="2103" y="1249"/>
                        </a:lnTo>
                        <a:lnTo>
                          <a:pt x="2134" y="1240"/>
                        </a:lnTo>
                        <a:lnTo>
                          <a:pt x="2165" y="1232"/>
                        </a:lnTo>
                        <a:lnTo>
                          <a:pt x="2196" y="1225"/>
                        </a:lnTo>
                        <a:lnTo>
                          <a:pt x="2228" y="1218"/>
                        </a:lnTo>
                        <a:lnTo>
                          <a:pt x="2260" y="1212"/>
                        </a:lnTo>
                        <a:lnTo>
                          <a:pt x="2292" y="1207"/>
                        </a:lnTo>
                        <a:lnTo>
                          <a:pt x="2325" y="1202"/>
                        </a:lnTo>
                        <a:lnTo>
                          <a:pt x="2357" y="1199"/>
                        </a:lnTo>
                        <a:lnTo>
                          <a:pt x="2390" y="1196"/>
                        </a:lnTo>
                        <a:lnTo>
                          <a:pt x="2424" y="1194"/>
                        </a:lnTo>
                        <a:lnTo>
                          <a:pt x="2457" y="1193"/>
                        </a:lnTo>
                        <a:lnTo>
                          <a:pt x="2492" y="1192"/>
                        </a:lnTo>
                        <a:lnTo>
                          <a:pt x="2492" y="1192"/>
                        </a:lnTo>
                        <a:lnTo>
                          <a:pt x="2525" y="1193"/>
                        </a:lnTo>
                        <a:lnTo>
                          <a:pt x="2558" y="1194"/>
                        </a:lnTo>
                        <a:lnTo>
                          <a:pt x="2592" y="1197"/>
                        </a:lnTo>
                        <a:lnTo>
                          <a:pt x="2625" y="1200"/>
                        </a:lnTo>
                        <a:lnTo>
                          <a:pt x="2657" y="1204"/>
                        </a:lnTo>
                        <a:lnTo>
                          <a:pt x="2690" y="1208"/>
                        </a:lnTo>
                        <a:lnTo>
                          <a:pt x="2722" y="1214"/>
                        </a:lnTo>
                        <a:lnTo>
                          <a:pt x="2754" y="1220"/>
                        </a:lnTo>
                        <a:lnTo>
                          <a:pt x="2785" y="1227"/>
                        </a:lnTo>
                        <a:lnTo>
                          <a:pt x="2817" y="1235"/>
                        </a:lnTo>
                        <a:lnTo>
                          <a:pt x="2848" y="1243"/>
                        </a:lnTo>
                        <a:lnTo>
                          <a:pt x="2878" y="1252"/>
                        </a:lnTo>
                        <a:lnTo>
                          <a:pt x="2909" y="1262"/>
                        </a:lnTo>
                        <a:lnTo>
                          <a:pt x="2939" y="1273"/>
                        </a:lnTo>
                        <a:lnTo>
                          <a:pt x="2968" y="1285"/>
                        </a:lnTo>
                        <a:lnTo>
                          <a:pt x="2998" y="1297"/>
                        </a:lnTo>
                        <a:lnTo>
                          <a:pt x="3027" y="1309"/>
                        </a:lnTo>
                        <a:lnTo>
                          <a:pt x="3055" y="1323"/>
                        </a:lnTo>
                        <a:lnTo>
                          <a:pt x="3083" y="1337"/>
                        </a:lnTo>
                        <a:lnTo>
                          <a:pt x="3111" y="1352"/>
                        </a:lnTo>
                        <a:lnTo>
                          <a:pt x="3139" y="1367"/>
                        </a:lnTo>
                        <a:lnTo>
                          <a:pt x="3166" y="1383"/>
                        </a:lnTo>
                        <a:lnTo>
                          <a:pt x="3192" y="1400"/>
                        </a:lnTo>
                        <a:lnTo>
                          <a:pt x="3218" y="1418"/>
                        </a:lnTo>
                        <a:lnTo>
                          <a:pt x="3244" y="1435"/>
                        </a:lnTo>
                        <a:lnTo>
                          <a:pt x="3269" y="1454"/>
                        </a:lnTo>
                        <a:lnTo>
                          <a:pt x="3294" y="1473"/>
                        </a:lnTo>
                        <a:lnTo>
                          <a:pt x="3318" y="1493"/>
                        </a:lnTo>
                        <a:lnTo>
                          <a:pt x="3342" y="1513"/>
                        </a:lnTo>
                        <a:lnTo>
                          <a:pt x="3365" y="1534"/>
                        </a:lnTo>
                        <a:lnTo>
                          <a:pt x="3388" y="1555"/>
                        </a:lnTo>
                        <a:lnTo>
                          <a:pt x="3410" y="1577"/>
                        </a:lnTo>
                        <a:lnTo>
                          <a:pt x="3432" y="1600"/>
                        </a:lnTo>
                        <a:lnTo>
                          <a:pt x="3453" y="1623"/>
                        </a:lnTo>
                        <a:lnTo>
                          <a:pt x="3474" y="1646"/>
                        </a:lnTo>
                        <a:lnTo>
                          <a:pt x="3494" y="1670"/>
                        </a:lnTo>
                        <a:lnTo>
                          <a:pt x="3513" y="1694"/>
                        </a:lnTo>
                        <a:lnTo>
                          <a:pt x="3532" y="1719"/>
                        </a:lnTo>
                        <a:lnTo>
                          <a:pt x="3551" y="1745"/>
                        </a:lnTo>
                        <a:lnTo>
                          <a:pt x="3568" y="1770"/>
                        </a:lnTo>
                        <a:lnTo>
                          <a:pt x="3585" y="1797"/>
                        </a:lnTo>
                        <a:lnTo>
                          <a:pt x="3602" y="1823"/>
                        </a:lnTo>
                        <a:lnTo>
                          <a:pt x="3618" y="1850"/>
                        </a:lnTo>
                        <a:lnTo>
                          <a:pt x="3633" y="1878"/>
                        </a:lnTo>
                        <a:lnTo>
                          <a:pt x="3648" y="1906"/>
                        </a:lnTo>
                        <a:lnTo>
                          <a:pt x="3662" y="1934"/>
                        </a:lnTo>
                        <a:lnTo>
                          <a:pt x="3675" y="1963"/>
                        </a:lnTo>
                        <a:lnTo>
                          <a:pt x="3687" y="1992"/>
                        </a:lnTo>
                        <a:lnTo>
                          <a:pt x="3699" y="2021"/>
                        </a:lnTo>
                        <a:lnTo>
                          <a:pt x="3711" y="2051"/>
                        </a:lnTo>
                        <a:lnTo>
                          <a:pt x="3721" y="2081"/>
                        </a:lnTo>
                        <a:lnTo>
                          <a:pt x="3731" y="2112"/>
                        </a:lnTo>
                        <a:lnTo>
                          <a:pt x="3740" y="2142"/>
                        </a:lnTo>
                        <a:lnTo>
                          <a:pt x="3748" y="2173"/>
                        </a:lnTo>
                        <a:lnTo>
                          <a:pt x="3756" y="2205"/>
                        </a:lnTo>
                        <a:lnTo>
                          <a:pt x="3762" y="2236"/>
                        </a:lnTo>
                        <a:lnTo>
                          <a:pt x="3768" y="2268"/>
                        </a:lnTo>
                        <a:lnTo>
                          <a:pt x="3773" y="2301"/>
                        </a:lnTo>
                        <a:lnTo>
                          <a:pt x="3778" y="2333"/>
                        </a:lnTo>
                        <a:lnTo>
                          <a:pt x="3781" y="2366"/>
                        </a:lnTo>
                        <a:lnTo>
                          <a:pt x="3784" y="2399"/>
                        </a:lnTo>
                        <a:lnTo>
                          <a:pt x="3786" y="2432"/>
                        </a:lnTo>
                        <a:lnTo>
                          <a:pt x="3787" y="2466"/>
                        </a:lnTo>
                        <a:lnTo>
                          <a:pt x="3788" y="2500"/>
                        </a:lnTo>
                        <a:lnTo>
                          <a:pt x="3788" y="250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</p:grpSp>
            <p:grpSp>
              <p:nvGrpSpPr>
                <p:cNvPr id="286" name="SAGD, Siemens, healthineers, evolve">
                  <a:extLst>
                    <a:ext uri="{FF2B5EF4-FFF2-40B4-BE49-F238E27FC236}">
                      <a16:creationId xmlns:a16="http://schemas.microsoft.com/office/drawing/2014/main" id="{278E066A-066D-4C22-B2C0-CCB9DB6A915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gray">
                <a:xfrm>
                  <a:off x="1525704" y="4683965"/>
                  <a:ext cx="361963" cy="362730"/>
                  <a:chOff x="1188" y="1252"/>
                  <a:chExt cx="2268" cy="2268"/>
                </a:xfrm>
              </p:grpSpPr>
              <p:sp>
                <p:nvSpPr>
                  <p:cNvPr id="287" name="AutoShape 4">
                    <a:extLst>
                      <a:ext uri="{FF2B5EF4-FFF2-40B4-BE49-F238E27FC236}">
                        <a16:creationId xmlns:a16="http://schemas.microsoft.com/office/drawing/2014/main" id="{FCAF45F2-85CD-438F-A0BB-0DFDAB19025A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1188" y="1252"/>
                    <a:ext cx="2268" cy="226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  <p:sp>
                <p:nvSpPr>
                  <p:cNvPr id="288" name="Freeform 6">
                    <a:extLst>
                      <a:ext uri="{FF2B5EF4-FFF2-40B4-BE49-F238E27FC236}">
                        <a16:creationId xmlns:a16="http://schemas.microsoft.com/office/drawing/2014/main" id="{F644C8F4-C468-40F4-AA93-40F570BD0C7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88" y="1252"/>
                    <a:ext cx="2268" cy="2268"/>
                  </a:xfrm>
                  <a:custGeom>
                    <a:avLst/>
                    <a:gdLst/>
                    <a:ahLst/>
                    <a:cxnLst>
                      <a:cxn ang="0">
                        <a:pos x="11317" y="6179"/>
                      </a:cxn>
                      <a:cxn ang="0">
                        <a:pos x="11224" y="6813"/>
                      </a:cxn>
                      <a:cxn ang="0">
                        <a:pos x="11064" y="7423"/>
                      </a:cxn>
                      <a:cxn ang="0">
                        <a:pos x="10839" y="8004"/>
                      </a:cxn>
                      <a:cxn ang="0">
                        <a:pos x="10554" y="8552"/>
                      </a:cxn>
                      <a:cxn ang="0">
                        <a:pos x="10213" y="9063"/>
                      </a:cxn>
                      <a:cxn ang="0">
                        <a:pos x="9821" y="9533"/>
                      </a:cxn>
                      <a:cxn ang="0">
                        <a:pos x="9380" y="9958"/>
                      </a:cxn>
                      <a:cxn ang="0">
                        <a:pos x="8896" y="10333"/>
                      </a:cxn>
                      <a:cxn ang="0">
                        <a:pos x="8373" y="10656"/>
                      </a:cxn>
                      <a:cxn ang="0">
                        <a:pos x="7813" y="10921"/>
                      </a:cxn>
                      <a:cxn ang="0">
                        <a:pos x="7222" y="11125"/>
                      </a:cxn>
                      <a:cxn ang="0">
                        <a:pos x="6604" y="11264"/>
                      </a:cxn>
                      <a:cxn ang="0">
                        <a:pos x="5962" y="11333"/>
                      </a:cxn>
                      <a:cxn ang="0">
                        <a:pos x="5378" y="11333"/>
                      </a:cxn>
                      <a:cxn ang="0">
                        <a:pos x="4736" y="11264"/>
                      </a:cxn>
                      <a:cxn ang="0">
                        <a:pos x="4117" y="11125"/>
                      </a:cxn>
                      <a:cxn ang="0">
                        <a:pos x="3526" y="10921"/>
                      </a:cxn>
                      <a:cxn ang="0">
                        <a:pos x="2967" y="10656"/>
                      </a:cxn>
                      <a:cxn ang="0">
                        <a:pos x="2443" y="10333"/>
                      </a:cxn>
                      <a:cxn ang="0">
                        <a:pos x="1959" y="9958"/>
                      </a:cxn>
                      <a:cxn ang="0">
                        <a:pos x="1519" y="9533"/>
                      </a:cxn>
                      <a:cxn ang="0">
                        <a:pos x="1126" y="9063"/>
                      </a:cxn>
                      <a:cxn ang="0">
                        <a:pos x="785" y="8552"/>
                      </a:cxn>
                      <a:cxn ang="0">
                        <a:pos x="501" y="8004"/>
                      </a:cxn>
                      <a:cxn ang="0">
                        <a:pos x="276" y="7423"/>
                      </a:cxn>
                      <a:cxn ang="0">
                        <a:pos x="115" y="6813"/>
                      </a:cxn>
                      <a:cxn ang="0">
                        <a:pos x="22" y="6179"/>
                      </a:cxn>
                      <a:cxn ang="0">
                        <a:pos x="0" y="5596"/>
                      </a:cxn>
                      <a:cxn ang="0">
                        <a:pos x="45" y="4948"/>
                      </a:cxn>
                      <a:cxn ang="0">
                        <a:pos x="161" y="4321"/>
                      </a:cxn>
                      <a:cxn ang="0">
                        <a:pos x="344" y="3720"/>
                      </a:cxn>
                      <a:cxn ang="0">
                        <a:pos x="589" y="3150"/>
                      </a:cxn>
                      <a:cxn ang="0">
                        <a:pos x="893" y="2614"/>
                      </a:cxn>
                      <a:cxn ang="0">
                        <a:pos x="1251" y="2116"/>
                      </a:cxn>
                      <a:cxn ang="0">
                        <a:pos x="1660" y="1661"/>
                      </a:cxn>
                      <a:cxn ang="0">
                        <a:pos x="2116" y="1252"/>
                      </a:cxn>
                      <a:cxn ang="0">
                        <a:pos x="2613" y="893"/>
                      </a:cxn>
                      <a:cxn ang="0">
                        <a:pos x="3150" y="589"/>
                      </a:cxn>
                      <a:cxn ang="0">
                        <a:pos x="3720" y="344"/>
                      </a:cxn>
                      <a:cxn ang="0">
                        <a:pos x="4320" y="162"/>
                      </a:cxn>
                      <a:cxn ang="0">
                        <a:pos x="4947" y="46"/>
                      </a:cxn>
                      <a:cxn ang="0">
                        <a:pos x="5596" y="1"/>
                      </a:cxn>
                      <a:cxn ang="0">
                        <a:pos x="6178" y="23"/>
                      </a:cxn>
                      <a:cxn ang="0">
                        <a:pos x="6813" y="115"/>
                      </a:cxn>
                      <a:cxn ang="0">
                        <a:pos x="7423" y="276"/>
                      </a:cxn>
                      <a:cxn ang="0">
                        <a:pos x="8003" y="501"/>
                      </a:cxn>
                      <a:cxn ang="0">
                        <a:pos x="8551" y="786"/>
                      </a:cxn>
                      <a:cxn ang="0">
                        <a:pos x="9062" y="1126"/>
                      </a:cxn>
                      <a:cxn ang="0">
                        <a:pos x="9532" y="1519"/>
                      </a:cxn>
                      <a:cxn ang="0">
                        <a:pos x="9957" y="1959"/>
                      </a:cxn>
                      <a:cxn ang="0">
                        <a:pos x="10333" y="2443"/>
                      </a:cxn>
                      <a:cxn ang="0">
                        <a:pos x="10655" y="2967"/>
                      </a:cxn>
                      <a:cxn ang="0">
                        <a:pos x="10921" y="3527"/>
                      </a:cxn>
                      <a:cxn ang="0">
                        <a:pos x="11124" y="4118"/>
                      </a:cxn>
                      <a:cxn ang="0">
                        <a:pos x="11263" y="4736"/>
                      </a:cxn>
                      <a:cxn ang="0">
                        <a:pos x="11332" y="5378"/>
                      </a:cxn>
                    </a:cxnLst>
                    <a:rect l="0" t="0" r="r" b="b"/>
                    <a:pathLst>
                      <a:path w="11340" h="11340">
                        <a:moveTo>
                          <a:pt x="11340" y="5671"/>
                        </a:moveTo>
                        <a:lnTo>
                          <a:pt x="11340" y="5671"/>
                        </a:lnTo>
                        <a:lnTo>
                          <a:pt x="11339" y="5744"/>
                        </a:lnTo>
                        <a:lnTo>
                          <a:pt x="11338" y="5817"/>
                        </a:lnTo>
                        <a:lnTo>
                          <a:pt x="11335" y="5890"/>
                        </a:lnTo>
                        <a:lnTo>
                          <a:pt x="11332" y="5962"/>
                        </a:lnTo>
                        <a:lnTo>
                          <a:pt x="11328" y="6035"/>
                        </a:lnTo>
                        <a:lnTo>
                          <a:pt x="11323" y="6107"/>
                        </a:lnTo>
                        <a:lnTo>
                          <a:pt x="11317" y="6179"/>
                        </a:lnTo>
                        <a:lnTo>
                          <a:pt x="11310" y="6250"/>
                        </a:lnTo>
                        <a:lnTo>
                          <a:pt x="11303" y="6322"/>
                        </a:lnTo>
                        <a:lnTo>
                          <a:pt x="11294" y="6393"/>
                        </a:lnTo>
                        <a:lnTo>
                          <a:pt x="11285" y="6464"/>
                        </a:lnTo>
                        <a:lnTo>
                          <a:pt x="11274" y="6534"/>
                        </a:lnTo>
                        <a:lnTo>
                          <a:pt x="11263" y="6604"/>
                        </a:lnTo>
                        <a:lnTo>
                          <a:pt x="11251" y="6674"/>
                        </a:lnTo>
                        <a:lnTo>
                          <a:pt x="11238" y="6744"/>
                        </a:lnTo>
                        <a:lnTo>
                          <a:pt x="11224" y="6813"/>
                        </a:lnTo>
                        <a:lnTo>
                          <a:pt x="11210" y="6882"/>
                        </a:lnTo>
                        <a:lnTo>
                          <a:pt x="11194" y="6951"/>
                        </a:lnTo>
                        <a:lnTo>
                          <a:pt x="11178" y="7019"/>
                        </a:lnTo>
                        <a:lnTo>
                          <a:pt x="11161" y="7088"/>
                        </a:lnTo>
                        <a:lnTo>
                          <a:pt x="11143" y="7155"/>
                        </a:lnTo>
                        <a:lnTo>
                          <a:pt x="11124" y="7223"/>
                        </a:lnTo>
                        <a:lnTo>
                          <a:pt x="11105" y="7290"/>
                        </a:lnTo>
                        <a:lnTo>
                          <a:pt x="11085" y="7357"/>
                        </a:lnTo>
                        <a:lnTo>
                          <a:pt x="11064" y="7423"/>
                        </a:lnTo>
                        <a:lnTo>
                          <a:pt x="11042" y="7489"/>
                        </a:lnTo>
                        <a:lnTo>
                          <a:pt x="11019" y="7555"/>
                        </a:lnTo>
                        <a:lnTo>
                          <a:pt x="10996" y="7620"/>
                        </a:lnTo>
                        <a:lnTo>
                          <a:pt x="10971" y="7685"/>
                        </a:lnTo>
                        <a:lnTo>
                          <a:pt x="10946" y="7749"/>
                        </a:lnTo>
                        <a:lnTo>
                          <a:pt x="10921" y="7814"/>
                        </a:lnTo>
                        <a:lnTo>
                          <a:pt x="10894" y="7877"/>
                        </a:lnTo>
                        <a:lnTo>
                          <a:pt x="10867" y="7941"/>
                        </a:lnTo>
                        <a:lnTo>
                          <a:pt x="10839" y="8004"/>
                        </a:lnTo>
                        <a:lnTo>
                          <a:pt x="10810" y="8066"/>
                        </a:lnTo>
                        <a:lnTo>
                          <a:pt x="10780" y="8129"/>
                        </a:lnTo>
                        <a:lnTo>
                          <a:pt x="10750" y="8190"/>
                        </a:lnTo>
                        <a:lnTo>
                          <a:pt x="10719" y="8252"/>
                        </a:lnTo>
                        <a:lnTo>
                          <a:pt x="10688" y="8313"/>
                        </a:lnTo>
                        <a:lnTo>
                          <a:pt x="10655" y="8373"/>
                        </a:lnTo>
                        <a:lnTo>
                          <a:pt x="10622" y="8433"/>
                        </a:lnTo>
                        <a:lnTo>
                          <a:pt x="10588" y="8493"/>
                        </a:lnTo>
                        <a:lnTo>
                          <a:pt x="10554" y="8552"/>
                        </a:lnTo>
                        <a:lnTo>
                          <a:pt x="10519" y="8610"/>
                        </a:lnTo>
                        <a:lnTo>
                          <a:pt x="10483" y="8669"/>
                        </a:lnTo>
                        <a:lnTo>
                          <a:pt x="10446" y="8726"/>
                        </a:lnTo>
                        <a:lnTo>
                          <a:pt x="10409" y="8784"/>
                        </a:lnTo>
                        <a:lnTo>
                          <a:pt x="10371" y="8840"/>
                        </a:lnTo>
                        <a:lnTo>
                          <a:pt x="10333" y="8897"/>
                        </a:lnTo>
                        <a:lnTo>
                          <a:pt x="10294" y="8953"/>
                        </a:lnTo>
                        <a:lnTo>
                          <a:pt x="10254" y="9008"/>
                        </a:lnTo>
                        <a:lnTo>
                          <a:pt x="10213" y="9063"/>
                        </a:lnTo>
                        <a:lnTo>
                          <a:pt x="10172" y="9117"/>
                        </a:lnTo>
                        <a:lnTo>
                          <a:pt x="10130" y="9171"/>
                        </a:lnTo>
                        <a:lnTo>
                          <a:pt x="10088" y="9224"/>
                        </a:lnTo>
                        <a:lnTo>
                          <a:pt x="10045" y="9277"/>
                        </a:lnTo>
                        <a:lnTo>
                          <a:pt x="10001" y="9329"/>
                        </a:lnTo>
                        <a:lnTo>
                          <a:pt x="9957" y="9381"/>
                        </a:lnTo>
                        <a:lnTo>
                          <a:pt x="9912" y="9432"/>
                        </a:lnTo>
                        <a:lnTo>
                          <a:pt x="9867" y="9483"/>
                        </a:lnTo>
                        <a:lnTo>
                          <a:pt x="9821" y="9533"/>
                        </a:lnTo>
                        <a:lnTo>
                          <a:pt x="9774" y="9582"/>
                        </a:lnTo>
                        <a:lnTo>
                          <a:pt x="9727" y="9631"/>
                        </a:lnTo>
                        <a:lnTo>
                          <a:pt x="9679" y="9680"/>
                        </a:lnTo>
                        <a:lnTo>
                          <a:pt x="9631" y="9727"/>
                        </a:lnTo>
                        <a:lnTo>
                          <a:pt x="9582" y="9775"/>
                        </a:lnTo>
                        <a:lnTo>
                          <a:pt x="9532" y="9821"/>
                        </a:lnTo>
                        <a:lnTo>
                          <a:pt x="9482" y="9867"/>
                        </a:lnTo>
                        <a:lnTo>
                          <a:pt x="9432" y="9913"/>
                        </a:lnTo>
                        <a:lnTo>
                          <a:pt x="9380" y="9958"/>
                        </a:lnTo>
                        <a:lnTo>
                          <a:pt x="9329" y="10002"/>
                        </a:lnTo>
                        <a:lnTo>
                          <a:pt x="9277" y="10046"/>
                        </a:lnTo>
                        <a:lnTo>
                          <a:pt x="9224" y="10089"/>
                        </a:lnTo>
                        <a:lnTo>
                          <a:pt x="9170" y="10131"/>
                        </a:lnTo>
                        <a:lnTo>
                          <a:pt x="9117" y="10173"/>
                        </a:lnTo>
                        <a:lnTo>
                          <a:pt x="9062" y="10214"/>
                        </a:lnTo>
                        <a:lnTo>
                          <a:pt x="9008" y="10254"/>
                        </a:lnTo>
                        <a:lnTo>
                          <a:pt x="8952" y="10294"/>
                        </a:lnTo>
                        <a:lnTo>
                          <a:pt x="8896" y="10333"/>
                        </a:lnTo>
                        <a:lnTo>
                          <a:pt x="8840" y="10372"/>
                        </a:lnTo>
                        <a:lnTo>
                          <a:pt x="8783" y="10410"/>
                        </a:lnTo>
                        <a:lnTo>
                          <a:pt x="8726" y="10447"/>
                        </a:lnTo>
                        <a:lnTo>
                          <a:pt x="8668" y="10484"/>
                        </a:lnTo>
                        <a:lnTo>
                          <a:pt x="8610" y="10519"/>
                        </a:lnTo>
                        <a:lnTo>
                          <a:pt x="8551" y="10555"/>
                        </a:lnTo>
                        <a:lnTo>
                          <a:pt x="8492" y="10589"/>
                        </a:lnTo>
                        <a:lnTo>
                          <a:pt x="8433" y="10623"/>
                        </a:lnTo>
                        <a:lnTo>
                          <a:pt x="8373" y="10656"/>
                        </a:lnTo>
                        <a:lnTo>
                          <a:pt x="8312" y="10688"/>
                        </a:lnTo>
                        <a:lnTo>
                          <a:pt x="8251" y="10720"/>
                        </a:lnTo>
                        <a:lnTo>
                          <a:pt x="8190" y="10751"/>
                        </a:lnTo>
                        <a:lnTo>
                          <a:pt x="8128" y="10781"/>
                        </a:lnTo>
                        <a:lnTo>
                          <a:pt x="8066" y="10811"/>
                        </a:lnTo>
                        <a:lnTo>
                          <a:pt x="8003" y="10839"/>
                        </a:lnTo>
                        <a:lnTo>
                          <a:pt x="7940" y="10867"/>
                        </a:lnTo>
                        <a:lnTo>
                          <a:pt x="7877" y="10895"/>
                        </a:lnTo>
                        <a:lnTo>
                          <a:pt x="7813" y="10921"/>
                        </a:lnTo>
                        <a:lnTo>
                          <a:pt x="7749" y="10947"/>
                        </a:lnTo>
                        <a:lnTo>
                          <a:pt x="7685" y="10972"/>
                        </a:lnTo>
                        <a:lnTo>
                          <a:pt x="7620" y="10996"/>
                        </a:lnTo>
                        <a:lnTo>
                          <a:pt x="7554" y="11020"/>
                        </a:lnTo>
                        <a:lnTo>
                          <a:pt x="7489" y="11042"/>
                        </a:lnTo>
                        <a:lnTo>
                          <a:pt x="7423" y="11064"/>
                        </a:lnTo>
                        <a:lnTo>
                          <a:pt x="7356" y="11085"/>
                        </a:lnTo>
                        <a:lnTo>
                          <a:pt x="7289" y="11106"/>
                        </a:lnTo>
                        <a:lnTo>
                          <a:pt x="7222" y="11125"/>
                        </a:lnTo>
                        <a:lnTo>
                          <a:pt x="7155" y="11144"/>
                        </a:lnTo>
                        <a:lnTo>
                          <a:pt x="7087" y="11162"/>
                        </a:lnTo>
                        <a:lnTo>
                          <a:pt x="7019" y="11179"/>
                        </a:lnTo>
                        <a:lnTo>
                          <a:pt x="6951" y="11195"/>
                        </a:lnTo>
                        <a:lnTo>
                          <a:pt x="6882" y="11210"/>
                        </a:lnTo>
                        <a:lnTo>
                          <a:pt x="6813" y="11225"/>
                        </a:lnTo>
                        <a:lnTo>
                          <a:pt x="6744" y="11239"/>
                        </a:lnTo>
                        <a:lnTo>
                          <a:pt x="6674" y="11252"/>
                        </a:lnTo>
                        <a:lnTo>
                          <a:pt x="6604" y="11264"/>
                        </a:lnTo>
                        <a:lnTo>
                          <a:pt x="6534" y="11275"/>
                        </a:lnTo>
                        <a:lnTo>
                          <a:pt x="6463" y="11285"/>
                        </a:lnTo>
                        <a:lnTo>
                          <a:pt x="6392" y="11295"/>
                        </a:lnTo>
                        <a:lnTo>
                          <a:pt x="6321" y="11303"/>
                        </a:lnTo>
                        <a:lnTo>
                          <a:pt x="6250" y="11311"/>
                        </a:lnTo>
                        <a:lnTo>
                          <a:pt x="6178" y="11318"/>
                        </a:lnTo>
                        <a:lnTo>
                          <a:pt x="6107" y="11324"/>
                        </a:lnTo>
                        <a:lnTo>
                          <a:pt x="6034" y="11329"/>
                        </a:lnTo>
                        <a:lnTo>
                          <a:pt x="5962" y="11333"/>
                        </a:lnTo>
                        <a:lnTo>
                          <a:pt x="5890" y="11336"/>
                        </a:lnTo>
                        <a:lnTo>
                          <a:pt x="5817" y="11338"/>
                        </a:lnTo>
                        <a:lnTo>
                          <a:pt x="5744" y="11340"/>
                        </a:lnTo>
                        <a:lnTo>
                          <a:pt x="5669" y="11340"/>
                        </a:lnTo>
                        <a:lnTo>
                          <a:pt x="5669" y="11340"/>
                        </a:lnTo>
                        <a:lnTo>
                          <a:pt x="5596" y="11340"/>
                        </a:lnTo>
                        <a:lnTo>
                          <a:pt x="5523" y="11338"/>
                        </a:lnTo>
                        <a:lnTo>
                          <a:pt x="5450" y="11336"/>
                        </a:lnTo>
                        <a:lnTo>
                          <a:pt x="5378" y="11333"/>
                        </a:lnTo>
                        <a:lnTo>
                          <a:pt x="5305" y="11329"/>
                        </a:lnTo>
                        <a:lnTo>
                          <a:pt x="5233" y="11324"/>
                        </a:lnTo>
                        <a:lnTo>
                          <a:pt x="5161" y="11318"/>
                        </a:lnTo>
                        <a:lnTo>
                          <a:pt x="5090" y="11311"/>
                        </a:lnTo>
                        <a:lnTo>
                          <a:pt x="5018" y="11303"/>
                        </a:lnTo>
                        <a:lnTo>
                          <a:pt x="4947" y="11295"/>
                        </a:lnTo>
                        <a:lnTo>
                          <a:pt x="4876" y="11285"/>
                        </a:lnTo>
                        <a:lnTo>
                          <a:pt x="4806" y="11275"/>
                        </a:lnTo>
                        <a:lnTo>
                          <a:pt x="4736" y="11264"/>
                        </a:lnTo>
                        <a:lnTo>
                          <a:pt x="4666" y="11252"/>
                        </a:lnTo>
                        <a:lnTo>
                          <a:pt x="4596" y="11239"/>
                        </a:lnTo>
                        <a:lnTo>
                          <a:pt x="4527" y="11225"/>
                        </a:lnTo>
                        <a:lnTo>
                          <a:pt x="4458" y="11210"/>
                        </a:lnTo>
                        <a:lnTo>
                          <a:pt x="4389" y="11195"/>
                        </a:lnTo>
                        <a:lnTo>
                          <a:pt x="4320" y="11179"/>
                        </a:lnTo>
                        <a:lnTo>
                          <a:pt x="4252" y="11162"/>
                        </a:lnTo>
                        <a:lnTo>
                          <a:pt x="4185" y="11144"/>
                        </a:lnTo>
                        <a:lnTo>
                          <a:pt x="4117" y="11125"/>
                        </a:lnTo>
                        <a:lnTo>
                          <a:pt x="4050" y="11106"/>
                        </a:lnTo>
                        <a:lnTo>
                          <a:pt x="3983" y="11085"/>
                        </a:lnTo>
                        <a:lnTo>
                          <a:pt x="3917" y="11064"/>
                        </a:lnTo>
                        <a:lnTo>
                          <a:pt x="3851" y="11042"/>
                        </a:lnTo>
                        <a:lnTo>
                          <a:pt x="3785" y="11020"/>
                        </a:lnTo>
                        <a:lnTo>
                          <a:pt x="3720" y="10996"/>
                        </a:lnTo>
                        <a:lnTo>
                          <a:pt x="3655" y="10972"/>
                        </a:lnTo>
                        <a:lnTo>
                          <a:pt x="3590" y="10947"/>
                        </a:lnTo>
                        <a:lnTo>
                          <a:pt x="3526" y="10921"/>
                        </a:lnTo>
                        <a:lnTo>
                          <a:pt x="3462" y="10895"/>
                        </a:lnTo>
                        <a:lnTo>
                          <a:pt x="3399" y="10867"/>
                        </a:lnTo>
                        <a:lnTo>
                          <a:pt x="3336" y="10839"/>
                        </a:lnTo>
                        <a:lnTo>
                          <a:pt x="3273" y="10811"/>
                        </a:lnTo>
                        <a:lnTo>
                          <a:pt x="3211" y="10781"/>
                        </a:lnTo>
                        <a:lnTo>
                          <a:pt x="3150" y="10751"/>
                        </a:lnTo>
                        <a:lnTo>
                          <a:pt x="3088" y="10720"/>
                        </a:lnTo>
                        <a:lnTo>
                          <a:pt x="3027" y="10688"/>
                        </a:lnTo>
                        <a:lnTo>
                          <a:pt x="2967" y="10656"/>
                        </a:lnTo>
                        <a:lnTo>
                          <a:pt x="2907" y="10623"/>
                        </a:lnTo>
                        <a:lnTo>
                          <a:pt x="2847" y="10589"/>
                        </a:lnTo>
                        <a:lnTo>
                          <a:pt x="2788" y="10555"/>
                        </a:lnTo>
                        <a:lnTo>
                          <a:pt x="2729" y="10519"/>
                        </a:lnTo>
                        <a:lnTo>
                          <a:pt x="2671" y="10484"/>
                        </a:lnTo>
                        <a:lnTo>
                          <a:pt x="2613" y="10447"/>
                        </a:lnTo>
                        <a:lnTo>
                          <a:pt x="2556" y="10410"/>
                        </a:lnTo>
                        <a:lnTo>
                          <a:pt x="2499" y="10372"/>
                        </a:lnTo>
                        <a:lnTo>
                          <a:pt x="2443" y="10333"/>
                        </a:lnTo>
                        <a:lnTo>
                          <a:pt x="2387" y="10294"/>
                        </a:lnTo>
                        <a:lnTo>
                          <a:pt x="2332" y="10254"/>
                        </a:lnTo>
                        <a:lnTo>
                          <a:pt x="2277" y="10214"/>
                        </a:lnTo>
                        <a:lnTo>
                          <a:pt x="2223" y="10173"/>
                        </a:lnTo>
                        <a:lnTo>
                          <a:pt x="2169" y="10131"/>
                        </a:lnTo>
                        <a:lnTo>
                          <a:pt x="2116" y="10089"/>
                        </a:lnTo>
                        <a:lnTo>
                          <a:pt x="2063" y="10046"/>
                        </a:lnTo>
                        <a:lnTo>
                          <a:pt x="2011" y="10002"/>
                        </a:lnTo>
                        <a:lnTo>
                          <a:pt x="1959" y="9958"/>
                        </a:lnTo>
                        <a:lnTo>
                          <a:pt x="1908" y="9913"/>
                        </a:lnTo>
                        <a:lnTo>
                          <a:pt x="1857" y="9867"/>
                        </a:lnTo>
                        <a:lnTo>
                          <a:pt x="1807" y="9821"/>
                        </a:lnTo>
                        <a:lnTo>
                          <a:pt x="1758" y="9775"/>
                        </a:lnTo>
                        <a:lnTo>
                          <a:pt x="1709" y="9727"/>
                        </a:lnTo>
                        <a:lnTo>
                          <a:pt x="1660" y="9680"/>
                        </a:lnTo>
                        <a:lnTo>
                          <a:pt x="1613" y="9631"/>
                        </a:lnTo>
                        <a:lnTo>
                          <a:pt x="1565" y="9582"/>
                        </a:lnTo>
                        <a:lnTo>
                          <a:pt x="1519" y="9533"/>
                        </a:lnTo>
                        <a:lnTo>
                          <a:pt x="1473" y="9483"/>
                        </a:lnTo>
                        <a:lnTo>
                          <a:pt x="1427" y="9432"/>
                        </a:lnTo>
                        <a:lnTo>
                          <a:pt x="1382" y="9381"/>
                        </a:lnTo>
                        <a:lnTo>
                          <a:pt x="1338" y="9329"/>
                        </a:lnTo>
                        <a:lnTo>
                          <a:pt x="1294" y="9277"/>
                        </a:lnTo>
                        <a:lnTo>
                          <a:pt x="1251" y="9224"/>
                        </a:lnTo>
                        <a:lnTo>
                          <a:pt x="1209" y="9171"/>
                        </a:lnTo>
                        <a:lnTo>
                          <a:pt x="1167" y="9117"/>
                        </a:lnTo>
                        <a:lnTo>
                          <a:pt x="1126" y="9063"/>
                        </a:lnTo>
                        <a:lnTo>
                          <a:pt x="1086" y="9008"/>
                        </a:lnTo>
                        <a:lnTo>
                          <a:pt x="1046" y="8953"/>
                        </a:lnTo>
                        <a:lnTo>
                          <a:pt x="1007" y="8897"/>
                        </a:lnTo>
                        <a:lnTo>
                          <a:pt x="968" y="8840"/>
                        </a:lnTo>
                        <a:lnTo>
                          <a:pt x="930" y="8784"/>
                        </a:lnTo>
                        <a:lnTo>
                          <a:pt x="893" y="8726"/>
                        </a:lnTo>
                        <a:lnTo>
                          <a:pt x="856" y="8669"/>
                        </a:lnTo>
                        <a:lnTo>
                          <a:pt x="821" y="8610"/>
                        </a:lnTo>
                        <a:lnTo>
                          <a:pt x="785" y="8552"/>
                        </a:lnTo>
                        <a:lnTo>
                          <a:pt x="751" y="8493"/>
                        </a:lnTo>
                        <a:lnTo>
                          <a:pt x="717" y="8433"/>
                        </a:lnTo>
                        <a:lnTo>
                          <a:pt x="684" y="8373"/>
                        </a:lnTo>
                        <a:lnTo>
                          <a:pt x="652" y="8313"/>
                        </a:lnTo>
                        <a:lnTo>
                          <a:pt x="620" y="8252"/>
                        </a:lnTo>
                        <a:lnTo>
                          <a:pt x="589" y="8190"/>
                        </a:lnTo>
                        <a:lnTo>
                          <a:pt x="559" y="8129"/>
                        </a:lnTo>
                        <a:lnTo>
                          <a:pt x="529" y="8066"/>
                        </a:lnTo>
                        <a:lnTo>
                          <a:pt x="501" y="8004"/>
                        </a:lnTo>
                        <a:lnTo>
                          <a:pt x="473" y="7941"/>
                        </a:lnTo>
                        <a:lnTo>
                          <a:pt x="445" y="7877"/>
                        </a:lnTo>
                        <a:lnTo>
                          <a:pt x="419" y="7814"/>
                        </a:lnTo>
                        <a:lnTo>
                          <a:pt x="393" y="7749"/>
                        </a:lnTo>
                        <a:lnTo>
                          <a:pt x="368" y="7685"/>
                        </a:lnTo>
                        <a:lnTo>
                          <a:pt x="344" y="7620"/>
                        </a:lnTo>
                        <a:lnTo>
                          <a:pt x="320" y="7555"/>
                        </a:lnTo>
                        <a:lnTo>
                          <a:pt x="298" y="7489"/>
                        </a:lnTo>
                        <a:lnTo>
                          <a:pt x="276" y="7423"/>
                        </a:lnTo>
                        <a:lnTo>
                          <a:pt x="255" y="7357"/>
                        </a:lnTo>
                        <a:lnTo>
                          <a:pt x="234" y="7290"/>
                        </a:lnTo>
                        <a:lnTo>
                          <a:pt x="215" y="7223"/>
                        </a:lnTo>
                        <a:lnTo>
                          <a:pt x="196" y="7155"/>
                        </a:lnTo>
                        <a:lnTo>
                          <a:pt x="178" y="7088"/>
                        </a:lnTo>
                        <a:lnTo>
                          <a:pt x="161" y="7019"/>
                        </a:lnTo>
                        <a:lnTo>
                          <a:pt x="145" y="6951"/>
                        </a:lnTo>
                        <a:lnTo>
                          <a:pt x="130" y="6882"/>
                        </a:lnTo>
                        <a:lnTo>
                          <a:pt x="115" y="6813"/>
                        </a:lnTo>
                        <a:lnTo>
                          <a:pt x="101" y="6744"/>
                        </a:lnTo>
                        <a:lnTo>
                          <a:pt x="88" y="6674"/>
                        </a:lnTo>
                        <a:lnTo>
                          <a:pt x="76" y="6604"/>
                        </a:lnTo>
                        <a:lnTo>
                          <a:pt x="65" y="6534"/>
                        </a:lnTo>
                        <a:lnTo>
                          <a:pt x="55" y="6464"/>
                        </a:lnTo>
                        <a:lnTo>
                          <a:pt x="45" y="6393"/>
                        </a:lnTo>
                        <a:lnTo>
                          <a:pt x="37" y="6322"/>
                        </a:lnTo>
                        <a:lnTo>
                          <a:pt x="29" y="6250"/>
                        </a:lnTo>
                        <a:lnTo>
                          <a:pt x="22" y="6179"/>
                        </a:lnTo>
                        <a:lnTo>
                          <a:pt x="16" y="6107"/>
                        </a:lnTo>
                        <a:lnTo>
                          <a:pt x="11" y="6035"/>
                        </a:lnTo>
                        <a:lnTo>
                          <a:pt x="7" y="5962"/>
                        </a:lnTo>
                        <a:lnTo>
                          <a:pt x="4" y="5890"/>
                        </a:lnTo>
                        <a:lnTo>
                          <a:pt x="2" y="5817"/>
                        </a:lnTo>
                        <a:lnTo>
                          <a:pt x="0" y="5744"/>
                        </a:lnTo>
                        <a:lnTo>
                          <a:pt x="0" y="5671"/>
                        </a:lnTo>
                        <a:lnTo>
                          <a:pt x="0" y="5671"/>
                        </a:lnTo>
                        <a:lnTo>
                          <a:pt x="0" y="5596"/>
                        </a:lnTo>
                        <a:lnTo>
                          <a:pt x="2" y="5523"/>
                        </a:lnTo>
                        <a:lnTo>
                          <a:pt x="4" y="5451"/>
                        </a:lnTo>
                        <a:lnTo>
                          <a:pt x="7" y="5378"/>
                        </a:lnTo>
                        <a:lnTo>
                          <a:pt x="11" y="5306"/>
                        </a:lnTo>
                        <a:lnTo>
                          <a:pt x="16" y="5233"/>
                        </a:lnTo>
                        <a:lnTo>
                          <a:pt x="22" y="5162"/>
                        </a:lnTo>
                        <a:lnTo>
                          <a:pt x="29" y="5090"/>
                        </a:lnTo>
                        <a:lnTo>
                          <a:pt x="37" y="5019"/>
                        </a:lnTo>
                        <a:lnTo>
                          <a:pt x="45" y="4948"/>
                        </a:lnTo>
                        <a:lnTo>
                          <a:pt x="55" y="4877"/>
                        </a:lnTo>
                        <a:lnTo>
                          <a:pt x="65" y="4806"/>
                        </a:lnTo>
                        <a:lnTo>
                          <a:pt x="76" y="4736"/>
                        </a:lnTo>
                        <a:lnTo>
                          <a:pt x="88" y="4666"/>
                        </a:lnTo>
                        <a:lnTo>
                          <a:pt x="101" y="4596"/>
                        </a:lnTo>
                        <a:lnTo>
                          <a:pt x="115" y="4527"/>
                        </a:lnTo>
                        <a:lnTo>
                          <a:pt x="130" y="4458"/>
                        </a:lnTo>
                        <a:lnTo>
                          <a:pt x="145" y="4389"/>
                        </a:lnTo>
                        <a:lnTo>
                          <a:pt x="161" y="4321"/>
                        </a:lnTo>
                        <a:lnTo>
                          <a:pt x="178" y="4253"/>
                        </a:lnTo>
                        <a:lnTo>
                          <a:pt x="196" y="4185"/>
                        </a:lnTo>
                        <a:lnTo>
                          <a:pt x="215" y="4118"/>
                        </a:lnTo>
                        <a:lnTo>
                          <a:pt x="234" y="4050"/>
                        </a:lnTo>
                        <a:lnTo>
                          <a:pt x="255" y="3984"/>
                        </a:lnTo>
                        <a:lnTo>
                          <a:pt x="276" y="3917"/>
                        </a:lnTo>
                        <a:lnTo>
                          <a:pt x="298" y="3851"/>
                        </a:lnTo>
                        <a:lnTo>
                          <a:pt x="320" y="3786"/>
                        </a:lnTo>
                        <a:lnTo>
                          <a:pt x="344" y="3720"/>
                        </a:lnTo>
                        <a:lnTo>
                          <a:pt x="368" y="3655"/>
                        </a:lnTo>
                        <a:lnTo>
                          <a:pt x="393" y="3591"/>
                        </a:lnTo>
                        <a:lnTo>
                          <a:pt x="419" y="3527"/>
                        </a:lnTo>
                        <a:lnTo>
                          <a:pt x="445" y="3463"/>
                        </a:lnTo>
                        <a:lnTo>
                          <a:pt x="473" y="3399"/>
                        </a:lnTo>
                        <a:lnTo>
                          <a:pt x="501" y="3336"/>
                        </a:lnTo>
                        <a:lnTo>
                          <a:pt x="529" y="3274"/>
                        </a:lnTo>
                        <a:lnTo>
                          <a:pt x="559" y="3212"/>
                        </a:lnTo>
                        <a:lnTo>
                          <a:pt x="589" y="3150"/>
                        </a:lnTo>
                        <a:lnTo>
                          <a:pt x="620" y="3089"/>
                        </a:lnTo>
                        <a:lnTo>
                          <a:pt x="652" y="3028"/>
                        </a:lnTo>
                        <a:lnTo>
                          <a:pt x="684" y="2967"/>
                        </a:lnTo>
                        <a:lnTo>
                          <a:pt x="717" y="2907"/>
                        </a:lnTo>
                        <a:lnTo>
                          <a:pt x="751" y="2848"/>
                        </a:lnTo>
                        <a:lnTo>
                          <a:pt x="785" y="2788"/>
                        </a:lnTo>
                        <a:lnTo>
                          <a:pt x="821" y="2730"/>
                        </a:lnTo>
                        <a:lnTo>
                          <a:pt x="856" y="2672"/>
                        </a:lnTo>
                        <a:lnTo>
                          <a:pt x="893" y="2614"/>
                        </a:lnTo>
                        <a:lnTo>
                          <a:pt x="930" y="2557"/>
                        </a:lnTo>
                        <a:lnTo>
                          <a:pt x="968" y="2500"/>
                        </a:lnTo>
                        <a:lnTo>
                          <a:pt x="1007" y="2443"/>
                        </a:lnTo>
                        <a:lnTo>
                          <a:pt x="1046" y="2388"/>
                        </a:lnTo>
                        <a:lnTo>
                          <a:pt x="1086" y="2332"/>
                        </a:lnTo>
                        <a:lnTo>
                          <a:pt x="1126" y="2277"/>
                        </a:lnTo>
                        <a:lnTo>
                          <a:pt x="1167" y="2223"/>
                        </a:lnTo>
                        <a:lnTo>
                          <a:pt x="1209" y="2169"/>
                        </a:lnTo>
                        <a:lnTo>
                          <a:pt x="1251" y="2116"/>
                        </a:lnTo>
                        <a:lnTo>
                          <a:pt x="1294" y="2063"/>
                        </a:lnTo>
                        <a:lnTo>
                          <a:pt x="1338" y="2011"/>
                        </a:lnTo>
                        <a:lnTo>
                          <a:pt x="1382" y="1959"/>
                        </a:lnTo>
                        <a:lnTo>
                          <a:pt x="1427" y="1908"/>
                        </a:lnTo>
                        <a:lnTo>
                          <a:pt x="1473" y="1858"/>
                        </a:lnTo>
                        <a:lnTo>
                          <a:pt x="1519" y="1807"/>
                        </a:lnTo>
                        <a:lnTo>
                          <a:pt x="1565" y="1758"/>
                        </a:lnTo>
                        <a:lnTo>
                          <a:pt x="1613" y="1709"/>
                        </a:lnTo>
                        <a:lnTo>
                          <a:pt x="1660" y="1661"/>
                        </a:lnTo>
                        <a:lnTo>
                          <a:pt x="1709" y="1613"/>
                        </a:lnTo>
                        <a:lnTo>
                          <a:pt x="1758" y="1566"/>
                        </a:lnTo>
                        <a:lnTo>
                          <a:pt x="1807" y="1519"/>
                        </a:lnTo>
                        <a:lnTo>
                          <a:pt x="1857" y="1473"/>
                        </a:lnTo>
                        <a:lnTo>
                          <a:pt x="1908" y="1427"/>
                        </a:lnTo>
                        <a:lnTo>
                          <a:pt x="1959" y="1383"/>
                        </a:lnTo>
                        <a:lnTo>
                          <a:pt x="2011" y="1338"/>
                        </a:lnTo>
                        <a:lnTo>
                          <a:pt x="2063" y="1295"/>
                        </a:lnTo>
                        <a:lnTo>
                          <a:pt x="2116" y="1252"/>
                        </a:lnTo>
                        <a:lnTo>
                          <a:pt x="2169" y="1209"/>
                        </a:lnTo>
                        <a:lnTo>
                          <a:pt x="2223" y="1168"/>
                        </a:lnTo>
                        <a:lnTo>
                          <a:pt x="2277" y="1126"/>
                        </a:lnTo>
                        <a:lnTo>
                          <a:pt x="2332" y="1086"/>
                        </a:lnTo>
                        <a:lnTo>
                          <a:pt x="2387" y="1046"/>
                        </a:lnTo>
                        <a:lnTo>
                          <a:pt x="2443" y="1007"/>
                        </a:lnTo>
                        <a:lnTo>
                          <a:pt x="2499" y="968"/>
                        </a:lnTo>
                        <a:lnTo>
                          <a:pt x="2556" y="930"/>
                        </a:lnTo>
                        <a:lnTo>
                          <a:pt x="2613" y="893"/>
                        </a:lnTo>
                        <a:lnTo>
                          <a:pt x="2671" y="857"/>
                        </a:lnTo>
                        <a:lnTo>
                          <a:pt x="2729" y="821"/>
                        </a:lnTo>
                        <a:lnTo>
                          <a:pt x="2788" y="786"/>
                        </a:lnTo>
                        <a:lnTo>
                          <a:pt x="2847" y="751"/>
                        </a:lnTo>
                        <a:lnTo>
                          <a:pt x="2907" y="717"/>
                        </a:lnTo>
                        <a:lnTo>
                          <a:pt x="2967" y="684"/>
                        </a:lnTo>
                        <a:lnTo>
                          <a:pt x="3027" y="652"/>
                        </a:lnTo>
                        <a:lnTo>
                          <a:pt x="3088" y="620"/>
                        </a:lnTo>
                        <a:lnTo>
                          <a:pt x="3150" y="589"/>
                        </a:lnTo>
                        <a:lnTo>
                          <a:pt x="3211" y="559"/>
                        </a:lnTo>
                        <a:lnTo>
                          <a:pt x="3273" y="530"/>
                        </a:lnTo>
                        <a:lnTo>
                          <a:pt x="3336" y="501"/>
                        </a:lnTo>
                        <a:lnTo>
                          <a:pt x="3399" y="473"/>
                        </a:lnTo>
                        <a:lnTo>
                          <a:pt x="3462" y="446"/>
                        </a:lnTo>
                        <a:lnTo>
                          <a:pt x="3526" y="419"/>
                        </a:lnTo>
                        <a:lnTo>
                          <a:pt x="3590" y="393"/>
                        </a:lnTo>
                        <a:lnTo>
                          <a:pt x="3655" y="368"/>
                        </a:lnTo>
                        <a:lnTo>
                          <a:pt x="3720" y="344"/>
                        </a:lnTo>
                        <a:lnTo>
                          <a:pt x="3785" y="321"/>
                        </a:lnTo>
                        <a:lnTo>
                          <a:pt x="3851" y="298"/>
                        </a:lnTo>
                        <a:lnTo>
                          <a:pt x="3917" y="276"/>
                        </a:lnTo>
                        <a:lnTo>
                          <a:pt x="3983" y="255"/>
                        </a:lnTo>
                        <a:lnTo>
                          <a:pt x="4050" y="235"/>
                        </a:lnTo>
                        <a:lnTo>
                          <a:pt x="4117" y="215"/>
                        </a:lnTo>
                        <a:lnTo>
                          <a:pt x="4185" y="197"/>
                        </a:lnTo>
                        <a:lnTo>
                          <a:pt x="4252" y="179"/>
                        </a:lnTo>
                        <a:lnTo>
                          <a:pt x="4320" y="162"/>
                        </a:lnTo>
                        <a:lnTo>
                          <a:pt x="4389" y="145"/>
                        </a:lnTo>
                        <a:lnTo>
                          <a:pt x="4458" y="130"/>
                        </a:lnTo>
                        <a:lnTo>
                          <a:pt x="4527" y="115"/>
                        </a:lnTo>
                        <a:lnTo>
                          <a:pt x="4596" y="102"/>
                        </a:lnTo>
                        <a:lnTo>
                          <a:pt x="4666" y="89"/>
                        </a:lnTo>
                        <a:lnTo>
                          <a:pt x="4736" y="77"/>
                        </a:lnTo>
                        <a:lnTo>
                          <a:pt x="4806" y="65"/>
                        </a:lnTo>
                        <a:lnTo>
                          <a:pt x="4876" y="55"/>
                        </a:lnTo>
                        <a:lnTo>
                          <a:pt x="4947" y="46"/>
                        </a:lnTo>
                        <a:lnTo>
                          <a:pt x="5018" y="37"/>
                        </a:lnTo>
                        <a:lnTo>
                          <a:pt x="5090" y="29"/>
                        </a:lnTo>
                        <a:lnTo>
                          <a:pt x="5161" y="23"/>
                        </a:lnTo>
                        <a:lnTo>
                          <a:pt x="5233" y="17"/>
                        </a:lnTo>
                        <a:lnTo>
                          <a:pt x="5305" y="12"/>
                        </a:lnTo>
                        <a:lnTo>
                          <a:pt x="5378" y="8"/>
                        </a:lnTo>
                        <a:lnTo>
                          <a:pt x="5450" y="4"/>
                        </a:lnTo>
                        <a:lnTo>
                          <a:pt x="5523" y="2"/>
                        </a:lnTo>
                        <a:lnTo>
                          <a:pt x="5596" y="1"/>
                        </a:lnTo>
                        <a:lnTo>
                          <a:pt x="5669" y="0"/>
                        </a:lnTo>
                        <a:lnTo>
                          <a:pt x="5669" y="0"/>
                        </a:lnTo>
                        <a:lnTo>
                          <a:pt x="5744" y="1"/>
                        </a:lnTo>
                        <a:lnTo>
                          <a:pt x="5817" y="2"/>
                        </a:lnTo>
                        <a:lnTo>
                          <a:pt x="5890" y="4"/>
                        </a:lnTo>
                        <a:lnTo>
                          <a:pt x="5962" y="8"/>
                        </a:lnTo>
                        <a:lnTo>
                          <a:pt x="6034" y="12"/>
                        </a:lnTo>
                        <a:lnTo>
                          <a:pt x="6107" y="17"/>
                        </a:lnTo>
                        <a:lnTo>
                          <a:pt x="6178" y="23"/>
                        </a:lnTo>
                        <a:lnTo>
                          <a:pt x="6250" y="29"/>
                        </a:lnTo>
                        <a:lnTo>
                          <a:pt x="6321" y="37"/>
                        </a:lnTo>
                        <a:lnTo>
                          <a:pt x="6392" y="46"/>
                        </a:lnTo>
                        <a:lnTo>
                          <a:pt x="6463" y="55"/>
                        </a:lnTo>
                        <a:lnTo>
                          <a:pt x="6534" y="65"/>
                        </a:lnTo>
                        <a:lnTo>
                          <a:pt x="6604" y="77"/>
                        </a:lnTo>
                        <a:lnTo>
                          <a:pt x="6674" y="89"/>
                        </a:lnTo>
                        <a:lnTo>
                          <a:pt x="6744" y="102"/>
                        </a:lnTo>
                        <a:lnTo>
                          <a:pt x="6813" y="115"/>
                        </a:lnTo>
                        <a:lnTo>
                          <a:pt x="6882" y="130"/>
                        </a:lnTo>
                        <a:lnTo>
                          <a:pt x="6951" y="145"/>
                        </a:lnTo>
                        <a:lnTo>
                          <a:pt x="7019" y="162"/>
                        </a:lnTo>
                        <a:lnTo>
                          <a:pt x="7087" y="179"/>
                        </a:lnTo>
                        <a:lnTo>
                          <a:pt x="7155" y="197"/>
                        </a:lnTo>
                        <a:lnTo>
                          <a:pt x="7222" y="215"/>
                        </a:lnTo>
                        <a:lnTo>
                          <a:pt x="7289" y="235"/>
                        </a:lnTo>
                        <a:lnTo>
                          <a:pt x="7356" y="255"/>
                        </a:lnTo>
                        <a:lnTo>
                          <a:pt x="7423" y="276"/>
                        </a:lnTo>
                        <a:lnTo>
                          <a:pt x="7489" y="298"/>
                        </a:lnTo>
                        <a:lnTo>
                          <a:pt x="7554" y="321"/>
                        </a:lnTo>
                        <a:lnTo>
                          <a:pt x="7620" y="344"/>
                        </a:lnTo>
                        <a:lnTo>
                          <a:pt x="7685" y="368"/>
                        </a:lnTo>
                        <a:lnTo>
                          <a:pt x="7749" y="393"/>
                        </a:lnTo>
                        <a:lnTo>
                          <a:pt x="7813" y="419"/>
                        </a:lnTo>
                        <a:lnTo>
                          <a:pt x="7877" y="446"/>
                        </a:lnTo>
                        <a:lnTo>
                          <a:pt x="7940" y="473"/>
                        </a:lnTo>
                        <a:lnTo>
                          <a:pt x="8003" y="501"/>
                        </a:lnTo>
                        <a:lnTo>
                          <a:pt x="8066" y="530"/>
                        </a:lnTo>
                        <a:lnTo>
                          <a:pt x="8128" y="559"/>
                        </a:lnTo>
                        <a:lnTo>
                          <a:pt x="8190" y="589"/>
                        </a:lnTo>
                        <a:lnTo>
                          <a:pt x="8251" y="620"/>
                        </a:lnTo>
                        <a:lnTo>
                          <a:pt x="8312" y="652"/>
                        </a:lnTo>
                        <a:lnTo>
                          <a:pt x="8373" y="684"/>
                        </a:lnTo>
                        <a:lnTo>
                          <a:pt x="8433" y="717"/>
                        </a:lnTo>
                        <a:lnTo>
                          <a:pt x="8492" y="751"/>
                        </a:lnTo>
                        <a:lnTo>
                          <a:pt x="8551" y="786"/>
                        </a:lnTo>
                        <a:lnTo>
                          <a:pt x="8610" y="821"/>
                        </a:lnTo>
                        <a:lnTo>
                          <a:pt x="8668" y="857"/>
                        </a:lnTo>
                        <a:lnTo>
                          <a:pt x="8726" y="893"/>
                        </a:lnTo>
                        <a:lnTo>
                          <a:pt x="8783" y="930"/>
                        </a:lnTo>
                        <a:lnTo>
                          <a:pt x="8840" y="968"/>
                        </a:lnTo>
                        <a:lnTo>
                          <a:pt x="8896" y="1007"/>
                        </a:lnTo>
                        <a:lnTo>
                          <a:pt x="8952" y="1046"/>
                        </a:lnTo>
                        <a:lnTo>
                          <a:pt x="9008" y="1086"/>
                        </a:lnTo>
                        <a:lnTo>
                          <a:pt x="9062" y="1126"/>
                        </a:lnTo>
                        <a:lnTo>
                          <a:pt x="9117" y="1168"/>
                        </a:lnTo>
                        <a:lnTo>
                          <a:pt x="9170" y="1209"/>
                        </a:lnTo>
                        <a:lnTo>
                          <a:pt x="9224" y="1252"/>
                        </a:lnTo>
                        <a:lnTo>
                          <a:pt x="9277" y="1295"/>
                        </a:lnTo>
                        <a:lnTo>
                          <a:pt x="9329" y="1338"/>
                        </a:lnTo>
                        <a:lnTo>
                          <a:pt x="9380" y="1383"/>
                        </a:lnTo>
                        <a:lnTo>
                          <a:pt x="9432" y="1427"/>
                        </a:lnTo>
                        <a:lnTo>
                          <a:pt x="9482" y="1473"/>
                        </a:lnTo>
                        <a:lnTo>
                          <a:pt x="9532" y="1519"/>
                        </a:lnTo>
                        <a:lnTo>
                          <a:pt x="9582" y="1566"/>
                        </a:lnTo>
                        <a:lnTo>
                          <a:pt x="9631" y="1613"/>
                        </a:lnTo>
                        <a:lnTo>
                          <a:pt x="9679" y="1661"/>
                        </a:lnTo>
                        <a:lnTo>
                          <a:pt x="9727" y="1709"/>
                        </a:lnTo>
                        <a:lnTo>
                          <a:pt x="9774" y="1758"/>
                        </a:lnTo>
                        <a:lnTo>
                          <a:pt x="9821" y="1807"/>
                        </a:lnTo>
                        <a:lnTo>
                          <a:pt x="9867" y="1858"/>
                        </a:lnTo>
                        <a:lnTo>
                          <a:pt x="9912" y="1908"/>
                        </a:lnTo>
                        <a:lnTo>
                          <a:pt x="9957" y="1959"/>
                        </a:lnTo>
                        <a:lnTo>
                          <a:pt x="10001" y="2011"/>
                        </a:lnTo>
                        <a:lnTo>
                          <a:pt x="10045" y="2063"/>
                        </a:lnTo>
                        <a:lnTo>
                          <a:pt x="10088" y="2116"/>
                        </a:lnTo>
                        <a:lnTo>
                          <a:pt x="10130" y="2169"/>
                        </a:lnTo>
                        <a:lnTo>
                          <a:pt x="10172" y="2223"/>
                        </a:lnTo>
                        <a:lnTo>
                          <a:pt x="10213" y="2277"/>
                        </a:lnTo>
                        <a:lnTo>
                          <a:pt x="10254" y="2332"/>
                        </a:lnTo>
                        <a:lnTo>
                          <a:pt x="10294" y="2388"/>
                        </a:lnTo>
                        <a:lnTo>
                          <a:pt x="10333" y="2443"/>
                        </a:lnTo>
                        <a:lnTo>
                          <a:pt x="10371" y="2500"/>
                        </a:lnTo>
                        <a:lnTo>
                          <a:pt x="10409" y="2557"/>
                        </a:lnTo>
                        <a:lnTo>
                          <a:pt x="10446" y="2614"/>
                        </a:lnTo>
                        <a:lnTo>
                          <a:pt x="10483" y="2672"/>
                        </a:lnTo>
                        <a:lnTo>
                          <a:pt x="10519" y="2730"/>
                        </a:lnTo>
                        <a:lnTo>
                          <a:pt x="10554" y="2788"/>
                        </a:lnTo>
                        <a:lnTo>
                          <a:pt x="10588" y="2848"/>
                        </a:lnTo>
                        <a:lnTo>
                          <a:pt x="10622" y="2907"/>
                        </a:lnTo>
                        <a:lnTo>
                          <a:pt x="10655" y="2967"/>
                        </a:lnTo>
                        <a:lnTo>
                          <a:pt x="10688" y="3028"/>
                        </a:lnTo>
                        <a:lnTo>
                          <a:pt x="10719" y="3089"/>
                        </a:lnTo>
                        <a:lnTo>
                          <a:pt x="10750" y="3150"/>
                        </a:lnTo>
                        <a:lnTo>
                          <a:pt x="10780" y="3212"/>
                        </a:lnTo>
                        <a:lnTo>
                          <a:pt x="10810" y="3274"/>
                        </a:lnTo>
                        <a:lnTo>
                          <a:pt x="10839" y="3336"/>
                        </a:lnTo>
                        <a:lnTo>
                          <a:pt x="10867" y="3399"/>
                        </a:lnTo>
                        <a:lnTo>
                          <a:pt x="10894" y="3463"/>
                        </a:lnTo>
                        <a:lnTo>
                          <a:pt x="10921" y="3527"/>
                        </a:lnTo>
                        <a:lnTo>
                          <a:pt x="10946" y="3591"/>
                        </a:lnTo>
                        <a:lnTo>
                          <a:pt x="10971" y="3655"/>
                        </a:lnTo>
                        <a:lnTo>
                          <a:pt x="10996" y="3720"/>
                        </a:lnTo>
                        <a:lnTo>
                          <a:pt x="11019" y="3786"/>
                        </a:lnTo>
                        <a:lnTo>
                          <a:pt x="11042" y="3851"/>
                        </a:lnTo>
                        <a:lnTo>
                          <a:pt x="11064" y="3917"/>
                        </a:lnTo>
                        <a:lnTo>
                          <a:pt x="11085" y="3984"/>
                        </a:lnTo>
                        <a:lnTo>
                          <a:pt x="11105" y="4050"/>
                        </a:lnTo>
                        <a:lnTo>
                          <a:pt x="11124" y="4118"/>
                        </a:lnTo>
                        <a:lnTo>
                          <a:pt x="11143" y="4185"/>
                        </a:lnTo>
                        <a:lnTo>
                          <a:pt x="11161" y="4253"/>
                        </a:lnTo>
                        <a:lnTo>
                          <a:pt x="11178" y="4321"/>
                        </a:lnTo>
                        <a:lnTo>
                          <a:pt x="11194" y="4389"/>
                        </a:lnTo>
                        <a:lnTo>
                          <a:pt x="11210" y="4458"/>
                        </a:lnTo>
                        <a:lnTo>
                          <a:pt x="11224" y="4527"/>
                        </a:lnTo>
                        <a:lnTo>
                          <a:pt x="11238" y="4596"/>
                        </a:lnTo>
                        <a:lnTo>
                          <a:pt x="11251" y="4666"/>
                        </a:lnTo>
                        <a:lnTo>
                          <a:pt x="11263" y="4736"/>
                        </a:lnTo>
                        <a:lnTo>
                          <a:pt x="11274" y="4806"/>
                        </a:lnTo>
                        <a:lnTo>
                          <a:pt x="11285" y="4877"/>
                        </a:lnTo>
                        <a:lnTo>
                          <a:pt x="11294" y="4948"/>
                        </a:lnTo>
                        <a:lnTo>
                          <a:pt x="11303" y="5019"/>
                        </a:lnTo>
                        <a:lnTo>
                          <a:pt x="11310" y="5090"/>
                        </a:lnTo>
                        <a:lnTo>
                          <a:pt x="11317" y="5162"/>
                        </a:lnTo>
                        <a:lnTo>
                          <a:pt x="11323" y="5233"/>
                        </a:lnTo>
                        <a:lnTo>
                          <a:pt x="11328" y="5306"/>
                        </a:lnTo>
                        <a:lnTo>
                          <a:pt x="11332" y="5378"/>
                        </a:lnTo>
                        <a:lnTo>
                          <a:pt x="11335" y="5451"/>
                        </a:lnTo>
                        <a:lnTo>
                          <a:pt x="11338" y="5523"/>
                        </a:lnTo>
                        <a:lnTo>
                          <a:pt x="11339" y="5596"/>
                        </a:lnTo>
                        <a:lnTo>
                          <a:pt x="11340" y="5671"/>
                        </a:lnTo>
                        <a:close/>
                      </a:path>
                    </a:pathLst>
                  </a:custGeom>
                  <a:solidFill>
                    <a:srgbClr val="7A162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  <p:sp>
                <p:nvSpPr>
                  <p:cNvPr id="289" name="Freeform 7">
                    <a:extLst>
                      <a:ext uri="{FF2B5EF4-FFF2-40B4-BE49-F238E27FC236}">
                        <a16:creationId xmlns:a16="http://schemas.microsoft.com/office/drawing/2014/main" id="{347EDE04-0A14-45C1-960F-C30F7CE9561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88" y="1252"/>
                    <a:ext cx="2268" cy="2268"/>
                  </a:xfrm>
                  <a:custGeom>
                    <a:avLst/>
                    <a:gdLst/>
                    <a:ahLst/>
                    <a:cxnLst>
                      <a:cxn ang="0">
                        <a:pos x="11317" y="6179"/>
                      </a:cxn>
                      <a:cxn ang="0">
                        <a:pos x="11224" y="6813"/>
                      </a:cxn>
                      <a:cxn ang="0">
                        <a:pos x="11064" y="7423"/>
                      </a:cxn>
                      <a:cxn ang="0">
                        <a:pos x="10839" y="8004"/>
                      </a:cxn>
                      <a:cxn ang="0">
                        <a:pos x="10554" y="8552"/>
                      </a:cxn>
                      <a:cxn ang="0">
                        <a:pos x="10213" y="9063"/>
                      </a:cxn>
                      <a:cxn ang="0">
                        <a:pos x="9821" y="9533"/>
                      </a:cxn>
                      <a:cxn ang="0">
                        <a:pos x="9380" y="9958"/>
                      </a:cxn>
                      <a:cxn ang="0">
                        <a:pos x="8896" y="10333"/>
                      </a:cxn>
                      <a:cxn ang="0">
                        <a:pos x="8373" y="10656"/>
                      </a:cxn>
                      <a:cxn ang="0">
                        <a:pos x="7813" y="10921"/>
                      </a:cxn>
                      <a:cxn ang="0">
                        <a:pos x="7222" y="11125"/>
                      </a:cxn>
                      <a:cxn ang="0">
                        <a:pos x="6604" y="11264"/>
                      </a:cxn>
                      <a:cxn ang="0">
                        <a:pos x="5962" y="11333"/>
                      </a:cxn>
                      <a:cxn ang="0">
                        <a:pos x="5378" y="11333"/>
                      </a:cxn>
                      <a:cxn ang="0">
                        <a:pos x="4736" y="11264"/>
                      </a:cxn>
                      <a:cxn ang="0">
                        <a:pos x="4117" y="11125"/>
                      </a:cxn>
                      <a:cxn ang="0">
                        <a:pos x="3526" y="10921"/>
                      </a:cxn>
                      <a:cxn ang="0">
                        <a:pos x="2967" y="10656"/>
                      </a:cxn>
                      <a:cxn ang="0">
                        <a:pos x="2443" y="10333"/>
                      </a:cxn>
                      <a:cxn ang="0">
                        <a:pos x="1959" y="9958"/>
                      </a:cxn>
                      <a:cxn ang="0">
                        <a:pos x="1519" y="9533"/>
                      </a:cxn>
                      <a:cxn ang="0">
                        <a:pos x="1126" y="9063"/>
                      </a:cxn>
                      <a:cxn ang="0">
                        <a:pos x="785" y="8552"/>
                      </a:cxn>
                      <a:cxn ang="0">
                        <a:pos x="501" y="8004"/>
                      </a:cxn>
                      <a:cxn ang="0">
                        <a:pos x="276" y="7423"/>
                      </a:cxn>
                      <a:cxn ang="0">
                        <a:pos x="115" y="6813"/>
                      </a:cxn>
                      <a:cxn ang="0">
                        <a:pos x="22" y="6179"/>
                      </a:cxn>
                      <a:cxn ang="0">
                        <a:pos x="0" y="5596"/>
                      </a:cxn>
                      <a:cxn ang="0">
                        <a:pos x="45" y="4948"/>
                      </a:cxn>
                      <a:cxn ang="0">
                        <a:pos x="161" y="4321"/>
                      </a:cxn>
                      <a:cxn ang="0">
                        <a:pos x="344" y="3720"/>
                      </a:cxn>
                      <a:cxn ang="0">
                        <a:pos x="589" y="3150"/>
                      </a:cxn>
                      <a:cxn ang="0">
                        <a:pos x="893" y="2614"/>
                      </a:cxn>
                      <a:cxn ang="0">
                        <a:pos x="1251" y="2116"/>
                      </a:cxn>
                      <a:cxn ang="0">
                        <a:pos x="1660" y="1661"/>
                      </a:cxn>
                      <a:cxn ang="0">
                        <a:pos x="2116" y="1252"/>
                      </a:cxn>
                      <a:cxn ang="0">
                        <a:pos x="2613" y="893"/>
                      </a:cxn>
                      <a:cxn ang="0">
                        <a:pos x="3150" y="589"/>
                      </a:cxn>
                      <a:cxn ang="0">
                        <a:pos x="3720" y="344"/>
                      </a:cxn>
                      <a:cxn ang="0">
                        <a:pos x="4320" y="162"/>
                      </a:cxn>
                      <a:cxn ang="0">
                        <a:pos x="4947" y="46"/>
                      </a:cxn>
                      <a:cxn ang="0">
                        <a:pos x="5596" y="1"/>
                      </a:cxn>
                      <a:cxn ang="0">
                        <a:pos x="6178" y="23"/>
                      </a:cxn>
                      <a:cxn ang="0">
                        <a:pos x="6813" y="115"/>
                      </a:cxn>
                      <a:cxn ang="0">
                        <a:pos x="7423" y="276"/>
                      </a:cxn>
                      <a:cxn ang="0">
                        <a:pos x="8003" y="501"/>
                      </a:cxn>
                      <a:cxn ang="0">
                        <a:pos x="8551" y="786"/>
                      </a:cxn>
                      <a:cxn ang="0">
                        <a:pos x="9062" y="1126"/>
                      </a:cxn>
                      <a:cxn ang="0">
                        <a:pos x="9532" y="1519"/>
                      </a:cxn>
                      <a:cxn ang="0">
                        <a:pos x="9957" y="1959"/>
                      </a:cxn>
                      <a:cxn ang="0">
                        <a:pos x="10333" y="2443"/>
                      </a:cxn>
                      <a:cxn ang="0">
                        <a:pos x="10655" y="2967"/>
                      </a:cxn>
                      <a:cxn ang="0">
                        <a:pos x="10921" y="3527"/>
                      </a:cxn>
                      <a:cxn ang="0">
                        <a:pos x="11124" y="4118"/>
                      </a:cxn>
                      <a:cxn ang="0">
                        <a:pos x="11263" y="4736"/>
                      </a:cxn>
                      <a:cxn ang="0">
                        <a:pos x="11332" y="5378"/>
                      </a:cxn>
                    </a:cxnLst>
                    <a:rect l="0" t="0" r="r" b="b"/>
                    <a:pathLst>
                      <a:path w="11340" h="11340">
                        <a:moveTo>
                          <a:pt x="11340" y="5671"/>
                        </a:moveTo>
                        <a:lnTo>
                          <a:pt x="11340" y="5671"/>
                        </a:lnTo>
                        <a:lnTo>
                          <a:pt x="11339" y="5744"/>
                        </a:lnTo>
                        <a:lnTo>
                          <a:pt x="11338" y="5817"/>
                        </a:lnTo>
                        <a:lnTo>
                          <a:pt x="11335" y="5890"/>
                        </a:lnTo>
                        <a:lnTo>
                          <a:pt x="11332" y="5962"/>
                        </a:lnTo>
                        <a:lnTo>
                          <a:pt x="11328" y="6035"/>
                        </a:lnTo>
                        <a:lnTo>
                          <a:pt x="11323" y="6107"/>
                        </a:lnTo>
                        <a:lnTo>
                          <a:pt x="11317" y="6179"/>
                        </a:lnTo>
                        <a:lnTo>
                          <a:pt x="11310" y="6250"/>
                        </a:lnTo>
                        <a:lnTo>
                          <a:pt x="11303" y="6322"/>
                        </a:lnTo>
                        <a:lnTo>
                          <a:pt x="11294" y="6393"/>
                        </a:lnTo>
                        <a:lnTo>
                          <a:pt x="11285" y="6464"/>
                        </a:lnTo>
                        <a:lnTo>
                          <a:pt x="11274" y="6534"/>
                        </a:lnTo>
                        <a:lnTo>
                          <a:pt x="11263" y="6604"/>
                        </a:lnTo>
                        <a:lnTo>
                          <a:pt x="11251" y="6674"/>
                        </a:lnTo>
                        <a:lnTo>
                          <a:pt x="11238" y="6744"/>
                        </a:lnTo>
                        <a:lnTo>
                          <a:pt x="11224" y="6813"/>
                        </a:lnTo>
                        <a:lnTo>
                          <a:pt x="11210" y="6882"/>
                        </a:lnTo>
                        <a:lnTo>
                          <a:pt x="11194" y="6951"/>
                        </a:lnTo>
                        <a:lnTo>
                          <a:pt x="11178" y="7019"/>
                        </a:lnTo>
                        <a:lnTo>
                          <a:pt x="11161" y="7088"/>
                        </a:lnTo>
                        <a:lnTo>
                          <a:pt x="11143" y="7155"/>
                        </a:lnTo>
                        <a:lnTo>
                          <a:pt x="11124" y="7223"/>
                        </a:lnTo>
                        <a:lnTo>
                          <a:pt x="11105" y="7290"/>
                        </a:lnTo>
                        <a:lnTo>
                          <a:pt x="11085" y="7357"/>
                        </a:lnTo>
                        <a:lnTo>
                          <a:pt x="11064" y="7423"/>
                        </a:lnTo>
                        <a:lnTo>
                          <a:pt x="11042" y="7489"/>
                        </a:lnTo>
                        <a:lnTo>
                          <a:pt x="11019" y="7555"/>
                        </a:lnTo>
                        <a:lnTo>
                          <a:pt x="10996" y="7620"/>
                        </a:lnTo>
                        <a:lnTo>
                          <a:pt x="10971" y="7685"/>
                        </a:lnTo>
                        <a:lnTo>
                          <a:pt x="10946" y="7749"/>
                        </a:lnTo>
                        <a:lnTo>
                          <a:pt x="10921" y="7814"/>
                        </a:lnTo>
                        <a:lnTo>
                          <a:pt x="10894" y="7877"/>
                        </a:lnTo>
                        <a:lnTo>
                          <a:pt x="10867" y="7941"/>
                        </a:lnTo>
                        <a:lnTo>
                          <a:pt x="10839" y="8004"/>
                        </a:lnTo>
                        <a:lnTo>
                          <a:pt x="10810" y="8066"/>
                        </a:lnTo>
                        <a:lnTo>
                          <a:pt x="10780" y="8129"/>
                        </a:lnTo>
                        <a:lnTo>
                          <a:pt x="10750" y="8190"/>
                        </a:lnTo>
                        <a:lnTo>
                          <a:pt x="10719" y="8252"/>
                        </a:lnTo>
                        <a:lnTo>
                          <a:pt x="10688" y="8313"/>
                        </a:lnTo>
                        <a:lnTo>
                          <a:pt x="10655" y="8373"/>
                        </a:lnTo>
                        <a:lnTo>
                          <a:pt x="10622" y="8433"/>
                        </a:lnTo>
                        <a:lnTo>
                          <a:pt x="10588" y="8493"/>
                        </a:lnTo>
                        <a:lnTo>
                          <a:pt x="10554" y="8552"/>
                        </a:lnTo>
                        <a:lnTo>
                          <a:pt x="10519" y="8610"/>
                        </a:lnTo>
                        <a:lnTo>
                          <a:pt x="10483" y="8669"/>
                        </a:lnTo>
                        <a:lnTo>
                          <a:pt x="10446" y="8726"/>
                        </a:lnTo>
                        <a:lnTo>
                          <a:pt x="10409" y="8784"/>
                        </a:lnTo>
                        <a:lnTo>
                          <a:pt x="10371" y="8840"/>
                        </a:lnTo>
                        <a:lnTo>
                          <a:pt x="10333" y="8897"/>
                        </a:lnTo>
                        <a:lnTo>
                          <a:pt x="10294" y="8953"/>
                        </a:lnTo>
                        <a:lnTo>
                          <a:pt x="10254" y="9008"/>
                        </a:lnTo>
                        <a:lnTo>
                          <a:pt x="10213" y="9063"/>
                        </a:lnTo>
                        <a:lnTo>
                          <a:pt x="10172" y="9117"/>
                        </a:lnTo>
                        <a:lnTo>
                          <a:pt x="10130" y="9171"/>
                        </a:lnTo>
                        <a:lnTo>
                          <a:pt x="10088" y="9224"/>
                        </a:lnTo>
                        <a:lnTo>
                          <a:pt x="10045" y="9277"/>
                        </a:lnTo>
                        <a:lnTo>
                          <a:pt x="10001" y="9329"/>
                        </a:lnTo>
                        <a:lnTo>
                          <a:pt x="9957" y="9381"/>
                        </a:lnTo>
                        <a:lnTo>
                          <a:pt x="9912" y="9432"/>
                        </a:lnTo>
                        <a:lnTo>
                          <a:pt x="9867" y="9483"/>
                        </a:lnTo>
                        <a:lnTo>
                          <a:pt x="9821" y="9533"/>
                        </a:lnTo>
                        <a:lnTo>
                          <a:pt x="9774" y="9582"/>
                        </a:lnTo>
                        <a:lnTo>
                          <a:pt x="9727" y="9631"/>
                        </a:lnTo>
                        <a:lnTo>
                          <a:pt x="9679" y="9680"/>
                        </a:lnTo>
                        <a:lnTo>
                          <a:pt x="9631" y="9727"/>
                        </a:lnTo>
                        <a:lnTo>
                          <a:pt x="9582" y="9775"/>
                        </a:lnTo>
                        <a:lnTo>
                          <a:pt x="9532" y="9821"/>
                        </a:lnTo>
                        <a:lnTo>
                          <a:pt x="9482" y="9867"/>
                        </a:lnTo>
                        <a:lnTo>
                          <a:pt x="9432" y="9913"/>
                        </a:lnTo>
                        <a:lnTo>
                          <a:pt x="9380" y="9958"/>
                        </a:lnTo>
                        <a:lnTo>
                          <a:pt x="9329" y="10002"/>
                        </a:lnTo>
                        <a:lnTo>
                          <a:pt x="9277" y="10046"/>
                        </a:lnTo>
                        <a:lnTo>
                          <a:pt x="9224" y="10089"/>
                        </a:lnTo>
                        <a:lnTo>
                          <a:pt x="9170" y="10131"/>
                        </a:lnTo>
                        <a:lnTo>
                          <a:pt x="9117" y="10173"/>
                        </a:lnTo>
                        <a:lnTo>
                          <a:pt x="9062" y="10214"/>
                        </a:lnTo>
                        <a:lnTo>
                          <a:pt x="9008" y="10254"/>
                        </a:lnTo>
                        <a:lnTo>
                          <a:pt x="8952" y="10294"/>
                        </a:lnTo>
                        <a:lnTo>
                          <a:pt x="8896" y="10333"/>
                        </a:lnTo>
                        <a:lnTo>
                          <a:pt x="8840" y="10372"/>
                        </a:lnTo>
                        <a:lnTo>
                          <a:pt x="8783" y="10410"/>
                        </a:lnTo>
                        <a:lnTo>
                          <a:pt x="8726" y="10447"/>
                        </a:lnTo>
                        <a:lnTo>
                          <a:pt x="8668" y="10484"/>
                        </a:lnTo>
                        <a:lnTo>
                          <a:pt x="8610" y="10519"/>
                        </a:lnTo>
                        <a:lnTo>
                          <a:pt x="8551" y="10555"/>
                        </a:lnTo>
                        <a:lnTo>
                          <a:pt x="8492" y="10589"/>
                        </a:lnTo>
                        <a:lnTo>
                          <a:pt x="8433" y="10623"/>
                        </a:lnTo>
                        <a:lnTo>
                          <a:pt x="8373" y="10656"/>
                        </a:lnTo>
                        <a:lnTo>
                          <a:pt x="8312" y="10688"/>
                        </a:lnTo>
                        <a:lnTo>
                          <a:pt x="8251" y="10720"/>
                        </a:lnTo>
                        <a:lnTo>
                          <a:pt x="8190" y="10751"/>
                        </a:lnTo>
                        <a:lnTo>
                          <a:pt x="8128" y="10781"/>
                        </a:lnTo>
                        <a:lnTo>
                          <a:pt x="8066" y="10811"/>
                        </a:lnTo>
                        <a:lnTo>
                          <a:pt x="8003" y="10839"/>
                        </a:lnTo>
                        <a:lnTo>
                          <a:pt x="7940" y="10867"/>
                        </a:lnTo>
                        <a:lnTo>
                          <a:pt x="7877" y="10895"/>
                        </a:lnTo>
                        <a:lnTo>
                          <a:pt x="7813" y="10921"/>
                        </a:lnTo>
                        <a:lnTo>
                          <a:pt x="7749" y="10947"/>
                        </a:lnTo>
                        <a:lnTo>
                          <a:pt x="7685" y="10972"/>
                        </a:lnTo>
                        <a:lnTo>
                          <a:pt x="7620" y="10996"/>
                        </a:lnTo>
                        <a:lnTo>
                          <a:pt x="7554" y="11020"/>
                        </a:lnTo>
                        <a:lnTo>
                          <a:pt x="7489" y="11042"/>
                        </a:lnTo>
                        <a:lnTo>
                          <a:pt x="7423" y="11064"/>
                        </a:lnTo>
                        <a:lnTo>
                          <a:pt x="7356" y="11085"/>
                        </a:lnTo>
                        <a:lnTo>
                          <a:pt x="7289" y="11106"/>
                        </a:lnTo>
                        <a:lnTo>
                          <a:pt x="7222" y="11125"/>
                        </a:lnTo>
                        <a:lnTo>
                          <a:pt x="7155" y="11144"/>
                        </a:lnTo>
                        <a:lnTo>
                          <a:pt x="7087" y="11162"/>
                        </a:lnTo>
                        <a:lnTo>
                          <a:pt x="7019" y="11179"/>
                        </a:lnTo>
                        <a:lnTo>
                          <a:pt x="6951" y="11195"/>
                        </a:lnTo>
                        <a:lnTo>
                          <a:pt x="6882" y="11210"/>
                        </a:lnTo>
                        <a:lnTo>
                          <a:pt x="6813" y="11225"/>
                        </a:lnTo>
                        <a:lnTo>
                          <a:pt x="6744" y="11239"/>
                        </a:lnTo>
                        <a:lnTo>
                          <a:pt x="6674" y="11252"/>
                        </a:lnTo>
                        <a:lnTo>
                          <a:pt x="6604" y="11264"/>
                        </a:lnTo>
                        <a:lnTo>
                          <a:pt x="6534" y="11275"/>
                        </a:lnTo>
                        <a:lnTo>
                          <a:pt x="6463" y="11285"/>
                        </a:lnTo>
                        <a:lnTo>
                          <a:pt x="6392" y="11295"/>
                        </a:lnTo>
                        <a:lnTo>
                          <a:pt x="6321" y="11303"/>
                        </a:lnTo>
                        <a:lnTo>
                          <a:pt x="6250" y="11311"/>
                        </a:lnTo>
                        <a:lnTo>
                          <a:pt x="6178" y="11318"/>
                        </a:lnTo>
                        <a:lnTo>
                          <a:pt x="6107" y="11324"/>
                        </a:lnTo>
                        <a:lnTo>
                          <a:pt x="6034" y="11329"/>
                        </a:lnTo>
                        <a:lnTo>
                          <a:pt x="5962" y="11333"/>
                        </a:lnTo>
                        <a:lnTo>
                          <a:pt x="5890" y="11336"/>
                        </a:lnTo>
                        <a:lnTo>
                          <a:pt x="5817" y="11338"/>
                        </a:lnTo>
                        <a:lnTo>
                          <a:pt x="5744" y="11340"/>
                        </a:lnTo>
                        <a:lnTo>
                          <a:pt x="5669" y="11340"/>
                        </a:lnTo>
                        <a:lnTo>
                          <a:pt x="5669" y="11340"/>
                        </a:lnTo>
                        <a:lnTo>
                          <a:pt x="5596" y="11340"/>
                        </a:lnTo>
                        <a:lnTo>
                          <a:pt x="5523" y="11338"/>
                        </a:lnTo>
                        <a:lnTo>
                          <a:pt x="5450" y="11336"/>
                        </a:lnTo>
                        <a:lnTo>
                          <a:pt x="5378" y="11333"/>
                        </a:lnTo>
                        <a:lnTo>
                          <a:pt x="5305" y="11329"/>
                        </a:lnTo>
                        <a:lnTo>
                          <a:pt x="5233" y="11324"/>
                        </a:lnTo>
                        <a:lnTo>
                          <a:pt x="5161" y="11318"/>
                        </a:lnTo>
                        <a:lnTo>
                          <a:pt x="5090" y="11311"/>
                        </a:lnTo>
                        <a:lnTo>
                          <a:pt x="5018" y="11303"/>
                        </a:lnTo>
                        <a:lnTo>
                          <a:pt x="4947" y="11295"/>
                        </a:lnTo>
                        <a:lnTo>
                          <a:pt x="4876" y="11285"/>
                        </a:lnTo>
                        <a:lnTo>
                          <a:pt x="4806" y="11275"/>
                        </a:lnTo>
                        <a:lnTo>
                          <a:pt x="4736" y="11264"/>
                        </a:lnTo>
                        <a:lnTo>
                          <a:pt x="4666" y="11252"/>
                        </a:lnTo>
                        <a:lnTo>
                          <a:pt x="4596" y="11239"/>
                        </a:lnTo>
                        <a:lnTo>
                          <a:pt x="4527" y="11225"/>
                        </a:lnTo>
                        <a:lnTo>
                          <a:pt x="4458" y="11210"/>
                        </a:lnTo>
                        <a:lnTo>
                          <a:pt x="4389" y="11195"/>
                        </a:lnTo>
                        <a:lnTo>
                          <a:pt x="4320" y="11179"/>
                        </a:lnTo>
                        <a:lnTo>
                          <a:pt x="4252" y="11162"/>
                        </a:lnTo>
                        <a:lnTo>
                          <a:pt x="4185" y="11144"/>
                        </a:lnTo>
                        <a:lnTo>
                          <a:pt x="4117" y="11125"/>
                        </a:lnTo>
                        <a:lnTo>
                          <a:pt x="4050" y="11106"/>
                        </a:lnTo>
                        <a:lnTo>
                          <a:pt x="3983" y="11085"/>
                        </a:lnTo>
                        <a:lnTo>
                          <a:pt x="3917" y="11064"/>
                        </a:lnTo>
                        <a:lnTo>
                          <a:pt x="3851" y="11042"/>
                        </a:lnTo>
                        <a:lnTo>
                          <a:pt x="3785" y="11020"/>
                        </a:lnTo>
                        <a:lnTo>
                          <a:pt x="3720" y="10996"/>
                        </a:lnTo>
                        <a:lnTo>
                          <a:pt x="3655" y="10972"/>
                        </a:lnTo>
                        <a:lnTo>
                          <a:pt x="3590" y="10947"/>
                        </a:lnTo>
                        <a:lnTo>
                          <a:pt x="3526" y="10921"/>
                        </a:lnTo>
                        <a:lnTo>
                          <a:pt x="3462" y="10895"/>
                        </a:lnTo>
                        <a:lnTo>
                          <a:pt x="3399" y="10867"/>
                        </a:lnTo>
                        <a:lnTo>
                          <a:pt x="3336" y="10839"/>
                        </a:lnTo>
                        <a:lnTo>
                          <a:pt x="3273" y="10811"/>
                        </a:lnTo>
                        <a:lnTo>
                          <a:pt x="3211" y="10781"/>
                        </a:lnTo>
                        <a:lnTo>
                          <a:pt x="3150" y="10751"/>
                        </a:lnTo>
                        <a:lnTo>
                          <a:pt x="3088" y="10720"/>
                        </a:lnTo>
                        <a:lnTo>
                          <a:pt x="3027" y="10688"/>
                        </a:lnTo>
                        <a:lnTo>
                          <a:pt x="2967" y="10656"/>
                        </a:lnTo>
                        <a:lnTo>
                          <a:pt x="2907" y="10623"/>
                        </a:lnTo>
                        <a:lnTo>
                          <a:pt x="2847" y="10589"/>
                        </a:lnTo>
                        <a:lnTo>
                          <a:pt x="2788" y="10555"/>
                        </a:lnTo>
                        <a:lnTo>
                          <a:pt x="2729" y="10519"/>
                        </a:lnTo>
                        <a:lnTo>
                          <a:pt x="2671" y="10484"/>
                        </a:lnTo>
                        <a:lnTo>
                          <a:pt x="2613" y="10447"/>
                        </a:lnTo>
                        <a:lnTo>
                          <a:pt x="2556" y="10410"/>
                        </a:lnTo>
                        <a:lnTo>
                          <a:pt x="2499" y="10372"/>
                        </a:lnTo>
                        <a:lnTo>
                          <a:pt x="2443" y="10333"/>
                        </a:lnTo>
                        <a:lnTo>
                          <a:pt x="2387" y="10294"/>
                        </a:lnTo>
                        <a:lnTo>
                          <a:pt x="2332" y="10254"/>
                        </a:lnTo>
                        <a:lnTo>
                          <a:pt x="2277" y="10214"/>
                        </a:lnTo>
                        <a:lnTo>
                          <a:pt x="2223" y="10173"/>
                        </a:lnTo>
                        <a:lnTo>
                          <a:pt x="2169" y="10131"/>
                        </a:lnTo>
                        <a:lnTo>
                          <a:pt x="2116" y="10089"/>
                        </a:lnTo>
                        <a:lnTo>
                          <a:pt x="2063" y="10046"/>
                        </a:lnTo>
                        <a:lnTo>
                          <a:pt x="2011" y="10002"/>
                        </a:lnTo>
                        <a:lnTo>
                          <a:pt x="1959" y="9958"/>
                        </a:lnTo>
                        <a:lnTo>
                          <a:pt x="1908" y="9913"/>
                        </a:lnTo>
                        <a:lnTo>
                          <a:pt x="1857" y="9867"/>
                        </a:lnTo>
                        <a:lnTo>
                          <a:pt x="1807" y="9821"/>
                        </a:lnTo>
                        <a:lnTo>
                          <a:pt x="1758" y="9775"/>
                        </a:lnTo>
                        <a:lnTo>
                          <a:pt x="1709" y="9727"/>
                        </a:lnTo>
                        <a:lnTo>
                          <a:pt x="1660" y="9680"/>
                        </a:lnTo>
                        <a:lnTo>
                          <a:pt x="1613" y="9631"/>
                        </a:lnTo>
                        <a:lnTo>
                          <a:pt x="1565" y="9582"/>
                        </a:lnTo>
                        <a:lnTo>
                          <a:pt x="1519" y="9533"/>
                        </a:lnTo>
                        <a:lnTo>
                          <a:pt x="1473" y="9483"/>
                        </a:lnTo>
                        <a:lnTo>
                          <a:pt x="1427" y="9432"/>
                        </a:lnTo>
                        <a:lnTo>
                          <a:pt x="1382" y="9381"/>
                        </a:lnTo>
                        <a:lnTo>
                          <a:pt x="1338" y="9329"/>
                        </a:lnTo>
                        <a:lnTo>
                          <a:pt x="1294" y="9277"/>
                        </a:lnTo>
                        <a:lnTo>
                          <a:pt x="1251" y="9224"/>
                        </a:lnTo>
                        <a:lnTo>
                          <a:pt x="1209" y="9171"/>
                        </a:lnTo>
                        <a:lnTo>
                          <a:pt x="1167" y="9117"/>
                        </a:lnTo>
                        <a:lnTo>
                          <a:pt x="1126" y="9063"/>
                        </a:lnTo>
                        <a:lnTo>
                          <a:pt x="1086" y="9008"/>
                        </a:lnTo>
                        <a:lnTo>
                          <a:pt x="1046" y="8953"/>
                        </a:lnTo>
                        <a:lnTo>
                          <a:pt x="1007" y="8897"/>
                        </a:lnTo>
                        <a:lnTo>
                          <a:pt x="968" y="8840"/>
                        </a:lnTo>
                        <a:lnTo>
                          <a:pt x="930" y="8784"/>
                        </a:lnTo>
                        <a:lnTo>
                          <a:pt x="893" y="8726"/>
                        </a:lnTo>
                        <a:lnTo>
                          <a:pt x="856" y="8669"/>
                        </a:lnTo>
                        <a:lnTo>
                          <a:pt x="821" y="8610"/>
                        </a:lnTo>
                        <a:lnTo>
                          <a:pt x="785" y="8552"/>
                        </a:lnTo>
                        <a:lnTo>
                          <a:pt x="751" y="8493"/>
                        </a:lnTo>
                        <a:lnTo>
                          <a:pt x="717" y="8433"/>
                        </a:lnTo>
                        <a:lnTo>
                          <a:pt x="684" y="8373"/>
                        </a:lnTo>
                        <a:lnTo>
                          <a:pt x="652" y="8313"/>
                        </a:lnTo>
                        <a:lnTo>
                          <a:pt x="620" y="8252"/>
                        </a:lnTo>
                        <a:lnTo>
                          <a:pt x="589" y="8190"/>
                        </a:lnTo>
                        <a:lnTo>
                          <a:pt x="559" y="8129"/>
                        </a:lnTo>
                        <a:lnTo>
                          <a:pt x="529" y="8066"/>
                        </a:lnTo>
                        <a:lnTo>
                          <a:pt x="501" y="8004"/>
                        </a:lnTo>
                        <a:lnTo>
                          <a:pt x="473" y="7941"/>
                        </a:lnTo>
                        <a:lnTo>
                          <a:pt x="445" y="7877"/>
                        </a:lnTo>
                        <a:lnTo>
                          <a:pt x="419" y="7814"/>
                        </a:lnTo>
                        <a:lnTo>
                          <a:pt x="393" y="7749"/>
                        </a:lnTo>
                        <a:lnTo>
                          <a:pt x="368" y="7685"/>
                        </a:lnTo>
                        <a:lnTo>
                          <a:pt x="344" y="7620"/>
                        </a:lnTo>
                        <a:lnTo>
                          <a:pt x="320" y="7555"/>
                        </a:lnTo>
                        <a:lnTo>
                          <a:pt x="298" y="7489"/>
                        </a:lnTo>
                        <a:lnTo>
                          <a:pt x="276" y="7423"/>
                        </a:lnTo>
                        <a:lnTo>
                          <a:pt x="255" y="7357"/>
                        </a:lnTo>
                        <a:lnTo>
                          <a:pt x="234" y="7290"/>
                        </a:lnTo>
                        <a:lnTo>
                          <a:pt x="215" y="7223"/>
                        </a:lnTo>
                        <a:lnTo>
                          <a:pt x="196" y="7155"/>
                        </a:lnTo>
                        <a:lnTo>
                          <a:pt x="178" y="7088"/>
                        </a:lnTo>
                        <a:lnTo>
                          <a:pt x="161" y="7019"/>
                        </a:lnTo>
                        <a:lnTo>
                          <a:pt x="145" y="6951"/>
                        </a:lnTo>
                        <a:lnTo>
                          <a:pt x="130" y="6882"/>
                        </a:lnTo>
                        <a:lnTo>
                          <a:pt x="115" y="6813"/>
                        </a:lnTo>
                        <a:lnTo>
                          <a:pt x="101" y="6744"/>
                        </a:lnTo>
                        <a:lnTo>
                          <a:pt x="88" y="6674"/>
                        </a:lnTo>
                        <a:lnTo>
                          <a:pt x="76" y="6604"/>
                        </a:lnTo>
                        <a:lnTo>
                          <a:pt x="65" y="6534"/>
                        </a:lnTo>
                        <a:lnTo>
                          <a:pt x="55" y="6464"/>
                        </a:lnTo>
                        <a:lnTo>
                          <a:pt x="45" y="6393"/>
                        </a:lnTo>
                        <a:lnTo>
                          <a:pt x="37" y="6322"/>
                        </a:lnTo>
                        <a:lnTo>
                          <a:pt x="29" y="6250"/>
                        </a:lnTo>
                        <a:lnTo>
                          <a:pt x="22" y="6179"/>
                        </a:lnTo>
                        <a:lnTo>
                          <a:pt x="16" y="6107"/>
                        </a:lnTo>
                        <a:lnTo>
                          <a:pt x="11" y="6035"/>
                        </a:lnTo>
                        <a:lnTo>
                          <a:pt x="7" y="5962"/>
                        </a:lnTo>
                        <a:lnTo>
                          <a:pt x="4" y="5890"/>
                        </a:lnTo>
                        <a:lnTo>
                          <a:pt x="2" y="5817"/>
                        </a:lnTo>
                        <a:lnTo>
                          <a:pt x="0" y="5744"/>
                        </a:lnTo>
                        <a:lnTo>
                          <a:pt x="0" y="5671"/>
                        </a:lnTo>
                        <a:lnTo>
                          <a:pt x="0" y="5671"/>
                        </a:lnTo>
                        <a:lnTo>
                          <a:pt x="0" y="5596"/>
                        </a:lnTo>
                        <a:lnTo>
                          <a:pt x="2" y="5523"/>
                        </a:lnTo>
                        <a:lnTo>
                          <a:pt x="4" y="5451"/>
                        </a:lnTo>
                        <a:lnTo>
                          <a:pt x="7" y="5378"/>
                        </a:lnTo>
                        <a:lnTo>
                          <a:pt x="11" y="5306"/>
                        </a:lnTo>
                        <a:lnTo>
                          <a:pt x="16" y="5233"/>
                        </a:lnTo>
                        <a:lnTo>
                          <a:pt x="22" y="5162"/>
                        </a:lnTo>
                        <a:lnTo>
                          <a:pt x="29" y="5090"/>
                        </a:lnTo>
                        <a:lnTo>
                          <a:pt x="37" y="5019"/>
                        </a:lnTo>
                        <a:lnTo>
                          <a:pt x="45" y="4948"/>
                        </a:lnTo>
                        <a:lnTo>
                          <a:pt x="55" y="4877"/>
                        </a:lnTo>
                        <a:lnTo>
                          <a:pt x="65" y="4806"/>
                        </a:lnTo>
                        <a:lnTo>
                          <a:pt x="76" y="4736"/>
                        </a:lnTo>
                        <a:lnTo>
                          <a:pt x="88" y="4666"/>
                        </a:lnTo>
                        <a:lnTo>
                          <a:pt x="101" y="4596"/>
                        </a:lnTo>
                        <a:lnTo>
                          <a:pt x="115" y="4527"/>
                        </a:lnTo>
                        <a:lnTo>
                          <a:pt x="130" y="4458"/>
                        </a:lnTo>
                        <a:lnTo>
                          <a:pt x="145" y="4389"/>
                        </a:lnTo>
                        <a:lnTo>
                          <a:pt x="161" y="4321"/>
                        </a:lnTo>
                        <a:lnTo>
                          <a:pt x="178" y="4253"/>
                        </a:lnTo>
                        <a:lnTo>
                          <a:pt x="196" y="4185"/>
                        </a:lnTo>
                        <a:lnTo>
                          <a:pt x="215" y="4118"/>
                        </a:lnTo>
                        <a:lnTo>
                          <a:pt x="234" y="4050"/>
                        </a:lnTo>
                        <a:lnTo>
                          <a:pt x="255" y="3984"/>
                        </a:lnTo>
                        <a:lnTo>
                          <a:pt x="276" y="3917"/>
                        </a:lnTo>
                        <a:lnTo>
                          <a:pt x="298" y="3851"/>
                        </a:lnTo>
                        <a:lnTo>
                          <a:pt x="320" y="3786"/>
                        </a:lnTo>
                        <a:lnTo>
                          <a:pt x="344" y="3720"/>
                        </a:lnTo>
                        <a:lnTo>
                          <a:pt x="368" y="3655"/>
                        </a:lnTo>
                        <a:lnTo>
                          <a:pt x="393" y="3591"/>
                        </a:lnTo>
                        <a:lnTo>
                          <a:pt x="419" y="3527"/>
                        </a:lnTo>
                        <a:lnTo>
                          <a:pt x="445" y="3463"/>
                        </a:lnTo>
                        <a:lnTo>
                          <a:pt x="473" y="3399"/>
                        </a:lnTo>
                        <a:lnTo>
                          <a:pt x="501" y="3336"/>
                        </a:lnTo>
                        <a:lnTo>
                          <a:pt x="529" y="3274"/>
                        </a:lnTo>
                        <a:lnTo>
                          <a:pt x="559" y="3212"/>
                        </a:lnTo>
                        <a:lnTo>
                          <a:pt x="589" y="3150"/>
                        </a:lnTo>
                        <a:lnTo>
                          <a:pt x="620" y="3089"/>
                        </a:lnTo>
                        <a:lnTo>
                          <a:pt x="652" y="3028"/>
                        </a:lnTo>
                        <a:lnTo>
                          <a:pt x="684" y="2967"/>
                        </a:lnTo>
                        <a:lnTo>
                          <a:pt x="717" y="2907"/>
                        </a:lnTo>
                        <a:lnTo>
                          <a:pt x="751" y="2848"/>
                        </a:lnTo>
                        <a:lnTo>
                          <a:pt x="785" y="2788"/>
                        </a:lnTo>
                        <a:lnTo>
                          <a:pt x="821" y="2730"/>
                        </a:lnTo>
                        <a:lnTo>
                          <a:pt x="856" y="2672"/>
                        </a:lnTo>
                        <a:lnTo>
                          <a:pt x="893" y="2614"/>
                        </a:lnTo>
                        <a:lnTo>
                          <a:pt x="930" y="2557"/>
                        </a:lnTo>
                        <a:lnTo>
                          <a:pt x="968" y="2500"/>
                        </a:lnTo>
                        <a:lnTo>
                          <a:pt x="1007" y="2443"/>
                        </a:lnTo>
                        <a:lnTo>
                          <a:pt x="1046" y="2388"/>
                        </a:lnTo>
                        <a:lnTo>
                          <a:pt x="1086" y="2332"/>
                        </a:lnTo>
                        <a:lnTo>
                          <a:pt x="1126" y="2277"/>
                        </a:lnTo>
                        <a:lnTo>
                          <a:pt x="1167" y="2223"/>
                        </a:lnTo>
                        <a:lnTo>
                          <a:pt x="1209" y="2169"/>
                        </a:lnTo>
                        <a:lnTo>
                          <a:pt x="1251" y="2116"/>
                        </a:lnTo>
                        <a:lnTo>
                          <a:pt x="1294" y="2063"/>
                        </a:lnTo>
                        <a:lnTo>
                          <a:pt x="1338" y="2011"/>
                        </a:lnTo>
                        <a:lnTo>
                          <a:pt x="1382" y="1959"/>
                        </a:lnTo>
                        <a:lnTo>
                          <a:pt x="1427" y="1908"/>
                        </a:lnTo>
                        <a:lnTo>
                          <a:pt x="1473" y="1858"/>
                        </a:lnTo>
                        <a:lnTo>
                          <a:pt x="1519" y="1807"/>
                        </a:lnTo>
                        <a:lnTo>
                          <a:pt x="1565" y="1758"/>
                        </a:lnTo>
                        <a:lnTo>
                          <a:pt x="1613" y="1709"/>
                        </a:lnTo>
                        <a:lnTo>
                          <a:pt x="1660" y="1661"/>
                        </a:lnTo>
                        <a:lnTo>
                          <a:pt x="1709" y="1613"/>
                        </a:lnTo>
                        <a:lnTo>
                          <a:pt x="1758" y="1566"/>
                        </a:lnTo>
                        <a:lnTo>
                          <a:pt x="1807" y="1519"/>
                        </a:lnTo>
                        <a:lnTo>
                          <a:pt x="1857" y="1473"/>
                        </a:lnTo>
                        <a:lnTo>
                          <a:pt x="1908" y="1427"/>
                        </a:lnTo>
                        <a:lnTo>
                          <a:pt x="1959" y="1383"/>
                        </a:lnTo>
                        <a:lnTo>
                          <a:pt x="2011" y="1338"/>
                        </a:lnTo>
                        <a:lnTo>
                          <a:pt x="2063" y="1295"/>
                        </a:lnTo>
                        <a:lnTo>
                          <a:pt x="2116" y="1252"/>
                        </a:lnTo>
                        <a:lnTo>
                          <a:pt x="2169" y="1209"/>
                        </a:lnTo>
                        <a:lnTo>
                          <a:pt x="2223" y="1168"/>
                        </a:lnTo>
                        <a:lnTo>
                          <a:pt x="2277" y="1126"/>
                        </a:lnTo>
                        <a:lnTo>
                          <a:pt x="2332" y="1086"/>
                        </a:lnTo>
                        <a:lnTo>
                          <a:pt x="2387" y="1046"/>
                        </a:lnTo>
                        <a:lnTo>
                          <a:pt x="2443" y="1007"/>
                        </a:lnTo>
                        <a:lnTo>
                          <a:pt x="2499" y="968"/>
                        </a:lnTo>
                        <a:lnTo>
                          <a:pt x="2556" y="930"/>
                        </a:lnTo>
                        <a:lnTo>
                          <a:pt x="2613" y="893"/>
                        </a:lnTo>
                        <a:lnTo>
                          <a:pt x="2671" y="857"/>
                        </a:lnTo>
                        <a:lnTo>
                          <a:pt x="2729" y="821"/>
                        </a:lnTo>
                        <a:lnTo>
                          <a:pt x="2788" y="786"/>
                        </a:lnTo>
                        <a:lnTo>
                          <a:pt x="2847" y="751"/>
                        </a:lnTo>
                        <a:lnTo>
                          <a:pt x="2907" y="717"/>
                        </a:lnTo>
                        <a:lnTo>
                          <a:pt x="2967" y="684"/>
                        </a:lnTo>
                        <a:lnTo>
                          <a:pt x="3027" y="652"/>
                        </a:lnTo>
                        <a:lnTo>
                          <a:pt x="3088" y="620"/>
                        </a:lnTo>
                        <a:lnTo>
                          <a:pt x="3150" y="589"/>
                        </a:lnTo>
                        <a:lnTo>
                          <a:pt x="3211" y="559"/>
                        </a:lnTo>
                        <a:lnTo>
                          <a:pt x="3273" y="530"/>
                        </a:lnTo>
                        <a:lnTo>
                          <a:pt x="3336" y="501"/>
                        </a:lnTo>
                        <a:lnTo>
                          <a:pt x="3399" y="473"/>
                        </a:lnTo>
                        <a:lnTo>
                          <a:pt x="3462" y="446"/>
                        </a:lnTo>
                        <a:lnTo>
                          <a:pt x="3526" y="419"/>
                        </a:lnTo>
                        <a:lnTo>
                          <a:pt x="3590" y="393"/>
                        </a:lnTo>
                        <a:lnTo>
                          <a:pt x="3655" y="368"/>
                        </a:lnTo>
                        <a:lnTo>
                          <a:pt x="3720" y="344"/>
                        </a:lnTo>
                        <a:lnTo>
                          <a:pt x="3785" y="321"/>
                        </a:lnTo>
                        <a:lnTo>
                          <a:pt x="3851" y="298"/>
                        </a:lnTo>
                        <a:lnTo>
                          <a:pt x="3917" y="276"/>
                        </a:lnTo>
                        <a:lnTo>
                          <a:pt x="3983" y="255"/>
                        </a:lnTo>
                        <a:lnTo>
                          <a:pt x="4050" y="235"/>
                        </a:lnTo>
                        <a:lnTo>
                          <a:pt x="4117" y="215"/>
                        </a:lnTo>
                        <a:lnTo>
                          <a:pt x="4185" y="197"/>
                        </a:lnTo>
                        <a:lnTo>
                          <a:pt x="4252" y="179"/>
                        </a:lnTo>
                        <a:lnTo>
                          <a:pt x="4320" y="162"/>
                        </a:lnTo>
                        <a:lnTo>
                          <a:pt x="4389" y="145"/>
                        </a:lnTo>
                        <a:lnTo>
                          <a:pt x="4458" y="130"/>
                        </a:lnTo>
                        <a:lnTo>
                          <a:pt x="4527" y="115"/>
                        </a:lnTo>
                        <a:lnTo>
                          <a:pt x="4596" y="102"/>
                        </a:lnTo>
                        <a:lnTo>
                          <a:pt x="4666" y="89"/>
                        </a:lnTo>
                        <a:lnTo>
                          <a:pt x="4736" y="77"/>
                        </a:lnTo>
                        <a:lnTo>
                          <a:pt x="4806" y="65"/>
                        </a:lnTo>
                        <a:lnTo>
                          <a:pt x="4876" y="55"/>
                        </a:lnTo>
                        <a:lnTo>
                          <a:pt x="4947" y="46"/>
                        </a:lnTo>
                        <a:lnTo>
                          <a:pt x="5018" y="37"/>
                        </a:lnTo>
                        <a:lnTo>
                          <a:pt x="5090" y="29"/>
                        </a:lnTo>
                        <a:lnTo>
                          <a:pt x="5161" y="23"/>
                        </a:lnTo>
                        <a:lnTo>
                          <a:pt x="5233" y="17"/>
                        </a:lnTo>
                        <a:lnTo>
                          <a:pt x="5305" y="12"/>
                        </a:lnTo>
                        <a:lnTo>
                          <a:pt x="5378" y="8"/>
                        </a:lnTo>
                        <a:lnTo>
                          <a:pt x="5450" y="4"/>
                        </a:lnTo>
                        <a:lnTo>
                          <a:pt x="5523" y="2"/>
                        </a:lnTo>
                        <a:lnTo>
                          <a:pt x="5596" y="1"/>
                        </a:lnTo>
                        <a:lnTo>
                          <a:pt x="5669" y="0"/>
                        </a:lnTo>
                        <a:lnTo>
                          <a:pt x="5669" y="0"/>
                        </a:lnTo>
                        <a:lnTo>
                          <a:pt x="5744" y="1"/>
                        </a:lnTo>
                        <a:lnTo>
                          <a:pt x="5817" y="2"/>
                        </a:lnTo>
                        <a:lnTo>
                          <a:pt x="5890" y="4"/>
                        </a:lnTo>
                        <a:lnTo>
                          <a:pt x="5962" y="8"/>
                        </a:lnTo>
                        <a:lnTo>
                          <a:pt x="6034" y="12"/>
                        </a:lnTo>
                        <a:lnTo>
                          <a:pt x="6107" y="17"/>
                        </a:lnTo>
                        <a:lnTo>
                          <a:pt x="6178" y="23"/>
                        </a:lnTo>
                        <a:lnTo>
                          <a:pt x="6250" y="29"/>
                        </a:lnTo>
                        <a:lnTo>
                          <a:pt x="6321" y="37"/>
                        </a:lnTo>
                        <a:lnTo>
                          <a:pt x="6392" y="46"/>
                        </a:lnTo>
                        <a:lnTo>
                          <a:pt x="6463" y="55"/>
                        </a:lnTo>
                        <a:lnTo>
                          <a:pt x="6534" y="65"/>
                        </a:lnTo>
                        <a:lnTo>
                          <a:pt x="6604" y="77"/>
                        </a:lnTo>
                        <a:lnTo>
                          <a:pt x="6674" y="89"/>
                        </a:lnTo>
                        <a:lnTo>
                          <a:pt x="6744" y="102"/>
                        </a:lnTo>
                        <a:lnTo>
                          <a:pt x="6813" y="115"/>
                        </a:lnTo>
                        <a:lnTo>
                          <a:pt x="6882" y="130"/>
                        </a:lnTo>
                        <a:lnTo>
                          <a:pt x="6951" y="145"/>
                        </a:lnTo>
                        <a:lnTo>
                          <a:pt x="7019" y="162"/>
                        </a:lnTo>
                        <a:lnTo>
                          <a:pt x="7087" y="179"/>
                        </a:lnTo>
                        <a:lnTo>
                          <a:pt x="7155" y="197"/>
                        </a:lnTo>
                        <a:lnTo>
                          <a:pt x="7222" y="215"/>
                        </a:lnTo>
                        <a:lnTo>
                          <a:pt x="7289" y="235"/>
                        </a:lnTo>
                        <a:lnTo>
                          <a:pt x="7356" y="255"/>
                        </a:lnTo>
                        <a:lnTo>
                          <a:pt x="7423" y="276"/>
                        </a:lnTo>
                        <a:lnTo>
                          <a:pt x="7489" y="298"/>
                        </a:lnTo>
                        <a:lnTo>
                          <a:pt x="7554" y="321"/>
                        </a:lnTo>
                        <a:lnTo>
                          <a:pt x="7620" y="344"/>
                        </a:lnTo>
                        <a:lnTo>
                          <a:pt x="7685" y="368"/>
                        </a:lnTo>
                        <a:lnTo>
                          <a:pt x="7749" y="393"/>
                        </a:lnTo>
                        <a:lnTo>
                          <a:pt x="7813" y="419"/>
                        </a:lnTo>
                        <a:lnTo>
                          <a:pt x="7877" y="446"/>
                        </a:lnTo>
                        <a:lnTo>
                          <a:pt x="7940" y="473"/>
                        </a:lnTo>
                        <a:lnTo>
                          <a:pt x="8003" y="501"/>
                        </a:lnTo>
                        <a:lnTo>
                          <a:pt x="8066" y="530"/>
                        </a:lnTo>
                        <a:lnTo>
                          <a:pt x="8128" y="559"/>
                        </a:lnTo>
                        <a:lnTo>
                          <a:pt x="8190" y="589"/>
                        </a:lnTo>
                        <a:lnTo>
                          <a:pt x="8251" y="620"/>
                        </a:lnTo>
                        <a:lnTo>
                          <a:pt x="8312" y="652"/>
                        </a:lnTo>
                        <a:lnTo>
                          <a:pt x="8373" y="684"/>
                        </a:lnTo>
                        <a:lnTo>
                          <a:pt x="8433" y="717"/>
                        </a:lnTo>
                        <a:lnTo>
                          <a:pt x="8492" y="751"/>
                        </a:lnTo>
                        <a:lnTo>
                          <a:pt x="8551" y="786"/>
                        </a:lnTo>
                        <a:lnTo>
                          <a:pt x="8610" y="821"/>
                        </a:lnTo>
                        <a:lnTo>
                          <a:pt x="8668" y="857"/>
                        </a:lnTo>
                        <a:lnTo>
                          <a:pt x="8726" y="893"/>
                        </a:lnTo>
                        <a:lnTo>
                          <a:pt x="8783" y="930"/>
                        </a:lnTo>
                        <a:lnTo>
                          <a:pt x="8840" y="968"/>
                        </a:lnTo>
                        <a:lnTo>
                          <a:pt x="8896" y="1007"/>
                        </a:lnTo>
                        <a:lnTo>
                          <a:pt x="8952" y="1046"/>
                        </a:lnTo>
                        <a:lnTo>
                          <a:pt x="9008" y="1086"/>
                        </a:lnTo>
                        <a:lnTo>
                          <a:pt x="9062" y="1126"/>
                        </a:lnTo>
                        <a:lnTo>
                          <a:pt x="9117" y="1168"/>
                        </a:lnTo>
                        <a:lnTo>
                          <a:pt x="9170" y="1209"/>
                        </a:lnTo>
                        <a:lnTo>
                          <a:pt x="9224" y="1252"/>
                        </a:lnTo>
                        <a:lnTo>
                          <a:pt x="9277" y="1295"/>
                        </a:lnTo>
                        <a:lnTo>
                          <a:pt x="9329" y="1338"/>
                        </a:lnTo>
                        <a:lnTo>
                          <a:pt x="9380" y="1383"/>
                        </a:lnTo>
                        <a:lnTo>
                          <a:pt x="9432" y="1427"/>
                        </a:lnTo>
                        <a:lnTo>
                          <a:pt x="9482" y="1473"/>
                        </a:lnTo>
                        <a:lnTo>
                          <a:pt x="9532" y="1519"/>
                        </a:lnTo>
                        <a:lnTo>
                          <a:pt x="9582" y="1566"/>
                        </a:lnTo>
                        <a:lnTo>
                          <a:pt x="9631" y="1613"/>
                        </a:lnTo>
                        <a:lnTo>
                          <a:pt x="9679" y="1661"/>
                        </a:lnTo>
                        <a:lnTo>
                          <a:pt x="9727" y="1709"/>
                        </a:lnTo>
                        <a:lnTo>
                          <a:pt x="9774" y="1758"/>
                        </a:lnTo>
                        <a:lnTo>
                          <a:pt x="9821" y="1807"/>
                        </a:lnTo>
                        <a:lnTo>
                          <a:pt x="9867" y="1858"/>
                        </a:lnTo>
                        <a:lnTo>
                          <a:pt x="9912" y="1908"/>
                        </a:lnTo>
                        <a:lnTo>
                          <a:pt x="9957" y="1959"/>
                        </a:lnTo>
                        <a:lnTo>
                          <a:pt x="10001" y="2011"/>
                        </a:lnTo>
                        <a:lnTo>
                          <a:pt x="10045" y="2063"/>
                        </a:lnTo>
                        <a:lnTo>
                          <a:pt x="10088" y="2116"/>
                        </a:lnTo>
                        <a:lnTo>
                          <a:pt x="10130" y="2169"/>
                        </a:lnTo>
                        <a:lnTo>
                          <a:pt x="10172" y="2223"/>
                        </a:lnTo>
                        <a:lnTo>
                          <a:pt x="10213" y="2277"/>
                        </a:lnTo>
                        <a:lnTo>
                          <a:pt x="10254" y="2332"/>
                        </a:lnTo>
                        <a:lnTo>
                          <a:pt x="10294" y="2388"/>
                        </a:lnTo>
                        <a:lnTo>
                          <a:pt x="10333" y="2443"/>
                        </a:lnTo>
                        <a:lnTo>
                          <a:pt x="10371" y="2500"/>
                        </a:lnTo>
                        <a:lnTo>
                          <a:pt x="10409" y="2557"/>
                        </a:lnTo>
                        <a:lnTo>
                          <a:pt x="10446" y="2614"/>
                        </a:lnTo>
                        <a:lnTo>
                          <a:pt x="10483" y="2672"/>
                        </a:lnTo>
                        <a:lnTo>
                          <a:pt x="10519" y="2730"/>
                        </a:lnTo>
                        <a:lnTo>
                          <a:pt x="10554" y="2788"/>
                        </a:lnTo>
                        <a:lnTo>
                          <a:pt x="10588" y="2848"/>
                        </a:lnTo>
                        <a:lnTo>
                          <a:pt x="10622" y="2907"/>
                        </a:lnTo>
                        <a:lnTo>
                          <a:pt x="10655" y="2967"/>
                        </a:lnTo>
                        <a:lnTo>
                          <a:pt x="10688" y="3028"/>
                        </a:lnTo>
                        <a:lnTo>
                          <a:pt x="10719" y="3089"/>
                        </a:lnTo>
                        <a:lnTo>
                          <a:pt x="10750" y="3150"/>
                        </a:lnTo>
                        <a:lnTo>
                          <a:pt x="10780" y="3212"/>
                        </a:lnTo>
                        <a:lnTo>
                          <a:pt x="10810" y="3274"/>
                        </a:lnTo>
                        <a:lnTo>
                          <a:pt x="10839" y="3336"/>
                        </a:lnTo>
                        <a:lnTo>
                          <a:pt x="10867" y="3399"/>
                        </a:lnTo>
                        <a:lnTo>
                          <a:pt x="10894" y="3463"/>
                        </a:lnTo>
                        <a:lnTo>
                          <a:pt x="10921" y="3527"/>
                        </a:lnTo>
                        <a:lnTo>
                          <a:pt x="10946" y="3591"/>
                        </a:lnTo>
                        <a:lnTo>
                          <a:pt x="10971" y="3655"/>
                        </a:lnTo>
                        <a:lnTo>
                          <a:pt x="10996" y="3720"/>
                        </a:lnTo>
                        <a:lnTo>
                          <a:pt x="11019" y="3786"/>
                        </a:lnTo>
                        <a:lnTo>
                          <a:pt x="11042" y="3851"/>
                        </a:lnTo>
                        <a:lnTo>
                          <a:pt x="11064" y="3917"/>
                        </a:lnTo>
                        <a:lnTo>
                          <a:pt x="11085" y="3984"/>
                        </a:lnTo>
                        <a:lnTo>
                          <a:pt x="11105" y="4050"/>
                        </a:lnTo>
                        <a:lnTo>
                          <a:pt x="11124" y="4118"/>
                        </a:lnTo>
                        <a:lnTo>
                          <a:pt x="11143" y="4185"/>
                        </a:lnTo>
                        <a:lnTo>
                          <a:pt x="11161" y="4253"/>
                        </a:lnTo>
                        <a:lnTo>
                          <a:pt x="11178" y="4321"/>
                        </a:lnTo>
                        <a:lnTo>
                          <a:pt x="11194" y="4389"/>
                        </a:lnTo>
                        <a:lnTo>
                          <a:pt x="11210" y="4458"/>
                        </a:lnTo>
                        <a:lnTo>
                          <a:pt x="11224" y="4527"/>
                        </a:lnTo>
                        <a:lnTo>
                          <a:pt x="11238" y="4596"/>
                        </a:lnTo>
                        <a:lnTo>
                          <a:pt x="11251" y="4666"/>
                        </a:lnTo>
                        <a:lnTo>
                          <a:pt x="11263" y="4736"/>
                        </a:lnTo>
                        <a:lnTo>
                          <a:pt x="11274" y="4806"/>
                        </a:lnTo>
                        <a:lnTo>
                          <a:pt x="11285" y="4877"/>
                        </a:lnTo>
                        <a:lnTo>
                          <a:pt x="11294" y="4948"/>
                        </a:lnTo>
                        <a:lnTo>
                          <a:pt x="11303" y="5019"/>
                        </a:lnTo>
                        <a:lnTo>
                          <a:pt x="11310" y="5090"/>
                        </a:lnTo>
                        <a:lnTo>
                          <a:pt x="11317" y="5162"/>
                        </a:lnTo>
                        <a:lnTo>
                          <a:pt x="11323" y="5233"/>
                        </a:lnTo>
                        <a:lnTo>
                          <a:pt x="11328" y="5306"/>
                        </a:lnTo>
                        <a:lnTo>
                          <a:pt x="11332" y="5378"/>
                        </a:lnTo>
                        <a:lnTo>
                          <a:pt x="11335" y="5451"/>
                        </a:lnTo>
                        <a:lnTo>
                          <a:pt x="11338" y="5523"/>
                        </a:lnTo>
                        <a:lnTo>
                          <a:pt x="11339" y="5596"/>
                        </a:lnTo>
                        <a:lnTo>
                          <a:pt x="11340" y="5671"/>
                        </a:lnTo>
                      </a:path>
                    </a:pathLst>
                  </a:custGeom>
                  <a:no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  <p:sp>
                <p:nvSpPr>
                  <p:cNvPr id="290" name="Freeform 8">
                    <a:extLst>
                      <a:ext uri="{FF2B5EF4-FFF2-40B4-BE49-F238E27FC236}">
                        <a16:creationId xmlns:a16="http://schemas.microsoft.com/office/drawing/2014/main" id="{C382C2D5-7E89-4D5F-AC59-E62FA26FB7F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1510" y="1566"/>
                    <a:ext cx="1615" cy="1653"/>
                  </a:xfrm>
                  <a:custGeom>
                    <a:avLst/>
                    <a:gdLst/>
                    <a:ahLst/>
                    <a:cxnLst>
                      <a:cxn ang="0">
                        <a:pos x="4319" y="2213"/>
                      </a:cxn>
                      <a:cxn ang="0">
                        <a:pos x="4796" y="1894"/>
                      </a:cxn>
                      <a:cxn ang="0">
                        <a:pos x="4876" y="1759"/>
                      </a:cxn>
                      <a:cxn ang="0">
                        <a:pos x="4526" y="1075"/>
                      </a:cxn>
                      <a:cxn ang="0">
                        <a:pos x="4005" y="1264"/>
                      </a:cxn>
                      <a:cxn ang="0">
                        <a:pos x="3815" y="1225"/>
                      </a:cxn>
                      <a:cxn ang="0">
                        <a:pos x="3367" y="807"/>
                      </a:cxn>
                      <a:cxn ang="0">
                        <a:pos x="3456" y="245"/>
                      </a:cxn>
                      <a:cxn ang="0">
                        <a:pos x="2745" y="3"/>
                      </a:cxn>
                      <a:cxn ang="0">
                        <a:pos x="2590" y="70"/>
                      </a:cxn>
                      <a:cxn ang="0">
                        <a:pos x="2416" y="615"/>
                      </a:cxn>
                      <a:cxn ang="0">
                        <a:pos x="1822" y="774"/>
                      </a:cxn>
                      <a:cxn ang="0">
                        <a:pos x="1644" y="700"/>
                      </a:cxn>
                      <a:cxn ang="0">
                        <a:pos x="1252" y="324"/>
                      </a:cxn>
                      <a:cxn ang="0">
                        <a:pos x="653" y="807"/>
                      </a:cxn>
                      <a:cxn ang="0">
                        <a:pos x="942" y="1274"/>
                      </a:cxn>
                      <a:cxn ang="0">
                        <a:pos x="960" y="1467"/>
                      </a:cxn>
                      <a:cxn ang="0">
                        <a:pos x="660" y="2003"/>
                      </a:cxn>
                      <a:cxn ang="0">
                        <a:pos x="90" y="2042"/>
                      </a:cxn>
                      <a:cxn ang="0">
                        <a:pos x="0" y="2797"/>
                      </a:cxn>
                      <a:cxn ang="0">
                        <a:pos x="86" y="2927"/>
                      </a:cxn>
                      <a:cxn ang="0">
                        <a:pos x="656" y="2972"/>
                      </a:cxn>
                      <a:cxn ang="0">
                        <a:pos x="952" y="3509"/>
                      </a:cxn>
                      <a:cxn ang="0">
                        <a:pos x="932" y="3702"/>
                      </a:cxn>
                      <a:cxn ang="0">
                        <a:pos x="640" y="4167"/>
                      </a:cxn>
                      <a:cxn ang="0">
                        <a:pos x="1235" y="4655"/>
                      </a:cxn>
                      <a:cxn ang="0">
                        <a:pos x="1630" y="4283"/>
                      </a:cxn>
                      <a:cxn ang="0">
                        <a:pos x="1809" y="4210"/>
                      </a:cxn>
                      <a:cxn ang="0">
                        <a:pos x="2403" y="4373"/>
                      </a:cxn>
                      <a:cxn ang="0">
                        <a:pos x="2574" y="4919"/>
                      </a:cxn>
                      <a:cxn ang="0">
                        <a:pos x="2728" y="4987"/>
                      </a:cxn>
                      <a:cxn ang="0">
                        <a:pos x="3441" y="4750"/>
                      </a:cxn>
                      <a:cxn ang="0">
                        <a:pos x="3356" y="4187"/>
                      </a:cxn>
                      <a:cxn ang="0">
                        <a:pos x="3806" y="3773"/>
                      </a:cxn>
                      <a:cxn ang="0">
                        <a:pos x="3997" y="3735"/>
                      </a:cxn>
                      <a:cxn ang="0">
                        <a:pos x="4516" y="3927"/>
                      </a:cxn>
                      <a:cxn ang="0">
                        <a:pos x="4871" y="3245"/>
                      </a:cxn>
                      <a:cxn ang="0">
                        <a:pos x="4421" y="2930"/>
                      </a:cxn>
                      <a:cxn ang="0">
                        <a:pos x="4317" y="2787"/>
                      </a:cxn>
                      <a:cxn ang="0">
                        <a:pos x="3788" y="2500"/>
                      </a:cxn>
                      <a:cxn ang="0">
                        <a:pos x="3728" y="2887"/>
                      </a:cxn>
                      <a:cxn ang="0">
                        <a:pos x="3545" y="3252"/>
                      </a:cxn>
                      <a:cxn ang="0">
                        <a:pos x="3261" y="3541"/>
                      </a:cxn>
                      <a:cxn ang="0">
                        <a:pos x="2899" y="3730"/>
                      </a:cxn>
                      <a:cxn ang="0">
                        <a:pos x="2481" y="3796"/>
                      </a:cxn>
                      <a:cxn ang="0">
                        <a:pos x="2093" y="3736"/>
                      </a:cxn>
                      <a:cxn ang="0">
                        <a:pos x="1728" y="3553"/>
                      </a:cxn>
                      <a:cxn ang="0">
                        <a:pos x="1439" y="3269"/>
                      </a:cxn>
                      <a:cxn ang="0">
                        <a:pos x="1250" y="2907"/>
                      </a:cxn>
                      <a:cxn ang="0">
                        <a:pos x="1184" y="2490"/>
                      </a:cxn>
                      <a:cxn ang="0">
                        <a:pos x="1244" y="2102"/>
                      </a:cxn>
                      <a:cxn ang="0">
                        <a:pos x="1427" y="1736"/>
                      </a:cxn>
                      <a:cxn ang="0">
                        <a:pos x="1711" y="1448"/>
                      </a:cxn>
                      <a:cxn ang="0">
                        <a:pos x="2073" y="1259"/>
                      </a:cxn>
                      <a:cxn ang="0">
                        <a:pos x="2492" y="1192"/>
                      </a:cxn>
                      <a:cxn ang="0">
                        <a:pos x="2878" y="1252"/>
                      </a:cxn>
                      <a:cxn ang="0">
                        <a:pos x="3244" y="1435"/>
                      </a:cxn>
                      <a:cxn ang="0">
                        <a:pos x="3532" y="1719"/>
                      </a:cxn>
                      <a:cxn ang="0">
                        <a:pos x="3721" y="2081"/>
                      </a:cxn>
                      <a:cxn ang="0">
                        <a:pos x="3788" y="2500"/>
                      </a:cxn>
                    </a:cxnLst>
                    <a:rect l="0" t="0" r="r" b="b"/>
                    <a:pathLst>
                      <a:path w="4876" h="4990">
                        <a:moveTo>
                          <a:pt x="4332" y="2502"/>
                        </a:moveTo>
                        <a:lnTo>
                          <a:pt x="4332" y="2502"/>
                        </a:lnTo>
                        <a:lnTo>
                          <a:pt x="4331" y="2455"/>
                        </a:lnTo>
                        <a:lnTo>
                          <a:pt x="4329" y="2412"/>
                        </a:lnTo>
                        <a:lnTo>
                          <a:pt x="4327" y="2373"/>
                        </a:lnTo>
                        <a:lnTo>
                          <a:pt x="4324" y="2340"/>
                        </a:lnTo>
                        <a:lnTo>
                          <a:pt x="4319" y="2291"/>
                        </a:lnTo>
                        <a:lnTo>
                          <a:pt x="4317" y="2273"/>
                        </a:lnTo>
                        <a:lnTo>
                          <a:pt x="4317" y="2273"/>
                        </a:lnTo>
                        <a:lnTo>
                          <a:pt x="4315" y="2258"/>
                        </a:lnTo>
                        <a:lnTo>
                          <a:pt x="4315" y="2243"/>
                        </a:lnTo>
                        <a:lnTo>
                          <a:pt x="4317" y="2228"/>
                        </a:lnTo>
                        <a:lnTo>
                          <a:pt x="4319" y="2213"/>
                        </a:lnTo>
                        <a:lnTo>
                          <a:pt x="4323" y="2199"/>
                        </a:lnTo>
                        <a:lnTo>
                          <a:pt x="4327" y="2184"/>
                        </a:lnTo>
                        <a:lnTo>
                          <a:pt x="4333" y="2170"/>
                        </a:lnTo>
                        <a:lnTo>
                          <a:pt x="4340" y="2156"/>
                        </a:lnTo>
                        <a:lnTo>
                          <a:pt x="4348" y="2142"/>
                        </a:lnTo>
                        <a:lnTo>
                          <a:pt x="4356" y="2130"/>
                        </a:lnTo>
                        <a:lnTo>
                          <a:pt x="4366" y="2117"/>
                        </a:lnTo>
                        <a:lnTo>
                          <a:pt x="4376" y="2106"/>
                        </a:lnTo>
                        <a:lnTo>
                          <a:pt x="4387" y="2096"/>
                        </a:lnTo>
                        <a:lnTo>
                          <a:pt x="4399" y="2087"/>
                        </a:lnTo>
                        <a:lnTo>
                          <a:pt x="4411" y="2078"/>
                        </a:lnTo>
                        <a:lnTo>
                          <a:pt x="4424" y="2071"/>
                        </a:lnTo>
                        <a:lnTo>
                          <a:pt x="4796" y="1894"/>
                        </a:lnTo>
                        <a:lnTo>
                          <a:pt x="4796" y="1894"/>
                        </a:lnTo>
                        <a:lnTo>
                          <a:pt x="4809" y="1887"/>
                        </a:lnTo>
                        <a:lnTo>
                          <a:pt x="4820" y="1879"/>
                        </a:lnTo>
                        <a:lnTo>
                          <a:pt x="4831" y="1870"/>
                        </a:lnTo>
                        <a:lnTo>
                          <a:pt x="4841" y="1860"/>
                        </a:lnTo>
                        <a:lnTo>
                          <a:pt x="4849" y="1849"/>
                        </a:lnTo>
                        <a:lnTo>
                          <a:pt x="4857" y="1838"/>
                        </a:lnTo>
                        <a:lnTo>
                          <a:pt x="4863" y="1826"/>
                        </a:lnTo>
                        <a:lnTo>
                          <a:pt x="4868" y="1813"/>
                        </a:lnTo>
                        <a:lnTo>
                          <a:pt x="4872" y="1800"/>
                        </a:lnTo>
                        <a:lnTo>
                          <a:pt x="4875" y="1787"/>
                        </a:lnTo>
                        <a:lnTo>
                          <a:pt x="4876" y="1773"/>
                        </a:lnTo>
                        <a:lnTo>
                          <a:pt x="4876" y="1759"/>
                        </a:lnTo>
                        <a:lnTo>
                          <a:pt x="4875" y="1746"/>
                        </a:lnTo>
                        <a:lnTo>
                          <a:pt x="4872" y="1732"/>
                        </a:lnTo>
                        <a:lnTo>
                          <a:pt x="4868" y="1718"/>
                        </a:lnTo>
                        <a:lnTo>
                          <a:pt x="4863" y="1705"/>
                        </a:lnTo>
                        <a:lnTo>
                          <a:pt x="4595" y="1142"/>
                        </a:lnTo>
                        <a:lnTo>
                          <a:pt x="4595" y="1142"/>
                        </a:lnTo>
                        <a:lnTo>
                          <a:pt x="4588" y="1130"/>
                        </a:lnTo>
                        <a:lnTo>
                          <a:pt x="4580" y="1118"/>
                        </a:lnTo>
                        <a:lnTo>
                          <a:pt x="4571" y="1107"/>
                        </a:lnTo>
                        <a:lnTo>
                          <a:pt x="4561" y="1097"/>
                        </a:lnTo>
                        <a:lnTo>
                          <a:pt x="4550" y="1089"/>
                        </a:lnTo>
                        <a:lnTo>
                          <a:pt x="4539" y="1081"/>
                        </a:lnTo>
                        <a:lnTo>
                          <a:pt x="4526" y="1075"/>
                        </a:lnTo>
                        <a:lnTo>
                          <a:pt x="4514" y="1070"/>
                        </a:lnTo>
                        <a:lnTo>
                          <a:pt x="4501" y="1066"/>
                        </a:lnTo>
                        <a:lnTo>
                          <a:pt x="4487" y="1063"/>
                        </a:lnTo>
                        <a:lnTo>
                          <a:pt x="4474" y="1062"/>
                        </a:lnTo>
                        <a:lnTo>
                          <a:pt x="4460" y="1062"/>
                        </a:lnTo>
                        <a:lnTo>
                          <a:pt x="4446" y="1063"/>
                        </a:lnTo>
                        <a:lnTo>
                          <a:pt x="4433" y="1066"/>
                        </a:lnTo>
                        <a:lnTo>
                          <a:pt x="4419" y="1070"/>
                        </a:lnTo>
                        <a:lnTo>
                          <a:pt x="4406" y="1075"/>
                        </a:lnTo>
                        <a:lnTo>
                          <a:pt x="4033" y="1253"/>
                        </a:lnTo>
                        <a:lnTo>
                          <a:pt x="4033" y="1253"/>
                        </a:lnTo>
                        <a:lnTo>
                          <a:pt x="4019" y="1259"/>
                        </a:lnTo>
                        <a:lnTo>
                          <a:pt x="4005" y="1264"/>
                        </a:lnTo>
                        <a:lnTo>
                          <a:pt x="3990" y="1267"/>
                        </a:lnTo>
                        <a:lnTo>
                          <a:pt x="3975" y="1269"/>
                        </a:lnTo>
                        <a:lnTo>
                          <a:pt x="3960" y="1271"/>
                        </a:lnTo>
                        <a:lnTo>
                          <a:pt x="3944" y="1271"/>
                        </a:lnTo>
                        <a:lnTo>
                          <a:pt x="3928" y="1270"/>
                        </a:lnTo>
                        <a:lnTo>
                          <a:pt x="3913" y="1267"/>
                        </a:lnTo>
                        <a:lnTo>
                          <a:pt x="3897" y="1264"/>
                        </a:lnTo>
                        <a:lnTo>
                          <a:pt x="3882" y="1260"/>
                        </a:lnTo>
                        <a:lnTo>
                          <a:pt x="3867" y="1255"/>
                        </a:lnTo>
                        <a:lnTo>
                          <a:pt x="3853" y="1249"/>
                        </a:lnTo>
                        <a:lnTo>
                          <a:pt x="3839" y="1242"/>
                        </a:lnTo>
                        <a:lnTo>
                          <a:pt x="3827" y="1234"/>
                        </a:lnTo>
                        <a:lnTo>
                          <a:pt x="3815" y="1225"/>
                        </a:lnTo>
                        <a:lnTo>
                          <a:pt x="3804" y="1215"/>
                        </a:lnTo>
                        <a:lnTo>
                          <a:pt x="3451" y="932"/>
                        </a:lnTo>
                        <a:lnTo>
                          <a:pt x="3451" y="932"/>
                        </a:lnTo>
                        <a:lnTo>
                          <a:pt x="3439" y="924"/>
                        </a:lnTo>
                        <a:lnTo>
                          <a:pt x="3428" y="914"/>
                        </a:lnTo>
                        <a:lnTo>
                          <a:pt x="3417" y="903"/>
                        </a:lnTo>
                        <a:lnTo>
                          <a:pt x="3407" y="891"/>
                        </a:lnTo>
                        <a:lnTo>
                          <a:pt x="3398" y="879"/>
                        </a:lnTo>
                        <a:lnTo>
                          <a:pt x="3390" y="865"/>
                        </a:lnTo>
                        <a:lnTo>
                          <a:pt x="3383" y="852"/>
                        </a:lnTo>
                        <a:lnTo>
                          <a:pt x="3376" y="837"/>
                        </a:lnTo>
                        <a:lnTo>
                          <a:pt x="3371" y="822"/>
                        </a:lnTo>
                        <a:lnTo>
                          <a:pt x="3367" y="807"/>
                        </a:lnTo>
                        <a:lnTo>
                          <a:pt x="3363" y="792"/>
                        </a:lnTo>
                        <a:lnTo>
                          <a:pt x="3361" y="777"/>
                        </a:lnTo>
                        <a:lnTo>
                          <a:pt x="3360" y="761"/>
                        </a:lnTo>
                        <a:lnTo>
                          <a:pt x="3360" y="746"/>
                        </a:lnTo>
                        <a:lnTo>
                          <a:pt x="3362" y="731"/>
                        </a:lnTo>
                        <a:lnTo>
                          <a:pt x="3364" y="717"/>
                        </a:lnTo>
                        <a:lnTo>
                          <a:pt x="3458" y="314"/>
                        </a:lnTo>
                        <a:lnTo>
                          <a:pt x="3458" y="314"/>
                        </a:lnTo>
                        <a:lnTo>
                          <a:pt x="3460" y="300"/>
                        </a:lnTo>
                        <a:lnTo>
                          <a:pt x="3461" y="286"/>
                        </a:lnTo>
                        <a:lnTo>
                          <a:pt x="3461" y="272"/>
                        </a:lnTo>
                        <a:lnTo>
                          <a:pt x="3459" y="258"/>
                        </a:lnTo>
                        <a:lnTo>
                          <a:pt x="3456" y="245"/>
                        </a:lnTo>
                        <a:lnTo>
                          <a:pt x="3452" y="232"/>
                        </a:lnTo>
                        <a:lnTo>
                          <a:pt x="3447" y="219"/>
                        </a:lnTo>
                        <a:lnTo>
                          <a:pt x="3440" y="207"/>
                        </a:lnTo>
                        <a:lnTo>
                          <a:pt x="3432" y="196"/>
                        </a:lnTo>
                        <a:lnTo>
                          <a:pt x="3423" y="186"/>
                        </a:lnTo>
                        <a:lnTo>
                          <a:pt x="3414" y="176"/>
                        </a:lnTo>
                        <a:lnTo>
                          <a:pt x="3403" y="168"/>
                        </a:lnTo>
                        <a:lnTo>
                          <a:pt x="3391" y="160"/>
                        </a:lnTo>
                        <a:lnTo>
                          <a:pt x="3379" y="153"/>
                        </a:lnTo>
                        <a:lnTo>
                          <a:pt x="3366" y="148"/>
                        </a:lnTo>
                        <a:lnTo>
                          <a:pt x="3352" y="144"/>
                        </a:lnTo>
                        <a:lnTo>
                          <a:pt x="2745" y="3"/>
                        </a:lnTo>
                        <a:lnTo>
                          <a:pt x="2745" y="3"/>
                        </a:lnTo>
                        <a:lnTo>
                          <a:pt x="2730" y="1"/>
                        </a:lnTo>
                        <a:lnTo>
                          <a:pt x="2716" y="0"/>
                        </a:lnTo>
                        <a:lnTo>
                          <a:pt x="2702" y="0"/>
                        </a:lnTo>
                        <a:lnTo>
                          <a:pt x="2688" y="2"/>
                        </a:lnTo>
                        <a:lnTo>
                          <a:pt x="2675" y="5"/>
                        </a:lnTo>
                        <a:lnTo>
                          <a:pt x="2662" y="9"/>
                        </a:lnTo>
                        <a:lnTo>
                          <a:pt x="2649" y="15"/>
                        </a:lnTo>
                        <a:lnTo>
                          <a:pt x="2638" y="21"/>
                        </a:lnTo>
                        <a:lnTo>
                          <a:pt x="2626" y="29"/>
                        </a:lnTo>
                        <a:lnTo>
                          <a:pt x="2616" y="38"/>
                        </a:lnTo>
                        <a:lnTo>
                          <a:pt x="2606" y="48"/>
                        </a:lnTo>
                        <a:lnTo>
                          <a:pt x="2598" y="58"/>
                        </a:lnTo>
                        <a:lnTo>
                          <a:pt x="2590" y="70"/>
                        </a:lnTo>
                        <a:lnTo>
                          <a:pt x="2584" y="82"/>
                        </a:lnTo>
                        <a:lnTo>
                          <a:pt x="2578" y="96"/>
                        </a:lnTo>
                        <a:lnTo>
                          <a:pt x="2574" y="110"/>
                        </a:lnTo>
                        <a:lnTo>
                          <a:pt x="2481" y="512"/>
                        </a:lnTo>
                        <a:lnTo>
                          <a:pt x="2481" y="512"/>
                        </a:lnTo>
                        <a:lnTo>
                          <a:pt x="2477" y="526"/>
                        </a:lnTo>
                        <a:lnTo>
                          <a:pt x="2472" y="540"/>
                        </a:lnTo>
                        <a:lnTo>
                          <a:pt x="2465" y="554"/>
                        </a:lnTo>
                        <a:lnTo>
                          <a:pt x="2457" y="567"/>
                        </a:lnTo>
                        <a:lnTo>
                          <a:pt x="2448" y="580"/>
                        </a:lnTo>
                        <a:lnTo>
                          <a:pt x="2438" y="592"/>
                        </a:lnTo>
                        <a:lnTo>
                          <a:pt x="2428" y="604"/>
                        </a:lnTo>
                        <a:lnTo>
                          <a:pt x="2416" y="615"/>
                        </a:lnTo>
                        <a:lnTo>
                          <a:pt x="2404" y="625"/>
                        </a:lnTo>
                        <a:lnTo>
                          <a:pt x="2392" y="634"/>
                        </a:lnTo>
                        <a:lnTo>
                          <a:pt x="2378" y="643"/>
                        </a:lnTo>
                        <a:lnTo>
                          <a:pt x="2365" y="650"/>
                        </a:lnTo>
                        <a:lnTo>
                          <a:pt x="2351" y="656"/>
                        </a:lnTo>
                        <a:lnTo>
                          <a:pt x="2336" y="661"/>
                        </a:lnTo>
                        <a:lnTo>
                          <a:pt x="2322" y="665"/>
                        </a:lnTo>
                        <a:lnTo>
                          <a:pt x="2308" y="668"/>
                        </a:lnTo>
                        <a:lnTo>
                          <a:pt x="1866" y="766"/>
                        </a:lnTo>
                        <a:lnTo>
                          <a:pt x="1866" y="766"/>
                        </a:lnTo>
                        <a:lnTo>
                          <a:pt x="1852" y="770"/>
                        </a:lnTo>
                        <a:lnTo>
                          <a:pt x="1837" y="772"/>
                        </a:lnTo>
                        <a:lnTo>
                          <a:pt x="1822" y="774"/>
                        </a:lnTo>
                        <a:lnTo>
                          <a:pt x="1807" y="774"/>
                        </a:lnTo>
                        <a:lnTo>
                          <a:pt x="1792" y="774"/>
                        </a:lnTo>
                        <a:lnTo>
                          <a:pt x="1776" y="772"/>
                        </a:lnTo>
                        <a:lnTo>
                          <a:pt x="1761" y="769"/>
                        </a:lnTo>
                        <a:lnTo>
                          <a:pt x="1745" y="765"/>
                        </a:lnTo>
                        <a:lnTo>
                          <a:pt x="1730" y="760"/>
                        </a:lnTo>
                        <a:lnTo>
                          <a:pt x="1716" y="754"/>
                        </a:lnTo>
                        <a:lnTo>
                          <a:pt x="1702" y="747"/>
                        </a:lnTo>
                        <a:lnTo>
                          <a:pt x="1689" y="739"/>
                        </a:lnTo>
                        <a:lnTo>
                          <a:pt x="1676" y="730"/>
                        </a:lnTo>
                        <a:lnTo>
                          <a:pt x="1664" y="721"/>
                        </a:lnTo>
                        <a:lnTo>
                          <a:pt x="1654" y="711"/>
                        </a:lnTo>
                        <a:lnTo>
                          <a:pt x="1644" y="700"/>
                        </a:lnTo>
                        <a:lnTo>
                          <a:pt x="1387" y="375"/>
                        </a:lnTo>
                        <a:lnTo>
                          <a:pt x="1387" y="375"/>
                        </a:lnTo>
                        <a:lnTo>
                          <a:pt x="1378" y="365"/>
                        </a:lnTo>
                        <a:lnTo>
                          <a:pt x="1368" y="355"/>
                        </a:lnTo>
                        <a:lnTo>
                          <a:pt x="1356" y="346"/>
                        </a:lnTo>
                        <a:lnTo>
                          <a:pt x="1345" y="339"/>
                        </a:lnTo>
                        <a:lnTo>
                          <a:pt x="1332" y="333"/>
                        </a:lnTo>
                        <a:lnTo>
                          <a:pt x="1319" y="328"/>
                        </a:lnTo>
                        <a:lnTo>
                          <a:pt x="1306" y="325"/>
                        </a:lnTo>
                        <a:lnTo>
                          <a:pt x="1293" y="323"/>
                        </a:lnTo>
                        <a:lnTo>
                          <a:pt x="1279" y="322"/>
                        </a:lnTo>
                        <a:lnTo>
                          <a:pt x="1265" y="322"/>
                        </a:lnTo>
                        <a:lnTo>
                          <a:pt x="1252" y="324"/>
                        </a:lnTo>
                        <a:lnTo>
                          <a:pt x="1238" y="327"/>
                        </a:lnTo>
                        <a:lnTo>
                          <a:pt x="1225" y="331"/>
                        </a:lnTo>
                        <a:lnTo>
                          <a:pt x="1213" y="337"/>
                        </a:lnTo>
                        <a:lnTo>
                          <a:pt x="1200" y="344"/>
                        </a:lnTo>
                        <a:lnTo>
                          <a:pt x="1188" y="352"/>
                        </a:lnTo>
                        <a:lnTo>
                          <a:pt x="700" y="739"/>
                        </a:lnTo>
                        <a:lnTo>
                          <a:pt x="700" y="739"/>
                        </a:lnTo>
                        <a:lnTo>
                          <a:pt x="689" y="748"/>
                        </a:lnTo>
                        <a:lnTo>
                          <a:pt x="679" y="759"/>
                        </a:lnTo>
                        <a:lnTo>
                          <a:pt x="671" y="770"/>
                        </a:lnTo>
                        <a:lnTo>
                          <a:pt x="664" y="782"/>
                        </a:lnTo>
                        <a:lnTo>
                          <a:pt x="658" y="794"/>
                        </a:lnTo>
                        <a:lnTo>
                          <a:pt x="653" y="807"/>
                        </a:lnTo>
                        <a:lnTo>
                          <a:pt x="649" y="820"/>
                        </a:lnTo>
                        <a:lnTo>
                          <a:pt x="647" y="834"/>
                        </a:lnTo>
                        <a:lnTo>
                          <a:pt x="646" y="847"/>
                        </a:lnTo>
                        <a:lnTo>
                          <a:pt x="647" y="861"/>
                        </a:lnTo>
                        <a:lnTo>
                          <a:pt x="648" y="874"/>
                        </a:lnTo>
                        <a:lnTo>
                          <a:pt x="651" y="888"/>
                        </a:lnTo>
                        <a:lnTo>
                          <a:pt x="656" y="901"/>
                        </a:lnTo>
                        <a:lnTo>
                          <a:pt x="661" y="914"/>
                        </a:lnTo>
                        <a:lnTo>
                          <a:pt x="668" y="926"/>
                        </a:lnTo>
                        <a:lnTo>
                          <a:pt x="677" y="938"/>
                        </a:lnTo>
                        <a:lnTo>
                          <a:pt x="933" y="1262"/>
                        </a:lnTo>
                        <a:lnTo>
                          <a:pt x="933" y="1262"/>
                        </a:lnTo>
                        <a:lnTo>
                          <a:pt x="942" y="1274"/>
                        </a:lnTo>
                        <a:lnTo>
                          <a:pt x="950" y="1287"/>
                        </a:lnTo>
                        <a:lnTo>
                          <a:pt x="956" y="1301"/>
                        </a:lnTo>
                        <a:lnTo>
                          <a:pt x="962" y="1315"/>
                        </a:lnTo>
                        <a:lnTo>
                          <a:pt x="966" y="1330"/>
                        </a:lnTo>
                        <a:lnTo>
                          <a:pt x="970" y="1345"/>
                        </a:lnTo>
                        <a:lnTo>
                          <a:pt x="972" y="1361"/>
                        </a:lnTo>
                        <a:lnTo>
                          <a:pt x="974" y="1376"/>
                        </a:lnTo>
                        <a:lnTo>
                          <a:pt x="974" y="1392"/>
                        </a:lnTo>
                        <a:lnTo>
                          <a:pt x="973" y="1408"/>
                        </a:lnTo>
                        <a:lnTo>
                          <a:pt x="971" y="1423"/>
                        </a:lnTo>
                        <a:lnTo>
                          <a:pt x="969" y="1438"/>
                        </a:lnTo>
                        <a:lnTo>
                          <a:pt x="965" y="1453"/>
                        </a:lnTo>
                        <a:lnTo>
                          <a:pt x="960" y="1467"/>
                        </a:lnTo>
                        <a:lnTo>
                          <a:pt x="954" y="1481"/>
                        </a:lnTo>
                        <a:lnTo>
                          <a:pt x="947" y="1494"/>
                        </a:lnTo>
                        <a:lnTo>
                          <a:pt x="749" y="1901"/>
                        </a:lnTo>
                        <a:lnTo>
                          <a:pt x="749" y="1901"/>
                        </a:lnTo>
                        <a:lnTo>
                          <a:pt x="744" y="1914"/>
                        </a:lnTo>
                        <a:lnTo>
                          <a:pt x="737" y="1927"/>
                        </a:lnTo>
                        <a:lnTo>
                          <a:pt x="728" y="1940"/>
                        </a:lnTo>
                        <a:lnTo>
                          <a:pt x="719" y="1952"/>
                        </a:lnTo>
                        <a:lnTo>
                          <a:pt x="709" y="1964"/>
                        </a:lnTo>
                        <a:lnTo>
                          <a:pt x="698" y="1975"/>
                        </a:lnTo>
                        <a:lnTo>
                          <a:pt x="686" y="1985"/>
                        </a:lnTo>
                        <a:lnTo>
                          <a:pt x="673" y="1994"/>
                        </a:lnTo>
                        <a:lnTo>
                          <a:pt x="660" y="2003"/>
                        </a:lnTo>
                        <a:lnTo>
                          <a:pt x="646" y="2010"/>
                        </a:lnTo>
                        <a:lnTo>
                          <a:pt x="632" y="2017"/>
                        </a:lnTo>
                        <a:lnTo>
                          <a:pt x="617" y="2023"/>
                        </a:lnTo>
                        <a:lnTo>
                          <a:pt x="603" y="2027"/>
                        </a:lnTo>
                        <a:lnTo>
                          <a:pt x="588" y="2030"/>
                        </a:lnTo>
                        <a:lnTo>
                          <a:pt x="573" y="2032"/>
                        </a:lnTo>
                        <a:lnTo>
                          <a:pt x="558" y="2033"/>
                        </a:lnTo>
                        <a:lnTo>
                          <a:pt x="145" y="2031"/>
                        </a:lnTo>
                        <a:lnTo>
                          <a:pt x="145" y="2031"/>
                        </a:lnTo>
                        <a:lnTo>
                          <a:pt x="130" y="2032"/>
                        </a:lnTo>
                        <a:lnTo>
                          <a:pt x="116" y="2034"/>
                        </a:lnTo>
                        <a:lnTo>
                          <a:pt x="103" y="2037"/>
                        </a:lnTo>
                        <a:lnTo>
                          <a:pt x="90" y="2042"/>
                        </a:lnTo>
                        <a:lnTo>
                          <a:pt x="77" y="2048"/>
                        </a:lnTo>
                        <a:lnTo>
                          <a:pt x="65" y="2055"/>
                        </a:lnTo>
                        <a:lnTo>
                          <a:pt x="55" y="2063"/>
                        </a:lnTo>
                        <a:lnTo>
                          <a:pt x="44" y="2072"/>
                        </a:lnTo>
                        <a:lnTo>
                          <a:pt x="35" y="2083"/>
                        </a:lnTo>
                        <a:lnTo>
                          <a:pt x="27" y="2093"/>
                        </a:lnTo>
                        <a:lnTo>
                          <a:pt x="20" y="2105"/>
                        </a:lnTo>
                        <a:lnTo>
                          <a:pt x="14" y="2117"/>
                        </a:lnTo>
                        <a:lnTo>
                          <a:pt x="9" y="2130"/>
                        </a:lnTo>
                        <a:lnTo>
                          <a:pt x="5" y="2144"/>
                        </a:lnTo>
                        <a:lnTo>
                          <a:pt x="3" y="2158"/>
                        </a:lnTo>
                        <a:lnTo>
                          <a:pt x="2" y="2172"/>
                        </a:lnTo>
                        <a:lnTo>
                          <a:pt x="0" y="2797"/>
                        </a:lnTo>
                        <a:lnTo>
                          <a:pt x="0" y="2797"/>
                        </a:lnTo>
                        <a:lnTo>
                          <a:pt x="1" y="2811"/>
                        </a:lnTo>
                        <a:lnTo>
                          <a:pt x="3" y="2825"/>
                        </a:lnTo>
                        <a:lnTo>
                          <a:pt x="6" y="2839"/>
                        </a:lnTo>
                        <a:lnTo>
                          <a:pt x="11" y="2852"/>
                        </a:lnTo>
                        <a:lnTo>
                          <a:pt x="17" y="2864"/>
                        </a:lnTo>
                        <a:lnTo>
                          <a:pt x="24" y="2876"/>
                        </a:lnTo>
                        <a:lnTo>
                          <a:pt x="32" y="2887"/>
                        </a:lnTo>
                        <a:lnTo>
                          <a:pt x="41" y="2897"/>
                        </a:lnTo>
                        <a:lnTo>
                          <a:pt x="51" y="2906"/>
                        </a:lnTo>
                        <a:lnTo>
                          <a:pt x="62" y="2914"/>
                        </a:lnTo>
                        <a:lnTo>
                          <a:pt x="74" y="2921"/>
                        </a:lnTo>
                        <a:lnTo>
                          <a:pt x="86" y="2927"/>
                        </a:lnTo>
                        <a:lnTo>
                          <a:pt x="99" y="2932"/>
                        </a:lnTo>
                        <a:lnTo>
                          <a:pt x="113" y="2936"/>
                        </a:lnTo>
                        <a:lnTo>
                          <a:pt x="127" y="2938"/>
                        </a:lnTo>
                        <a:lnTo>
                          <a:pt x="141" y="2939"/>
                        </a:lnTo>
                        <a:lnTo>
                          <a:pt x="555" y="2941"/>
                        </a:lnTo>
                        <a:lnTo>
                          <a:pt x="555" y="2941"/>
                        </a:lnTo>
                        <a:lnTo>
                          <a:pt x="570" y="2941"/>
                        </a:lnTo>
                        <a:lnTo>
                          <a:pt x="584" y="2944"/>
                        </a:lnTo>
                        <a:lnTo>
                          <a:pt x="599" y="2947"/>
                        </a:lnTo>
                        <a:lnTo>
                          <a:pt x="614" y="2951"/>
                        </a:lnTo>
                        <a:lnTo>
                          <a:pt x="628" y="2957"/>
                        </a:lnTo>
                        <a:lnTo>
                          <a:pt x="642" y="2964"/>
                        </a:lnTo>
                        <a:lnTo>
                          <a:pt x="656" y="2972"/>
                        </a:lnTo>
                        <a:lnTo>
                          <a:pt x="669" y="2980"/>
                        </a:lnTo>
                        <a:lnTo>
                          <a:pt x="682" y="2990"/>
                        </a:lnTo>
                        <a:lnTo>
                          <a:pt x="694" y="3000"/>
                        </a:lnTo>
                        <a:lnTo>
                          <a:pt x="705" y="3011"/>
                        </a:lnTo>
                        <a:lnTo>
                          <a:pt x="715" y="3023"/>
                        </a:lnTo>
                        <a:lnTo>
                          <a:pt x="724" y="3035"/>
                        </a:lnTo>
                        <a:lnTo>
                          <a:pt x="732" y="3048"/>
                        </a:lnTo>
                        <a:lnTo>
                          <a:pt x="739" y="3061"/>
                        </a:lnTo>
                        <a:lnTo>
                          <a:pt x="745" y="3075"/>
                        </a:lnTo>
                        <a:lnTo>
                          <a:pt x="939" y="3482"/>
                        </a:lnTo>
                        <a:lnTo>
                          <a:pt x="939" y="3482"/>
                        </a:lnTo>
                        <a:lnTo>
                          <a:pt x="946" y="3495"/>
                        </a:lnTo>
                        <a:lnTo>
                          <a:pt x="952" y="3509"/>
                        </a:lnTo>
                        <a:lnTo>
                          <a:pt x="956" y="3523"/>
                        </a:lnTo>
                        <a:lnTo>
                          <a:pt x="960" y="3538"/>
                        </a:lnTo>
                        <a:lnTo>
                          <a:pt x="963" y="3553"/>
                        </a:lnTo>
                        <a:lnTo>
                          <a:pt x="964" y="3569"/>
                        </a:lnTo>
                        <a:lnTo>
                          <a:pt x="965" y="3585"/>
                        </a:lnTo>
                        <a:lnTo>
                          <a:pt x="965" y="3600"/>
                        </a:lnTo>
                        <a:lnTo>
                          <a:pt x="963" y="3616"/>
                        </a:lnTo>
                        <a:lnTo>
                          <a:pt x="960" y="3632"/>
                        </a:lnTo>
                        <a:lnTo>
                          <a:pt x="957" y="3647"/>
                        </a:lnTo>
                        <a:lnTo>
                          <a:pt x="952" y="3661"/>
                        </a:lnTo>
                        <a:lnTo>
                          <a:pt x="947" y="3676"/>
                        </a:lnTo>
                        <a:lnTo>
                          <a:pt x="940" y="3689"/>
                        </a:lnTo>
                        <a:lnTo>
                          <a:pt x="932" y="3702"/>
                        </a:lnTo>
                        <a:lnTo>
                          <a:pt x="924" y="3714"/>
                        </a:lnTo>
                        <a:lnTo>
                          <a:pt x="664" y="4036"/>
                        </a:lnTo>
                        <a:lnTo>
                          <a:pt x="664" y="4036"/>
                        </a:lnTo>
                        <a:lnTo>
                          <a:pt x="656" y="4048"/>
                        </a:lnTo>
                        <a:lnTo>
                          <a:pt x="649" y="4060"/>
                        </a:lnTo>
                        <a:lnTo>
                          <a:pt x="643" y="4073"/>
                        </a:lnTo>
                        <a:lnTo>
                          <a:pt x="639" y="4086"/>
                        </a:lnTo>
                        <a:lnTo>
                          <a:pt x="636" y="4100"/>
                        </a:lnTo>
                        <a:lnTo>
                          <a:pt x="634" y="4113"/>
                        </a:lnTo>
                        <a:lnTo>
                          <a:pt x="633" y="4127"/>
                        </a:lnTo>
                        <a:lnTo>
                          <a:pt x="634" y="4141"/>
                        </a:lnTo>
                        <a:lnTo>
                          <a:pt x="636" y="4154"/>
                        </a:lnTo>
                        <a:lnTo>
                          <a:pt x="640" y="4167"/>
                        </a:lnTo>
                        <a:lnTo>
                          <a:pt x="644" y="4180"/>
                        </a:lnTo>
                        <a:lnTo>
                          <a:pt x="650" y="4192"/>
                        </a:lnTo>
                        <a:lnTo>
                          <a:pt x="657" y="4204"/>
                        </a:lnTo>
                        <a:lnTo>
                          <a:pt x="666" y="4216"/>
                        </a:lnTo>
                        <a:lnTo>
                          <a:pt x="675" y="4226"/>
                        </a:lnTo>
                        <a:lnTo>
                          <a:pt x="686" y="4236"/>
                        </a:lnTo>
                        <a:lnTo>
                          <a:pt x="1172" y="4626"/>
                        </a:lnTo>
                        <a:lnTo>
                          <a:pt x="1172" y="4626"/>
                        </a:lnTo>
                        <a:lnTo>
                          <a:pt x="1183" y="4634"/>
                        </a:lnTo>
                        <a:lnTo>
                          <a:pt x="1196" y="4642"/>
                        </a:lnTo>
                        <a:lnTo>
                          <a:pt x="1208" y="4647"/>
                        </a:lnTo>
                        <a:lnTo>
                          <a:pt x="1221" y="4652"/>
                        </a:lnTo>
                        <a:lnTo>
                          <a:pt x="1235" y="4655"/>
                        </a:lnTo>
                        <a:lnTo>
                          <a:pt x="1248" y="4657"/>
                        </a:lnTo>
                        <a:lnTo>
                          <a:pt x="1262" y="4657"/>
                        </a:lnTo>
                        <a:lnTo>
                          <a:pt x="1276" y="4656"/>
                        </a:lnTo>
                        <a:lnTo>
                          <a:pt x="1289" y="4654"/>
                        </a:lnTo>
                        <a:lnTo>
                          <a:pt x="1302" y="4651"/>
                        </a:lnTo>
                        <a:lnTo>
                          <a:pt x="1315" y="4646"/>
                        </a:lnTo>
                        <a:lnTo>
                          <a:pt x="1328" y="4640"/>
                        </a:lnTo>
                        <a:lnTo>
                          <a:pt x="1339" y="4633"/>
                        </a:lnTo>
                        <a:lnTo>
                          <a:pt x="1351" y="4625"/>
                        </a:lnTo>
                        <a:lnTo>
                          <a:pt x="1361" y="4615"/>
                        </a:lnTo>
                        <a:lnTo>
                          <a:pt x="1371" y="4604"/>
                        </a:lnTo>
                        <a:lnTo>
                          <a:pt x="1630" y="4283"/>
                        </a:lnTo>
                        <a:lnTo>
                          <a:pt x="1630" y="4283"/>
                        </a:lnTo>
                        <a:lnTo>
                          <a:pt x="1639" y="4272"/>
                        </a:lnTo>
                        <a:lnTo>
                          <a:pt x="1650" y="4262"/>
                        </a:lnTo>
                        <a:lnTo>
                          <a:pt x="1662" y="4252"/>
                        </a:lnTo>
                        <a:lnTo>
                          <a:pt x="1675" y="4244"/>
                        </a:lnTo>
                        <a:lnTo>
                          <a:pt x="1688" y="4236"/>
                        </a:lnTo>
                        <a:lnTo>
                          <a:pt x="1702" y="4229"/>
                        </a:lnTo>
                        <a:lnTo>
                          <a:pt x="1717" y="4223"/>
                        </a:lnTo>
                        <a:lnTo>
                          <a:pt x="1732" y="4219"/>
                        </a:lnTo>
                        <a:lnTo>
                          <a:pt x="1747" y="4215"/>
                        </a:lnTo>
                        <a:lnTo>
                          <a:pt x="1762" y="4212"/>
                        </a:lnTo>
                        <a:lnTo>
                          <a:pt x="1778" y="4210"/>
                        </a:lnTo>
                        <a:lnTo>
                          <a:pt x="1793" y="4210"/>
                        </a:lnTo>
                        <a:lnTo>
                          <a:pt x="1809" y="4210"/>
                        </a:lnTo>
                        <a:lnTo>
                          <a:pt x="1824" y="4212"/>
                        </a:lnTo>
                        <a:lnTo>
                          <a:pt x="1838" y="4215"/>
                        </a:lnTo>
                        <a:lnTo>
                          <a:pt x="1852" y="4219"/>
                        </a:lnTo>
                        <a:lnTo>
                          <a:pt x="2295" y="4319"/>
                        </a:lnTo>
                        <a:lnTo>
                          <a:pt x="2295" y="4319"/>
                        </a:lnTo>
                        <a:lnTo>
                          <a:pt x="2309" y="4322"/>
                        </a:lnTo>
                        <a:lnTo>
                          <a:pt x="2324" y="4326"/>
                        </a:lnTo>
                        <a:lnTo>
                          <a:pt x="2338" y="4331"/>
                        </a:lnTo>
                        <a:lnTo>
                          <a:pt x="2352" y="4337"/>
                        </a:lnTo>
                        <a:lnTo>
                          <a:pt x="2366" y="4345"/>
                        </a:lnTo>
                        <a:lnTo>
                          <a:pt x="2379" y="4353"/>
                        </a:lnTo>
                        <a:lnTo>
                          <a:pt x="2391" y="4363"/>
                        </a:lnTo>
                        <a:lnTo>
                          <a:pt x="2403" y="4373"/>
                        </a:lnTo>
                        <a:lnTo>
                          <a:pt x="2415" y="4384"/>
                        </a:lnTo>
                        <a:lnTo>
                          <a:pt x="2425" y="4396"/>
                        </a:lnTo>
                        <a:lnTo>
                          <a:pt x="2435" y="4408"/>
                        </a:lnTo>
                        <a:lnTo>
                          <a:pt x="2443" y="4421"/>
                        </a:lnTo>
                        <a:lnTo>
                          <a:pt x="2451" y="4434"/>
                        </a:lnTo>
                        <a:lnTo>
                          <a:pt x="2457" y="4448"/>
                        </a:lnTo>
                        <a:lnTo>
                          <a:pt x="2464" y="4462"/>
                        </a:lnTo>
                        <a:lnTo>
                          <a:pt x="2468" y="4476"/>
                        </a:lnTo>
                        <a:lnTo>
                          <a:pt x="2558" y="4880"/>
                        </a:lnTo>
                        <a:lnTo>
                          <a:pt x="2558" y="4880"/>
                        </a:lnTo>
                        <a:lnTo>
                          <a:pt x="2562" y="4894"/>
                        </a:lnTo>
                        <a:lnTo>
                          <a:pt x="2567" y="4907"/>
                        </a:lnTo>
                        <a:lnTo>
                          <a:pt x="2574" y="4919"/>
                        </a:lnTo>
                        <a:lnTo>
                          <a:pt x="2581" y="4931"/>
                        </a:lnTo>
                        <a:lnTo>
                          <a:pt x="2590" y="4942"/>
                        </a:lnTo>
                        <a:lnTo>
                          <a:pt x="2600" y="4952"/>
                        </a:lnTo>
                        <a:lnTo>
                          <a:pt x="2610" y="4960"/>
                        </a:lnTo>
                        <a:lnTo>
                          <a:pt x="2621" y="4968"/>
                        </a:lnTo>
                        <a:lnTo>
                          <a:pt x="2633" y="4975"/>
                        </a:lnTo>
                        <a:lnTo>
                          <a:pt x="2645" y="4981"/>
                        </a:lnTo>
                        <a:lnTo>
                          <a:pt x="2658" y="4985"/>
                        </a:lnTo>
                        <a:lnTo>
                          <a:pt x="2672" y="4988"/>
                        </a:lnTo>
                        <a:lnTo>
                          <a:pt x="2685" y="4990"/>
                        </a:lnTo>
                        <a:lnTo>
                          <a:pt x="2699" y="4990"/>
                        </a:lnTo>
                        <a:lnTo>
                          <a:pt x="2714" y="4989"/>
                        </a:lnTo>
                        <a:lnTo>
                          <a:pt x="2728" y="4987"/>
                        </a:lnTo>
                        <a:lnTo>
                          <a:pt x="3336" y="4850"/>
                        </a:lnTo>
                        <a:lnTo>
                          <a:pt x="3336" y="4850"/>
                        </a:lnTo>
                        <a:lnTo>
                          <a:pt x="3350" y="4846"/>
                        </a:lnTo>
                        <a:lnTo>
                          <a:pt x="3363" y="4841"/>
                        </a:lnTo>
                        <a:lnTo>
                          <a:pt x="3376" y="4835"/>
                        </a:lnTo>
                        <a:lnTo>
                          <a:pt x="3387" y="4827"/>
                        </a:lnTo>
                        <a:lnTo>
                          <a:pt x="3398" y="4819"/>
                        </a:lnTo>
                        <a:lnTo>
                          <a:pt x="3408" y="4809"/>
                        </a:lnTo>
                        <a:lnTo>
                          <a:pt x="3417" y="4799"/>
                        </a:lnTo>
                        <a:lnTo>
                          <a:pt x="3425" y="4787"/>
                        </a:lnTo>
                        <a:lnTo>
                          <a:pt x="3431" y="4776"/>
                        </a:lnTo>
                        <a:lnTo>
                          <a:pt x="3437" y="4763"/>
                        </a:lnTo>
                        <a:lnTo>
                          <a:pt x="3441" y="4750"/>
                        </a:lnTo>
                        <a:lnTo>
                          <a:pt x="3444" y="4737"/>
                        </a:lnTo>
                        <a:lnTo>
                          <a:pt x="3446" y="4723"/>
                        </a:lnTo>
                        <a:lnTo>
                          <a:pt x="3447" y="4709"/>
                        </a:lnTo>
                        <a:lnTo>
                          <a:pt x="3446" y="4695"/>
                        </a:lnTo>
                        <a:lnTo>
                          <a:pt x="3443" y="4681"/>
                        </a:lnTo>
                        <a:lnTo>
                          <a:pt x="3352" y="4278"/>
                        </a:lnTo>
                        <a:lnTo>
                          <a:pt x="3352" y="4278"/>
                        </a:lnTo>
                        <a:lnTo>
                          <a:pt x="3350" y="4263"/>
                        </a:lnTo>
                        <a:lnTo>
                          <a:pt x="3349" y="4248"/>
                        </a:lnTo>
                        <a:lnTo>
                          <a:pt x="3349" y="4233"/>
                        </a:lnTo>
                        <a:lnTo>
                          <a:pt x="3350" y="4218"/>
                        </a:lnTo>
                        <a:lnTo>
                          <a:pt x="3352" y="4203"/>
                        </a:lnTo>
                        <a:lnTo>
                          <a:pt x="3356" y="4187"/>
                        </a:lnTo>
                        <a:lnTo>
                          <a:pt x="3360" y="4172"/>
                        </a:lnTo>
                        <a:lnTo>
                          <a:pt x="3366" y="4158"/>
                        </a:lnTo>
                        <a:lnTo>
                          <a:pt x="3372" y="4143"/>
                        </a:lnTo>
                        <a:lnTo>
                          <a:pt x="3379" y="4129"/>
                        </a:lnTo>
                        <a:lnTo>
                          <a:pt x="3388" y="4116"/>
                        </a:lnTo>
                        <a:lnTo>
                          <a:pt x="3397" y="4103"/>
                        </a:lnTo>
                        <a:lnTo>
                          <a:pt x="3407" y="4092"/>
                        </a:lnTo>
                        <a:lnTo>
                          <a:pt x="3417" y="4081"/>
                        </a:lnTo>
                        <a:lnTo>
                          <a:pt x="3429" y="4071"/>
                        </a:lnTo>
                        <a:lnTo>
                          <a:pt x="3441" y="4063"/>
                        </a:lnTo>
                        <a:lnTo>
                          <a:pt x="3795" y="3783"/>
                        </a:lnTo>
                        <a:lnTo>
                          <a:pt x="3795" y="3783"/>
                        </a:lnTo>
                        <a:lnTo>
                          <a:pt x="3806" y="3773"/>
                        </a:lnTo>
                        <a:lnTo>
                          <a:pt x="3818" y="3764"/>
                        </a:lnTo>
                        <a:lnTo>
                          <a:pt x="3831" y="3756"/>
                        </a:lnTo>
                        <a:lnTo>
                          <a:pt x="3845" y="3749"/>
                        </a:lnTo>
                        <a:lnTo>
                          <a:pt x="3859" y="3743"/>
                        </a:lnTo>
                        <a:lnTo>
                          <a:pt x="3874" y="3738"/>
                        </a:lnTo>
                        <a:lnTo>
                          <a:pt x="3889" y="3734"/>
                        </a:lnTo>
                        <a:lnTo>
                          <a:pt x="3905" y="3731"/>
                        </a:lnTo>
                        <a:lnTo>
                          <a:pt x="3920" y="3729"/>
                        </a:lnTo>
                        <a:lnTo>
                          <a:pt x="3936" y="3728"/>
                        </a:lnTo>
                        <a:lnTo>
                          <a:pt x="3952" y="3728"/>
                        </a:lnTo>
                        <a:lnTo>
                          <a:pt x="3967" y="3730"/>
                        </a:lnTo>
                        <a:lnTo>
                          <a:pt x="3982" y="3732"/>
                        </a:lnTo>
                        <a:lnTo>
                          <a:pt x="3997" y="3735"/>
                        </a:lnTo>
                        <a:lnTo>
                          <a:pt x="4011" y="3740"/>
                        </a:lnTo>
                        <a:lnTo>
                          <a:pt x="4024" y="3746"/>
                        </a:lnTo>
                        <a:lnTo>
                          <a:pt x="4396" y="3926"/>
                        </a:lnTo>
                        <a:lnTo>
                          <a:pt x="4396" y="3926"/>
                        </a:lnTo>
                        <a:lnTo>
                          <a:pt x="4409" y="3932"/>
                        </a:lnTo>
                        <a:lnTo>
                          <a:pt x="4423" y="3936"/>
                        </a:lnTo>
                        <a:lnTo>
                          <a:pt x="4436" y="3939"/>
                        </a:lnTo>
                        <a:lnTo>
                          <a:pt x="4450" y="3940"/>
                        </a:lnTo>
                        <a:lnTo>
                          <a:pt x="4464" y="3940"/>
                        </a:lnTo>
                        <a:lnTo>
                          <a:pt x="4477" y="3939"/>
                        </a:lnTo>
                        <a:lnTo>
                          <a:pt x="4491" y="3936"/>
                        </a:lnTo>
                        <a:lnTo>
                          <a:pt x="4504" y="3932"/>
                        </a:lnTo>
                        <a:lnTo>
                          <a:pt x="4516" y="3927"/>
                        </a:lnTo>
                        <a:lnTo>
                          <a:pt x="4529" y="3921"/>
                        </a:lnTo>
                        <a:lnTo>
                          <a:pt x="4540" y="3914"/>
                        </a:lnTo>
                        <a:lnTo>
                          <a:pt x="4551" y="3905"/>
                        </a:lnTo>
                        <a:lnTo>
                          <a:pt x="4561" y="3896"/>
                        </a:lnTo>
                        <a:lnTo>
                          <a:pt x="4570" y="3885"/>
                        </a:lnTo>
                        <a:lnTo>
                          <a:pt x="4578" y="3873"/>
                        </a:lnTo>
                        <a:lnTo>
                          <a:pt x="4585" y="3860"/>
                        </a:lnTo>
                        <a:lnTo>
                          <a:pt x="4857" y="3300"/>
                        </a:lnTo>
                        <a:lnTo>
                          <a:pt x="4857" y="3300"/>
                        </a:lnTo>
                        <a:lnTo>
                          <a:pt x="4863" y="3286"/>
                        </a:lnTo>
                        <a:lnTo>
                          <a:pt x="4867" y="3273"/>
                        </a:lnTo>
                        <a:lnTo>
                          <a:pt x="4870" y="3259"/>
                        </a:lnTo>
                        <a:lnTo>
                          <a:pt x="4871" y="3245"/>
                        </a:lnTo>
                        <a:lnTo>
                          <a:pt x="4872" y="3231"/>
                        </a:lnTo>
                        <a:lnTo>
                          <a:pt x="4870" y="3218"/>
                        </a:lnTo>
                        <a:lnTo>
                          <a:pt x="4868" y="3204"/>
                        </a:lnTo>
                        <a:lnTo>
                          <a:pt x="4864" y="3191"/>
                        </a:lnTo>
                        <a:lnTo>
                          <a:pt x="4859" y="3179"/>
                        </a:lnTo>
                        <a:lnTo>
                          <a:pt x="4853" y="3167"/>
                        </a:lnTo>
                        <a:lnTo>
                          <a:pt x="4845" y="3155"/>
                        </a:lnTo>
                        <a:lnTo>
                          <a:pt x="4837" y="3144"/>
                        </a:lnTo>
                        <a:lnTo>
                          <a:pt x="4827" y="3134"/>
                        </a:lnTo>
                        <a:lnTo>
                          <a:pt x="4816" y="3125"/>
                        </a:lnTo>
                        <a:lnTo>
                          <a:pt x="4805" y="3117"/>
                        </a:lnTo>
                        <a:lnTo>
                          <a:pt x="4792" y="3110"/>
                        </a:lnTo>
                        <a:lnTo>
                          <a:pt x="4421" y="2930"/>
                        </a:lnTo>
                        <a:lnTo>
                          <a:pt x="4421" y="2930"/>
                        </a:lnTo>
                        <a:lnTo>
                          <a:pt x="4408" y="2923"/>
                        </a:lnTo>
                        <a:lnTo>
                          <a:pt x="4396" y="2915"/>
                        </a:lnTo>
                        <a:lnTo>
                          <a:pt x="4384" y="2905"/>
                        </a:lnTo>
                        <a:lnTo>
                          <a:pt x="4373" y="2895"/>
                        </a:lnTo>
                        <a:lnTo>
                          <a:pt x="4363" y="2884"/>
                        </a:lnTo>
                        <a:lnTo>
                          <a:pt x="4354" y="2872"/>
                        </a:lnTo>
                        <a:lnTo>
                          <a:pt x="4345" y="2859"/>
                        </a:lnTo>
                        <a:lnTo>
                          <a:pt x="4338" y="2845"/>
                        </a:lnTo>
                        <a:lnTo>
                          <a:pt x="4331" y="2831"/>
                        </a:lnTo>
                        <a:lnTo>
                          <a:pt x="4325" y="2817"/>
                        </a:lnTo>
                        <a:lnTo>
                          <a:pt x="4321" y="2802"/>
                        </a:lnTo>
                        <a:lnTo>
                          <a:pt x="4317" y="2787"/>
                        </a:lnTo>
                        <a:lnTo>
                          <a:pt x="4315" y="2772"/>
                        </a:lnTo>
                        <a:lnTo>
                          <a:pt x="4314" y="2758"/>
                        </a:lnTo>
                        <a:lnTo>
                          <a:pt x="4314" y="2743"/>
                        </a:lnTo>
                        <a:lnTo>
                          <a:pt x="4316" y="2728"/>
                        </a:lnTo>
                        <a:lnTo>
                          <a:pt x="4316" y="2728"/>
                        </a:lnTo>
                        <a:lnTo>
                          <a:pt x="4318" y="2710"/>
                        </a:lnTo>
                        <a:lnTo>
                          <a:pt x="4323" y="2662"/>
                        </a:lnTo>
                        <a:lnTo>
                          <a:pt x="4326" y="2629"/>
                        </a:lnTo>
                        <a:lnTo>
                          <a:pt x="4329" y="2590"/>
                        </a:lnTo>
                        <a:lnTo>
                          <a:pt x="4331" y="2548"/>
                        </a:lnTo>
                        <a:lnTo>
                          <a:pt x="4332" y="2502"/>
                        </a:lnTo>
                        <a:lnTo>
                          <a:pt x="4332" y="2502"/>
                        </a:lnTo>
                        <a:close/>
                        <a:moveTo>
                          <a:pt x="3788" y="2500"/>
                        </a:moveTo>
                        <a:lnTo>
                          <a:pt x="3788" y="2500"/>
                        </a:lnTo>
                        <a:lnTo>
                          <a:pt x="3787" y="2533"/>
                        </a:lnTo>
                        <a:lnTo>
                          <a:pt x="3786" y="2567"/>
                        </a:lnTo>
                        <a:lnTo>
                          <a:pt x="3784" y="2600"/>
                        </a:lnTo>
                        <a:lnTo>
                          <a:pt x="3780" y="2633"/>
                        </a:lnTo>
                        <a:lnTo>
                          <a:pt x="3777" y="2666"/>
                        </a:lnTo>
                        <a:lnTo>
                          <a:pt x="3772" y="2698"/>
                        </a:lnTo>
                        <a:lnTo>
                          <a:pt x="3767" y="2730"/>
                        </a:lnTo>
                        <a:lnTo>
                          <a:pt x="3760" y="2762"/>
                        </a:lnTo>
                        <a:lnTo>
                          <a:pt x="3753" y="2794"/>
                        </a:lnTo>
                        <a:lnTo>
                          <a:pt x="3746" y="2825"/>
                        </a:lnTo>
                        <a:lnTo>
                          <a:pt x="3737" y="2856"/>
                        </a:lnTo>
                        <a:lnTo>
                          <a:pt x="3728" y="2887"/>
                        </a:lnTo>
                        <a:lnTo>
                          <a:pt x="3718" y="2917"/>
                        </a:lnTo>
                        <a:lnTo>
                          <a:pt x="3707" y="2947"/>
                        </a:lnTo>
                        <a:lnTo>
                          <a:pt x="3696" y="2977"/>
                        </a:lnTo>
                        <a:lnTo>
                          <a:pt x="3684" y="3006"/>
                        </a:lnTo>
                        <a:lnTo>
                          <a:pt x="3671" y="3035"/>
                        </a:lnTo>
                        <a:lnTo>
                          <a:pt x="3657" y="3064"/>
                        </a:lnTo>
                        <a:lnTo>
                          <a:pt x="3643" y="3092"/>
                        </a:lnTo>
                        <a:lnTo>
                          <a:pt x="3628" y="3120"/>
                        </a:lnTo>
                        <a:lnTo>
                          <a:pt x="3613" y="3147"/>
                        </a:lnTo>
                        <a:lnTo>
                          <a:pt x="3597" y="3174"/>
                        </a:lnTo>
                        <a:lnTo>
                          <a:pt x="3580" y="3201"/>
                        </a:lnTo>
                        <a:lnTo>
                          <a:pt x="3563" y="3227"/>
                        </a:lnTo>
                        <a:lnTo>
                          <a:pt x="3545" y="3252"/>
                        </a:lnTo>
                        <a:lnTo>
                          <a:pt x="3526" y="3278"/>
                        </a:lnTo>
                        <a:lnTo>
                          <a:pt x="3507" y="3302"/>
                        </a:lnTo>
                        <a:lnTo>
                          <a:pt x="3487" y="3327"/>
                        </a:lnTo>
                        <a:lnTo>
                          <a:pt x="3467" y="3350"/>
                        </a:lnTo>
                        <a:lnTo>
                          <a:pt x="3446" y="3374"/>
                        </a:lnTo>
                        <a:lnTo>
                          <a:pt x="3425" y="3396"/>
                        </a:lnTo>
                        <a:lnTo>
                          <a:pt x="3403" y="3419"/>
                        </a:lnTo>
                        <a:lnTo>
                          <a:pt x="3381" y="3440"/>
                        </a:lnTo>
                        <a:lnTo>
                          <a:pt x="3358" y="3462"/>
                        </a:lnTo>
                        <a:lnTo>
                          <a:pt x="3334" y="3482"/>
                        </a:lnTo>
                        <a:lnTo>
                          <a:pt x="3310" y="3502"/>
                        </a:lnTo>
                        <a:lnTo>
                          <a:pt x="3286" y="3522"/>
                        </a:lnTo>
                        <a:lnTo>
                          <a:pt x="3261" y="3541"/>
                        </a:lnTo>
                        <a:lnTo>
                          <a:pt x="3236" y="3559"/>
                        </a:lnTo>
                        <a:lnTo>
                          <a:pt x="3210" y="3577"/>
                        </a:lnTo>
                        <a:lnTo>
                          <a:pt x="3184" y="3594"/>
                        </a:lnTo>
                        <a:lnTo>
                          <a:pt x="3157" y="3611"/>
                        </a:lnTo>
                        <a:lnTo>
                          <a:pt x="3130" y="3626"/>
                        </a:lnTo>
                        <a:lnTo>
                          <a:pt x="3102" y="3642"/>
                        </a:lnTo>
                        <a:lnTo>
                          <a:pt x="3074" y="3656"/>
                        </a:lnTo>
                        <a:lnTo>
                          <a:pt x="3046" y="3670"/>
                        </a:lnTo>
                        <a:lnTo>
                          <a:pt x="3017" y="3683"/>
                        </a:lnTo>
                        <a:lnTo>
                          <a:pt x="2988" y="3696"/>
                        </a:lnTo>
                        <a:lnTo>
                          <a:pt x="2959" y="3708"/>
                        </a:lnTo>
                        <a:lnTo>
                          <a:pt x="2929" y="3719"/>
                        </a:lnTo>
                        <a:lnTo>
                          <a:pt x="2899" y="3730"/>
                        </a:lnTo>
                        <a:lnTo>
                          <a:pt x="2868" y="3739"/>
                        </a:lnTo>
                        <a:lnTo>
                          <a:pt x="2838" y="3748"/>
                        </a:lnTo>
                        <a:lnTo>
                          <a:pt x="2807" y="3757"/>
                        </a:lnTo>
                        <a:lnTo>
                          <a:pt x="2775" y="3764"/>
                        </a:lnTo>
                        <a:lnTo>
                          <a:pt x="2744" y="3771"/>
                        </a:lnTo>
                        <a:lnTo>
                          <a:pt x="2712" y="3777"/>
                        </a:lnTo>
                        <a:lnTo>
                          <a:pt x="2679" y="3782"/>
                        </a:lnTo>
                        <a:lnTo>
                          <a:pt x="2647" y="3787"/>
                        </a:lnTo>
                        <a:lnTo>
                          <a:pt x="2614" y="3790"/>
                        </a:lnTo>
                        <a:lnTo>
                          <a:pt x="2581" y="3793"/>
                        </a:lnTo>
                        <a:lnTo>
                          <a:pt x="2548" y="3795"/>
                        </a:lnTo>
                        <a:lnTo>
                          <a:pt x="2515" y="3796"/>
                        </a:lnTo>
                        <a:lnTo>
                          <a:pt x="2481" y="3796"/>
                        </a:lnTo>
                        <a:lnTo>
                          <a:pt x="2481" y="3796"/>
                        </a:lnTo>
                        <a:lnTo>
                          <a:pt x="2446" y="3796"/>
                        </a:lnTo>
                        <a:lnTo>
                          <a:pt x="2413" y="3794"/>
                        </a:lnTo>
                        <a:lnTo>
                          <a:pt x="2380" y="3792"/>
                        </a:lnTo>
                        <a:lnTo>
                          <a:pt x="2347" y="3789"/>
                        </a:lnTo>
                        <a:lnTo>
                          <a:pt x="2314" y="3785"/>
                        </a:lnTo>
                        <a:lnTo>
                          <a:pt x="2282" y="3781"/>
                        </a:lnTo>
                        <a:lnTo>
                          <a:pt x="2250" y="3775"/>
                        </a:lnTo>
                        <a:lnTo>
                          <a:pt x="2218" y="3769"/>
                        </a:lnTo>
                        <a:lnTo>
                          <a:pt x="2186" y="3762"/>
                        </a:lnTo>
                        <a:lnTo>
                          <a:pt x="2155" y="3754"/>
                        </a:lnTo>
                        <a:lnTo>
                          <a:pt x="2124" y="3746"/>
                        </a:lnTo>
                        <a:lnTo>
                          <a:pt x="2093" y="3736"/>
                        </a:lnTo>
                        <a:lnTo>
                          <a:pt x="2063" y="3726"/>
                        </a:lnTo>
                        <a:lnTo>
                          <a:pt x="2033" y="3716"/>
                        </a:lnTo>
                        <a:lnTo>
                          <a:pt x="2003" y="3704"/>
                        </a:lnTo>
                        <a:lnTo>
                          <a:pt x="1974" y="3692"/>
                        </a:lnTo>
                        <a:lnTo>
                          <a:pt x="1945" y="3679"/>
                        </a:lnTo>
                        <a:lnTo>
                          <a:pt x="1916" y="3666"/>
                        </a:lnTo>
                        <a:lnTo>
                          <a:pt x="1888" y="3652"/>
                        </a:lnTo>
                        <a:lnTo>
                          <a:pt x="1860" y="3637"/>
                        </a:lnTo>
                        <a:lnTo>
                          <a:pt x="1833" y="3621"/>
                        </a:lnTo>
                        <a:lnTo>
                          <a:pt x="1806" y="3605"/>
                        </a:lnTo>
                        <a:lnTo>
                          <a:pt x="1779" y="3589"/>
                        </a:lnTo>
                        <a:lnTo>
                          <a:pt x="1753" y="3571"/>
                        </a:lnTo>
                        <a:lnTo>
                          <a:pt x="1728" y="3553"/>
                        </a:lnTo>
                        <a:lnTo>
                          <a:pt x="1702" y="3535"/>
                        </a:lnTo>
                        <a:lnTo>
                          <a:pt x="1678" y="3516"/>
                        </a:lnTo>
                        <a:lnTo>
                          <a:pt x="1653" y="3496"/>
                        </a:lnTo>
                        <a:lnTo>
                          <a:pt x="1630" y="3476"/>
                        </a:lnTo>
                        <a:lnTo>
                          <a:pt x="1606" y="3455"/>
                        </a:lnTo>
                        <a:lnTo>
                          <a:pt x="1584" y="3433"/>
                        </a:lnTo>
                        <a:lnTo>
                          <a:pt x="1561" y="3412"/>
                        </a:lnTo>
                        <a:lnTo>
                          <a:pt x="1540" y="3389"/>
                        </a:lnTo>
                        <a:lnTo>
                          <a:pt x="1518" y="3366"/>
                        </a:lnTo>
                        <a:lnTo>
                          <a:pt x="1498" y="3343"/>
                        </a:lnTo>
                        <a:lnTo>
                          <a:pt x="1478" y="3319"/>
                        </a:lnTo>
                        <a:lnTo>
                          <a:pt x="1458" y="3294"/>
                        </a:lnTo>
                        <a:lnTo>
                          <a:pt x="1439" y="3269"/>
                        </a:lnTo>
                        <a:lnTo>
                          <a:pt x="1421" y="3244"/>
                        </a:lnTo>
                        <a:lnTo>
                          <a:pt x="1403" y="3218"/>
                        </a:lnTo>
                        <a:lnTo>
                          <a:pt x="1386" y="3192"/>
                        </a:lnTo>
                        <a:lnTo>
                          <a:pt x="1370" y="3165"/>
                        </a:lnTo>
                        <a:lnTo>
                          <a:pt x="1354" y="3138"/>
                        </a:lnTo>
                        <a:lnTo>
                          <a:pt x="1338" y="3111"/>
                        </a:lnTo>
                        <a:lnTo>
                          <a:pt x="1324" y="3083"/>
                        </a:lnTo>
                        <a:lnTo>
                          <a:pt x="1310" y="3054"/>
                        </a:lnTo>
                        <a:lnTo>
                          <a:pt x="1297" y="3026"/>
                        </a:lnTo>
                        <a:lnTo>
                          <a:pt x="1284" y="2997"/>
                        </a:lnTo>
                        <a:lnTo>
                          <a:pt x="1272" y="2967"/>
                        </a:lnTo>
                        <a:lnTo>
                          <a:pt x="1261" y="2937"/>
                        </a:lnTo>
                        <a:lnTo>
                          <a:pt x="1250" y="2907"/>
                        </a:lnTo>
                        <a:lnTo>
                          <a:pt x="1241" y="2877"/>
                        </a:lnTo>
                        <a:lnTo>
                          <a:pt x="1232" y="2846"/>
                        </a:lnTo>
                        <a:lnTo>
                          <a:pt x="1223" y="2815"/>
                        </a:lnTo>
                        <a:lnTo>
                          <a:pt x="1216" y="2784"/>
                        </a:lnTo>
                        <a:lnTo>
                          <a:pt x="1209" y="2752"/>
                        </a:lnTo>
                        <a:lnTo>
                          <a:pt x="1203" y="2720"/>
                        </a:lnTo>
                        <a:lnTo>
                          <a:pt x="1198" y="2688"/>
                        </a:lnTo>
                        <a:lnTo>
                          <a:pt x="1194" y="2655"/>
                        </a:lnTo>
                        <a:lnTo>
                          <a:pt x="1190" y="2623"/>
                        </a:lnTo>
                        <a:lnTo>
                          <a:pt x="1187" y="2590"/>
                        </a:lnTo>
                        <a:lnTo>
                          <a:pt x="1185" y="2557"/>
                        </a:lnTo>
                        <a:lnTo>
                          <a:pt x="1184" y="2523"/>
                        </a:lnTo>
                        <a:lnTo>
                          <a:pt x="1184" y="2490"/>
                        </a:lnTo>
                        <a:lnTo>
                          <a:pt x="1184" y="2490"/>
                        </a:lnTo>
                        <a:lnTo>
                          <a:pt x="1184" y="2455"/>
                        </a:lnTo>
                        <a:lnTo>
                          <a:pt x="1186" y="2422"/>
                        </a:lnTo>
                        <a:lnTo>
                          <a:pt x="1188" y="2388"/>
                        </a:lnTo>
                        <a:lnTo>
                          <a:pt x="1191" y="2356"/>
                        </a:lnTo>
                        <a:lnTo>
                          <a:pt x="1195" y="2323"/>
                        </a:lnTo>
                        <a:lnTo>
                          <a:pt x="1199" y="2290"/>
                        </a:lnTo>
                        <a:lnTo>
                          <a:pt x="1205" y="2258"/>
                        </a:lnTo>
                        <a:lnTo>
                          <a:pt x="1211" y="2226"/>
                        </a:lnTo>
                        <a:lnTo>
                          <a:pt x="1218" y="2195"/>
                        </a:lnTo>
                        <a:lnTo>
                          <a:pt x="1226" y="2163"/>
                        </a:lnTo>
                        <a:lnTo>
                          <a:pt x="1234" y="2132"/>
                        </a:lnTo>
                        <a:lnTo>
                          <a:pt x="1244" y="2102"/>
                        </a:lnTo>
                        <a:lnTo>
                          <a:pt x="1254" y="2071"/>
                        </a:lnTo>
                        <a:lnTo>
                          <a:pt x="1264" y="2041"/>
                        </a:lnTo>
                        <a:lnTo>
                          <a:pt x="1276" y="2012"/>
                        </a:lnTo>
                        <a:lnTo>
                          <a:pt x="1288" y="1982"/>
                        </a:lnTo>
                        <a:lnTo>
                          <a:pt x="1301" y="1953"/>
                        </a:lnTo>
                        <a:lnTo>
                          <a:pt x="1314" y="1925"/>
                        </a:lnTo>
                        <a:lnTo>
                          <a:pt x="1328" y="1897"/>
                        </a:lnTo>
                        <a:lnTo>
                          <a:pt x="1343" y="1869"/>
                        </a:lnTo>
                        <a:lnTo>
                          <a:pt x="1359" y="1841"/>
                        </a:lnTo>
                        <a:lnTo>
                          <a:pt x="1375" y="1814"/>
                        </a:lnTo>
                        <a:lnTo>
                          <a:pt x="1391" y="1788"/>
                        </a:lnTo>
                        <a:lnTo>
                          <a:pt x="1409" y="1762"/>
                        </a:lnTo>
                        <a:lnTo>
                          <a:pt x="1427" y="1736"/>
                        </a:lnTo>
                        <a:lnTo>
                          <a:pt x="1445" y="1711"/>
                        </a:lnTo>
                        <a:lnTo>
                          <a:pt x="1464" y="1686"/>
                        </a:lnTo>
                        <a:lnTo>
                          <a:pt x="1484" y="1662"/>
                        </a:lnTo>
                        <a:lnTo>
                          <a:pt x="1504" y="1638"/>
                        </a:lnTo>
                        <a:lnTo>
                          <a:pt x="1525" y="1615"/>
                        </a:lnTo>
                        <a:lnTo>
                          <a:pt x="1547" y="1592"/>
                        </a:lnTo>
                        <a:lnTo>
                          <a:pt x="1569" y="1570"/>
                        </a:lnTo>
                        <a:lnTo>
                          <a:pt x="1591" y="1548"/>
                        </a:lnTo>
                        <a:lnTo>
                          <a:pt x="1614" y="1527"/>
                        </a:lnTo>
                        <a:lnTo>
                          <a:pt x="1637" y="1506"/>
                        </a:lnTo>
                        <a:lnTo>
                          <a:pt x="1661" y="1486"/>
                        </a:lnTo>
                        <a:lnTo>
                          <a:pt x="1686" y="1467"/>
                        </a:lnTo>
                        <a:lnTo>
                          <a:pt x="1711" y="1448"/>
                        </a:lnTo>
                        <a:lnTo>
                          <a:pt x="1736" y="1429"/>
                        </a:lnTo>
                        <a:lnTo>
                          <a:pt x="1762" y="1412"/>
                        </a:lnTo>
                        <a:lnTo>
                          <a:pt x="1788" y="1395"/>
                        </a:lnTo>
                        <a:lnTo>
                          <a:pt x="1815" y="1378"/>
                        </a:lnTo>
                        <a:lnTo>
                          <a:pt x="1842" y="1362"/>
                        </a:lnTo>
                        <a:lnTo>
                          <a:pt x="1869" y="1347"/>
                        </a:lnTo>
                        <a:lnTo>
                          <a:pt x="1897" y="1332"/>
                        </a:lnTo>
                        <a:lnTo>
                          <a:pt x="1926" y="1318"/>
                        </a:lnTo>
                        <a:lnTo>
                          <a:pt x="1954" y="1305"/>
                        </a:lnTo>
                        <a:lnTo>
                          <a:pt x="1983" y="1293"/>
                        </a:lnTo>
                        <a:lnTo>
                          <a:pt x="2013" y="1281"/>
                        </a:lnTo>
                        <a:lnTo>
                          <a:pt x="2043" y="1270"/>
                        </a:lnTo>
                        <a:lnTo>
                          <a:pt x="2073" y="1259"/>
                        </a:lnTo>
                        <a:lnTo>
                          <a:pt x="2103" y="1249"/>
                        </a:lnTo>
                        <a:lnTo>
                          <a:pt x="2134" y="1240"/>
                        </a:lnTo>
                        <a:lnTo>
                          <a:pt x="2165" y="1232"/>
                        </a:lnTo>
                        <a:lnTo>
                          <a:pt x="2196" y="1225"/>
                        </a:lnTo>
                        <a:lnTo>
                          <a:pt x="2228" y="1218"/>
                        </a:lnTo>
                        <a:lnTo>
                          <a:pt x="2260" y="1212"/>
                        </a:lnTo>
                        <a:lnTo>
                          <a:pt x="2292" y="1207"/>
                        </a:lnTo>
                        <a:lnTo>
                          <a:pt x="2325" y="1202"/>
                        </a:lnTo>
                        <a:lnTo>
                          <a:pt x="2357" y="1199"/>
                        </a:lnTo>
                        <a:lnTo>
                          <a:pt x="2390" y="1196"/>
                        </a:lnTo>
                        <a:lnTo>
                          <a:pt x="2424" y="1194"/>
                        </a:lnTo>
                        <a:lnTo>
                          <a:pt x="2457" y="1193"/>
                        </a:lnTo>
                        <a:lnTo>
                          <a:pt x="2492" y="1192"/>
                        </a:lnTo>
                        <a:lnTo>
                          <a:pt x="2492" y="1192"/>
                        </a:lnTo>
                        <a:lnTo>
                          <a:pt x="2525" y="1193"/>
                        </a:lnTo>
                        <a:lnTo>
                          <a:pt x="2558" y="1194"/>
                        </a:lnTo>
                        <a:lnTo>
                          <a:pt x="2592" y="1197"/>
                        </a:lnTo>
                        <a:lnTo>
                          <a:pt x="2625" y="1200"/>
                        </a:lnTo>
                        <a:lnTo>
                          <a:pt x="2657" y="1204"/>
                        </a:lnTo>
                        <a:lnTo>
                          <a:pt x="2690" y="1208"/>
                        </a:lnTo>
                        <a:lnTo>
                          <a:pt x="2722" y="1214"/>
                        </a:lnTo>
                        <a:lnTo>
                          <a:pt x="2754" y="1220"/>
                        </a:lnTo>
                        <a:lnTo>
                          <a:pt x="2785" y="1227"/>
                        </a:lnTo>
                        <a:lnTo>
                          <a:pt x="2817" y="1235"/>
                        </a:lnTo>
                        <a:lnTo>
                          <a:pt x="2848" y="1243"/>
                        </a:lnTo>
                        <a:lnTo>
                          <a:pt x="2878" y="1252"/>
                        </a:lnTo>
                        <a:lnTo>
                          <a:pt x="2909" y="1262"/>
                        </a:lnTo>
                        <a:lnTo>
                          <a:pt x="2939" y="1273"/>
                        </a:lnTo>
                        <a:lnTo>
                          <a:pt x="2968" y="1285"/>
                        </a:lnTo>
                        <a:lnTo>
                          <a:pt x="2998" y="1297"/>
                        </a:lnTo>
                        <a:lnTo>
                          <a:pt x="3027" y="1309"/>
                        </a:lnTo>
                        <a:lnTo>
                          <a:pt x="3055" y="1323"/>
                        </a:lnTo>
                        <a:lnTo>
                          <a:pt x="3083" y="1337"/>
                        </a:lnTo>
                        <a:lnTo>
                          <a:pt x="3111" y="1352"/>
                        </a:lnTo>
                        <a:lnTo>
                          <a:pt x="3139" y="1367"/>
                        </a:lnTo>
                        <a:lnTo>
                          <a:pt x="3166" y="1383"/>
                        </a:lnTo>
                        <a:lnTo>
                          <a:pt x="3192" y="1400"/>
                        </a:lnTo>
                        <a:lnTo>
                          <a:pt x="3218" y="1418"/>
                        </a:lnTo>
                        <a:lnTo>
                          <a:pt x="3244" y="1435"/>
                        </a:lnTo>
                        <a:lnTo>
                          <a:pt x="3269" y="1454"/>
                        </a:lnTo>
                        <a:lnTo>
                          <a:pt x="3294" y="1473"/>
                        </a:lnTo>
                        <a:lnTo>
                          <a:pt x="3318" y="1493"/>
                        </a:lnTo>
                        <a:lnTo>
                          <a:pt x="3342" y="1513"/>
                        </a:lnTo>
                        <a:lnTo>
                          <a:pt x="3365" y="1534"/>
                        </a:lnTo>
                        <a:lnTo>
                          <a:pt x="3388" y="1555"/>
                        </a:lnTo>
                        <a:lnTo>
                          <a:pt x="3410" y="1577"/>
                        </a:lnTo>
                        <a:lnTo>
                          <a:pt x="3432" y="1600"/>
                        </a:lnTo>
                        <a:lnTo>
                          <a:pt x="3453" y="1623"/>
                        </a:lnTo>
                        <a:lnTo>
                          <a:pt x="3474" y="1646"/>
                        </a:lnTo>
                        <a:lnTo>
                          <a:pt x="3494" y="1670"/>
                        </a:lnTo>
                        <a:lnTo>
                          <a:pt x="3513" y="1694"/>
                        </a:lnTo>
                        <a:lnTo>
                          <a:pt x="3532" y="1719"/>
                        </a:lnTo>
                        <a:lnTo>
                          <a:pt x="3551" y="1745"/>
                        </a:lnTo>
                        <a:lnTo>
                          <a:pt x="3568" y="1770"/>
                        </a:lnTo>
                        <a:lnTo>
                          <a:pt x="3585" y="1797"/>
                        </a:lnTo>
                        <a:lnTo>
                          <a:pt x="3602" y="1823"/>
                        </a:lnTo>
                        <a:lnTo>
                          <a:pt x="3618" y="1850"/>
                        </a:lnTo>
                        <a:lnTo>
                          <a:pt x="3633" y="1878"/>
                        </a:lnTo>
                        <a:lnTo>
                          <a:pt x="3648" y="1906"/>
                        </a:lnTo>
                        <a:lnTo>
                          <a:pt x="3662" y="1934"/>
                        </a:lnTo>
                        <a:lnTo>
                          <a:pt x="3675" y="1963"/>
                        </a:lnTo>
                        <a:lnTo>
                          <a:pt x="3687" y="1992"/>
                        </a:lnTo>
                        <a:lnTo>
                          <a:pt x="3699" y="2021"/>
                        </a:lnTo>
                        <a:lnTo>
                          <a:pt x="3711" y="2051"/>
                        </a:lnTo>
                        <a:lnTo>
                          <a:pt x="3721" y="2081"/>
                        </a:lnTo>
                        <a:lnTo>
                          <a:pt x="3731" y="2112"/>
                        </a:lnTo>
                        <a:lnTo>
                          <a:pt x="3740" y="2142"/>
                        </a:lnTo>
                        <a:lnTo>
                          <a:pt x="3748" y="2173"/>
                        </a:lnTo>
                        <a:lnTo>
                          <a:pt x="3756" y="2205"/>
                        </a:lnTo>
                        <a:lnTo>
                          <a:pt x="3762" y="2236"/>
                        </a:lnTo>
                        <a:lnTo>
                          <a:pt x="3768" y="2268"/>
                        </a:lnTo>
                        <a:lnTo>
                          <a:pt x="3773" y="2301"/>
                        </a:lnTo>
                        <a:lnTo>
                          <a:pt x="3778" y="2333"/>
                        </a:lnTo>
                        <a:lnTo>
                          <a:pt x="3781" y="2366"/>
                        </a:lnTo>
                        <a:lnTo>
                          <a:pt x="3784" y="2399"/>
                        </a:lnTo>
                        <a:lnTo>
                          <a:pt x="3786" y="2432"/>
                        </a:lnTo>
                        <a:lnTo>
                          <a:pt x="3787" y="2466"/>
                        </a:lnTo>
                        <a:lnTo>
                          <a:pt x="3788" y="2500"/>
                        </a:lnTo>
                        <a:lnTo>
                          <a:pt x="3788" y="250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61" tIns="45731" rIns="91461" bIns="457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583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dirty="0">
                      <a:solidFill>
                        <a:srgbClr val="000000"/>
                      </a:solidFill>
                      <a:latin typeface="Calibri"/>
                      <a:ea typeface="+mn-ea"/>
                    </a:endParaRPr>
                  </a:p>
                </p:txBody>
              </p:sp>
            </p:grpSp>
            <p:grpSp>
              <p:nvGrpSpPr>
                <p:cNvPr id="281" name="Gruppieren 280">
                  <a:extLst>
                    <a:ext uri="{FF2B5EF4-FFF2-40B4-BE49-F238E27FC236}">
                      <a16:creationId xmlns:a16="http://schemas.microsoft.com/office/drawing/2014/main" id="{3DE0672F-FD52-4DC7-98AE-79C992989302}"/>
                    </a:ext>
                  </a:extLst>
                </p:cNvPr>
                <p:cNvGrpSpPr/>
                <p:nvPr/>
              </p:nvGrpSpPr>
              <p:grpSpPr bwMode="gray">
                <a:xfrm>
                  <a:off x="561363" y="4863990"/>
                  <a:ext cx="1157889" cy="362730"/>
                  <a:chOff x="561363" y="4863990"/>
                  <a:chExt cx="1157889" cy="362730"/>
                </a:xfrm>
              </p:grpSpPr>
              <p:grpSp>
                <p:nvGrpSpPr>
                  <p:cNvPr id="217" name="SAGD, Siemens, healthineers, evolve">
                    <a:extLst>
                      <a:ext uri="{FF2B5EF4-FFF2-40B4-BE49-F238E27FC236}">
                        <a16:creationId xmlns:a16="http://schemas.microsoft.com/office/drawing/2014/main" id="{50AC3750-6BAF-473B-8DF9-C1C0C73ECB32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561363" y="4863990"/>
                    <a:ext cx="361963" cy="362730"/>
                    <a:chOff x="1188" y="1252"/>
                    <a:chExt cx="2268" cy="2268"/>
                  </a:xfrm>
                </p:grpSpPr>
                <p:sp>
                  <p:nvSpPr>
                    <p:cNvPr id="218" name="AutoShape 4">
                      <a:extLst>
                        <a:ext uri="{FF2B5EF4-FFF2-40B4-BE49-F238E27FC236}">
                          <a16:creationId xmlns:a16="http://schemas.microsoft.com/office/drawing/2014/main" id="{7EAC8702-72F1-4511-879B-7113D458CD74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19" name="Freeform 6">
                      <a:extLst>
                        <a:ext uri="{FF2B5EF4-FFF2-40B4-BE49-F238E27FC236}">
                          <a16:creationId xmlns:a16="http://schemas.microsoft.com/office/drawing/2014/main" id="{BF709DF2-B29B-4C2E-8AC5-25E42BCEC39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20" name="Freeform 7">
                      <a:extLst>
                        <a:ext uri="{FF2B5EF4-FFF2-40B4-BE49-F238E27FC236}">
                          <a16:creationId xmlns:a16="http://schemas.microsoft.com/office/drawing/2014/main" id="{A3BB14DC-9F7F-4B9A-8806-D2492144B57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solidFill>
                      <a:srgbClr val="3ABFE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21" name="Freeform 8">
                      <a:extLst>
                        <a:ext uri="{FF2B5EF4-FFF2-40B4-BE49-F238E27FC236}">
                          <a16:creationId xmlns:a16="http://schemas.microsoft.com/office/drawing/2014/main" id="{843089DE-ADA5-4019-9CD7-9A81320317D8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  <p:grpSp>
                <p:nvGrpSpPr>
                  <p:cNvPr id="223" name="SAGD, Siemens, healthineers, evolve">
                    <a:extLst>
                      <a:ext uri="{FF2B5EF4-FFF2-40B4-BE49-F238E27FC236}">
                        <a16:creationId xmlns:a16="http://schemas.microsoft.com/office/drawing/2014/main" id="{49E10C6A-78C7-4ADA-BF84-95B9A3C76A96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959326" y="4863990"/>
                    <a:ext cx="361963" cy="362730"/>
                    <a:chOff x="1188" y="1252"/>
                    <a:chExt cx="2268" cy="2268"/>
                  </a:xfrm>
                </p:grpSpPr>
                <p:sp>
                  <p:nvSpPr>
                    <p:cNvPr id="224" name="AutoShape 4">
                      <a:extLst>
                        <a:ext uri="{FF2B5EF4-FFF2-40B4-BE49-F238E27FC236}">
                          <a16:creationId xmlns:a16="http://schemas.microsoft.com/office/drawing/2014/main" id="{2370AF92-9056-4C77-A261-E08FE8400B9C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25" name="Freeform 6">
                      <a:extLst>
                        <a:ext uri="{FF2B5EF4-FFF2-40B4-BE49-F238E27FC236}">
                          <a16:creationId xmlns:a16="http://schemas.microsoft.com/office/drawing/2014/main" id="{2EF4F16D-7540-491B-9911-0F405F0A9CF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26" name="Freeform 7">
                      <a:extLst>
                        <a:ext uri="{FF2B5EF4-FFF2-40B4-BE49-F238E27FC236}">
                          <a16:creationId xmlns:a16="http://schemas.microsoft.com/office/drawing/2014/main" id="{93115809-08B5-44FE-A8A9-3AF23A2DFF8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solidFill>
                      <a:schemeClr val="accent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27" name="Freeform 8">
                      <a:extLst>
                        <a:ext uri="{FF2B5EF4-FFF2-40B4-BE49-F238E27FC236}">
                          <a16:creationId xmlns:a16="http://schemas.microsoft.com/office/drawing/2014/main" id="{BC761210-03EE-4501-AF98-B3F550FDBB42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  <p:grpSp>
                <p:nvGrpSpPr>
                  <p:cNvPr id="228" name="SAGD, Siemens, healthineers, evolve">
                    <a:extLst>
                      <a:ext uri="{FF2B5EF4-FFF2-40B4-BE49-F238E27FC236}">
                        <a16:creationId xmlns:a16="http://schemas.microsoft.com/office/drawing/2014/main" id="{22BE3F0A-A52D-42A9-81EF-2A247EAD0F00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1357289" y="4863990"/>
                    <a:ext cx="361963" cy="362730"/>
                    <a:chOff x="1188" y="1252"/>
                    <a:chExt cx="2268" cy="2268"/>
                  </a:xfrm>
                </p:grpSpPr>
                <p:sp>
                  <p:nvSpPr>
                    <p:cNvPr id="229" name="AutoShape 4">
                      <a:extLst>
                        <a:ext uri="{FF2B5EF4-FFF2-40B4-BE49-F238E27FC236}">
                          <a16:creationId xmlns:a16="http://schemas.microsoft.com/office/drawing/2014/main" id="{D5ECD601-698D-4993-8BB3-DB4EBB38C756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30" name="Freeform 6">
                      <a:extLst>
                        <a:ext uri="{FF2B5EF4-FFF2-40B4-BE49-F238E27FC236}">
                          <a16:creationId xmlns:a16="http://schemas.microsoft.com/office/drawing/2014/main" id="{680DFA25-E058-4F00-B4DB-323478DE336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31" name="Freeform 7">
                      <a:extLst>
                        <a:ext uri="{FF2B5EF4-FFF2-40B4-BE49-F238E27FC236}">
                          <a16:creationId xmlns:a16="http://schemas.microsoft.com/office/drawing/2014/main" id="{1F8C0136-8BD6-402E-B6F8-4BFA02783FE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no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32" name="Freeform 8">
                      <a:extLst>
                        <a:ext uri="{FF2B5EF4-FFF2-40B4-BE49-F238E27FC236}">
                          <a16:creationId xmlns:a16="http://schemas.microsoft.com/office/drawing/2014/main" id="{307E5C78-DD6E-4FBE-B6D0-84B0FDF1091D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</p:grpSp>
          </p:grpSp>
          <p:grpSp>
            <p:nvGrpSpPr>
              <p:cNvPr id="299" name="Gruppieren 298">
                <a:extLst>
                  <a:ext uri="{FF2B5EF4-FFF2-40B4-BE49-F238E27FC236}">
                    <a16:creationId xmlns:a16="http://schemas.microsoft.com/office/drawing/2014/main" id="{2835F2B8-9C80-41E5-81B5-974C4A5AB98A}"/>
                  </a:ext>
                </a:extLst>
              </p:cNvPr>
              <p:cNvGrpSpPr/>
              <p:nvPr/>
            </p:nvGrpSpPr>
            <p:grpSpPr bwMode="gray">
              <a:xfrm>
                <a:off x="4180169" y="4584151"/>
                <a:ext cx="1242442" cy="832457"/>
                <a:chOff x="4180169" y="4584151"/>
                <a:chExt cx="1242442" cy="832457"/>
              </a:xfrm>
            </p:grpSpPr>
            <p:grpSp>
              <p:nvGrpSpPr>
                <p:cNvPr id="252" name="Gruppieren 251">
                  <a:extLst>
                    <a:ext uri="{FF2B5EF4-FFF2-40B4-BE49-F238E27FC236}">
                      <a16:creationId xmlns:a16="http://schemas.microsoft.com/office/drawing/2014/main" id="{8BF9AC63-AA97-4228-B27E-0AD2E8929B05}"/>
                    </a:ext>
                  </a:extLst>
                </p:cNvPr>
                <p:cNvGrpSpPr>
                  <a:grpSpLocks/>
                </p:cNvGrpSpPr>
                <p:nvPr/>
              </p:nvGrpSpPr>
              <p:grpSpPr bwMode="gray">
                <a:xfrm>
                  <a:off x="4262351" y="4683965"/>
                  <a:ext cx="552028" cy="522469"/>
                  <a:chOff x="4262351" y="4720010"/>
                  <a:chExt cx="552028" cy="522469"/>
                </a:xfrm>
              </p:grpSpPr>
              <p:pic>
                <p:nvPicPr>
                  <p:cNvPr id="246" name="Picture 211">
                    <a:extLst>
                      <a:ext uri="{FF2B5EF4-FFF2-40B4-BE49-F238E27FC236}">
                        <a16:creationId xmlns:a16="http://schemas.microsoft.com/office/drawing/2014/main" id="{94EA8EFA-6E2E-4120-8D0B-9FAA4CFCD1A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 bwMode="gray">
                  <a:xfrm>
                    <a:off x="4262351" y="4720010"/>
                    <a:ext cx="408366" cy="522469"/>
                  </a:xfrm>
                  <a:prstGeom prst="rect">
                    <a:avLst/>
                  </a:prstGeom>
                </p:spPr>
              </p:pic>
              <p:grpSp>
                <p:nvGrpSpPr>
                  <p:cNvPr id="247" name="SAGD, Siemens, healthineers, evolve">
                    <a:extLst>
                      <a:ext uri="{FF2B5EF4-FFF2-40B4-BE49-F238E27FC236}">
                        <a16:creationId xmlns:a16="http://schemas.microsoft.com/office/drawing/2014/main" id="{D8BBAD09-1CBA-43A2-B440-23B7DAE683F2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4580736" y="4977944"/>
                    <a:ext cx="233643" cy="234138"/>
                    <a:chOff x="1188" y="1252"/>
                    <a:chExt cx="2268" cy="2268"/>
                  </a:xfrm>
                </p:grpSpPr>
                <p:sp>
                  <p:nvSpPr>
                    <p:cNvPr id="248" name="AutoShape 4">
                      <a:extLst>
                        <a:ext uri="{FF2B5EF4-FFF2-40B4-BE49-F238E27FC236}">
                          <a16:creationId xmlns:a16="http://schemas.microsoft.com/office/drawing/2014/main" id="{57AB20C7-2560-4036-A61C-967635F89AC1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49" name="Freeform 6">
                      <a:extLst>
                        <a:ext uri="{FF2B5EF4-FFF2-40B4-BE49-F238E27FC236}">
                          <a16:creationId xmlns:a16="http://schemas.microsoft.com/office/drawing/2014/main" id="{3B69146B-F135-4164-AEE0-6DA0A8B39D2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50" name="Freeform 7">
                      <a:extLst>
                        <a:ext uri="{FF2B5EF4-FFF2-40B4-BE49-F238E27FC236}">
                          <a16:creationId xmlns:a16="http://schemas.microsoft.com/office/drawing/2014/main" id="{78188671-9356-4A25-AF3A-F6B7F07AA4E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no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251" name="Freeform 8">
                      <a:extLst>
                        <a:ext uri="{FF2B5EF4-FFF2-40B4-BE49-F238E27FC236}">
                          <a16:creationId xmlns:a16="http://schemas.microsoft.com/office/drawing/2014/main" id="{105AFA64-977B-4FC2-94F5-B47AC0C784F9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</p:grpSp>
            <p:sp>
              <p:nvSpPr>
                <p:cNvPr id="254" name="TextBox 39">
                  <a:extLst>
                    <a:ext uri="{FF2B5EF4-FFF2-40B4-BE49-F238E27FC236}">
                      <a16:creationId xmlns:a16="http://schemas.microsoft.com/office/drawing/2014/main" id="{B902E29F-3BB3-4978-B656-EA6A02EA4B9C}"/>
                    </a:ext>
                  </a:extLst>
                </p:cNvPr>
                <p:cNvSpPr txBox="1">
                  <a:spLocks/>
                </p:cNvSpPr>
                <p:nvPr/>
              </p:nvSpPr>
              <p:spPr bwMode="gray">
                <a:xfrm>
                  <a:off x="4219151" y="5262720"/>
                  <a:ext cx="1203460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Calibri"/>
                      <a:ea typeface="+mn-ea"/>
                    </a:rPr>
                    <a:t>Control System</a:t>
                  </a:r>
                </a:p>
              </p:txBody>
            </p:sp>
            <p:pic>
              <p:nvPicPr>
                <p:cNvPr id="8196" name="Picture 4" descr="Bildergebnis fÃ¼r windows logo">
                  <a:extLst>
                    <a:ext uri="{FF2B5EF4-FFF2-40B4-BE49-F238E27FC236}">
                      <a16:creationId xmlns:a16="http://schemas.microsoft.com/office/drawing/2014/main" id="{4F25C060-4912-4A21-B07E-7EDFC78D938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4688111" y="4616633"/>
                  <a:ext cx="286943" cy="28694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300" name="Gruppieren 299">
                  <a:extLst>
                    <a:ext uri="{FF2B5EF4-FFF2-40B4-BE49-F238E27FC236}">
                      <a16:creationId xmlns:a16="http://schemas.microsoft.com/office/drawing/2014/main" id="{C0F87BE0-58CB-41A8-AAA3-DCE2200F1598}"/>
                    </a:ext>
                  </a:extLst>
                </p:cNvPr>
                <p:cNvGrpSpPr/>
                <p:nvPr/>
              </p:nvGrpSpPr>
              <p:grpSpPr bwMode="gray">
                <a:xfrm>
                  <a:off x="4180169" y="4584151"/>
                  <a:ext cx="372183" cy="152306"/>
                  <a:chOff x="561363" y="4683965"/>
                  <a:chExt cx="1326304" cy="542755"/>
                </a:xfrm>
              </p:grpSpPr>
              <p:grpSp>
                <p:nvGrpSpPr>
                  <p:cNvPr id="301" name="SAGD, Siemens, healthineers, evolve">
                    <a:extLst>
                      <a:ext uri="{FF2B5EF4-FFF2-40B4-BE49-F238E27FC236}">
                        <a16:creationId xmlns:a16="http://schemas.microsoft.com/office/drawing/2014/main" id="{91A16C5F-A60B-4235-9EB0-DAF7056087E9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729778" y="4683965"/>
                    <a:ext cx="361963" cy="362730"/>
                    <a:chOff x="1188" y="1252"/>
                    <a:chExt cx="2268" cy="2268"/>
                  </a:xfrm>
                </p:grpSpPr>
                <p:sp>
                  <p:nvSpPr>
                    <p:cNvPr id="328" name="AutoShape 4">
                      <a:extLst>
                        <a:ext uri="{FF2B5EF4-FFF2-40B4-BE49-F238E27FC236}">
                          <a16:creationId xmlns:a16="http://schemas.microsoft.com/office/drawing/2014/main" id="{196A4804-6429-4FD6-9F67-696110DC4C98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329" name="Freeform 6">
                      <a:extLst>
                        <a:ext uri="{FF2B5EF4-FFF2-40B4-BE49-F238E27FC236}">
                          <a16:creationId xmlns:a16="http://schemas.microsoft.com/office/drawing/2014/main" id="{FB8C4702-CEA5-438F-8F95-C6BF1B00DF9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chemeClr val="bg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330" name="Freeform 7">
                      <a:extLst>
                        <a:ext uri="{FF2B5EF4-FFF2-40B4-BE49-F238E27FC236}">
                          <a16:creationId xmlns:a16="http://schemas.microsoft.com/office/drawing/2014/main" id="{5DA6D5C4-78B5-4588-867D-43B9B38305E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no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331" name="Freeform 8">
                      <a:extLst>
                        <a:ext uri="{FF2B5EF4-FFF2-40B4-BE49-F238E27FC236}">
                          <a16:creationId xmlns:a16="http://schemas.microsoft.com/office/drawing/2014/main" id="{C26E398D-87F4-4272-AA0A-0C8270C030A2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  <p:grpSp>
                <p:nvGrpSpPr>
                  <p:cNvPr id="302" name="SAGD, Siemens, healthineers, evolve">
                    <a:extLst>
                      <a:ext uri="{FF2B5EF4-FFF2-40B4-BE49-F238E27FC236}">
                        <a16:creationId xmlns:a16="http://schemas.microsoft.com/office/drawing/2014/main" id="{29BEDAA9-10B0-4C0C-A15E-5474B119E7C1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1127741" y="4683965"/>
                    <a:ext cx="361963" cy="362730"/>
                    <a:chOff x="1188" y="1252"/>
                    <a:chExt cx="2268" cy="2268"/>
                  </a:xfrm>
                </p:grpSpPr>
                <p:sp>
                  <p:nvSpPr>
                    <p:cNvPr id="324" name="AutoShape 4">
                      <a:extLst>
                        <a:ext uri="{FF2B5EF4-FFF2-40B4-BE49-F238E27FC236}">
                          <a16:creationId xmlns:a16="http://schemas.microsoft.com/office/drawing/2014/main" id="{54D75587-5D1F-4A32-881A-9266986A29B9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325" name="Freeform 6">
                      <a:extLst>
                        <a:ext uri="{FF2B5EF4-FFF2-40B4-BE49-F238E27FC236}">
                          <a16:creationId xmlns:a16="http://schemas.microsoft.com/office/drawing/2014/main" id="{5641AB4B-D62B-4777-8533-0BB26DBF05B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rgbClr val="EC660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326" name="Freeform 7">
                      <a:extLst>
                        <a:ext uri="{FF2B5EF4-FFF2-40B4-BE49-F238E27FC236}">
                          <a16:creationId xmlns:a16="http://schemas.microsoft.com/office/drawing/2014/main" id="{6C191E13-D927-4A2B-AC15-0F716F33314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solidFill>
                      <a:schemeClr val="accent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327" name="Freeform 8">
                      <a:extLst>
                        <a:ext uri="{FF2B5EF4-FFF2-40B4-BE49-F238E27FC236}">
                          <a16:creationId xmlns:a16="http://schemas.microsoft.com/office/drawing/2014/main" id="{943BAE6F-864B-401B-A44A-B50A2EC5ABE7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  <p:grpSp>
                <p:nvGrpSpPr>
                  <p:cNvPr id="303" name="SAGD, Siemens, healthineers, evolve">
                    <a:extLst>
                      <a:ext uri="{FF2B5EF4-FFF2-40B4-BE49-F238E27FC236}">
                        <a16:creationId xmlns:a16="http://schemas.microsoft.com/office/drawing/2014/main" id="{323405FC-C63B-4620-9134-960454BB4E6E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>
                    <a:off x="1525704" y="4683965"/>
                    <a:ext cx="361963" cy="362730"/>
                    <a:chOff x="1188" y="1252"/>
                    <a:chExt cx="2268" cy="2268"/>
                  </a:xfrm>
                </p:grpSpPr>
                <p:sp>
                  <p:nvSpPr>
                    <p:cNvPr id="320" name="AutoShape 4">
                      <a:extLst>
                        <a:ext uri="{FF2B5EF4-FFF2-40B4-BE49-F238E27FC236}">
                          <a16:creationId xmlns:a16="http://schemas.microsoft.com/office/drawing/2014/main" id="{1D97DB5E-8396-4354-ADD3-721971FFA0FC}"/>
                        </a:ext>
                      </a:extLst>
                    </p:cNvPr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321" name="Freeform 6">
                      <a:extLst>
                        <a:ext uri="{FF2B5EF4-FFF2-40B4-BE49-F238E27FC236}">
                          <a16:creationId xmlns:a16="http://schemas.microsoft.com/office/drawing/2014/main" id="{F5DDD9C0-2594-4770-92D7-9A37BDCD80B8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  <a:close/>
                        </a:path>
                      </a:pathLst>
                    </a:custGeom>
                    <a:solidFill>
                      <a:srgbClr val="7A162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322" name="Freeform 7">
                      <a:extLst>
                        <a:ext uri="{FF2B5EF4-FFF2-40B4-BE49-F238E27FC236}">
                          <a16:creationId xmlns:a16="http://schemas.microsoft.com/office/drawing/2014/main" id="{96EEF79A-E2F0-4036-8B92-3190AAA80198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188" y="1252"/>
                      <a:ext cx="2268" cy="2268"/>
                    </a:xfrm>
                    <a:custGeom>
                      <a:avLst/>
                      <a:gdLst/>
                      <a:ahLst/>
                      <a:cxnLst>
                        <a:cxn ang="0">
                          <a:pos x="11317" y="6179"/>
                        </a:cxn>
                        <a:cxn ang="0">
                          <a:pos x="11224" y="6813"/>
                        </a:cxn>
                        <a:cxn ang="0">
                          <a:pos x="11064" y="7423"/>
                        </a:cxn>
                        <a:cxn ang="0">
                          <a:pos x="10839" y="8004"/>
                        </a:cxn>
                        <a:cxn ang="0">
                          <a:pos x="10554" y="8552"/>
                        </a:cxn>
                        <a:cxn ang="0">
                          <a:pos x="10213" y="9063"/>
                        </a:cxn>
                        <a:cxn ang="0">
                          <a:pos x="9821" y="9533"/>
                        </a:cxn>
                        <a:cxn ang="0">
                          <a:pos x="9380" y="9958"/>
                        </a:cxn>
                        <a:cxn ang="0">
                          <a:pos x="8896" y="10333"/>
                        </a:cxn>
                        <a:cxn ang="0">
                          <a:pos x="8373" y="10656"/>
                        </a:cxn>
                        <a:cxn ang="0">
                          <a:pos x="7813" y="10921"/>
                        </a:cxn>
                        <a:cxn ang="0">
                          <a:pos x="7222" y="11125"/>
                        </a:cxn>
                        <a:cxn ang="0">
                          <a:pos x="6604" y="11264"/>
                        </a:cxn>
                        <a:cxn ang="0">
                          <a:pos x="5962" y="11333"/>
                        </a:cxn>
                        <a:cxn ang="0">
                          <a:pos x="5378" y="11333"/>
                        </a:cxn>
                        <a:cxn ang="0">
                          <a:pos x="4736" y="11264"/>
                        </a:cxn>
                        <a:cxn ang="0">
                          <a:pos x="4117" y="11125"/>
                        </a:cxn>
                        <a:cxn ang="0">
                          <a:pos x="3526" y="10921"/>
                        </a:cxn>
                        <a:cxn ang="0">
                          <a:pos x="2967" y="10656"/>
                        </a:cxn>
                        <a:cxn ang="0">
                          <a:pos x="2443" y="10333"/>
                        </a:cxn>
                        <a:cxn ang="0">
                          <a:pos x="1959" y="9958"/>
                        </a:cxn>
                        <a:cxn ang="0">
                          <a:pos x="1519" y="9533"/>
                        </a:cxn>
                        <a:cxn ang="0">
                          <a:pos x="1126" y="9063"/>
                        </a:cxn>
                        <a:cxn ang="0">
                          <a:pos x="785" y="8552"/>
                        </a:cxn>
                        <a:cxn ang="0">
                          <a:pos x="501" y="8004"/>
                        </a:cxn>
                        <a:cxn ang="0">
                          <a:pos x="276" y="7423"/>
                        </a:cxn>
                        <a:cxn ang="0">
                          <a:pos x="115" y="6813"/>
                        </a:cxn>
                        <a:cxn ang="0">
                          <a:pos x="22" y="6179"/>
                        </a:cxn>
                        <a:cxn ang="0">
                          <a:pos x="0" y="5596"/>
                        </a:cxn>
                        <a:cxn ang="0">
                          <a:pos x="45" y="4948"/>
                        </a:cxn>
                        <a:cxn ang="0">
                          <a:pos x="161" y="4321"/>
                        </a:cxn>
                        <a:cxn ang="0">
                          <a:pos x="344" y="3720"/>
                        </a:cxn>
                        <a:cxn ang="0">
                          <a:pos x="589" y="3150"/>
                        </a:cxn>
                        <a:cxn ang="0">
                          <a:pos x="893" y="2614"/>
                        </a:cxn>
                        <a:cxn ang="0">
                          <a:pos x="1251" y="2116"/>
                        </a:cxn>
                        <a:cxn ang="0">
                          <a:pos x="1660" y="1661"/>
                        </a:cxn>
                        <a:cxn ang="0">
                          <a:pos x="2116" y="1252"/>
                        </a:cxn>
                        <a:cxn ang="0">
                          <a:pos x="2613" y="893"/>
                        </a:cxn>
                        <a:cxn ang="0">
                          <a:pos x="3150" y="589"/>
                        </a:cxn>
                        <a:cxn ang="0">
                          <a:pos x="3720" y="344"/>
                        </a:cxn>
                        <a:cxn ang="0">
                          <a:pos x="4320" y="162"/>
                        </a:cxn>
                        <a:cxn ang="0">
                          <a:pos x="4947" y="46"/>
                        </a:cxn>
                        <a:cxn ang="0">
                          <a:pos x="5596" y="1"/>
                        </a:cxn>
                        <a:cxn ang="0">
                          <a:pos x="6178" y="23"/>
                        </a:cxn>
                        <a:cxn ang="0">
                          <a:pos x="6813" y="115"/>
                        </a:cxn>
                        <a:cxn ang="0">
                          <a:pos x="7423" y="276"/>
                        </a:cxn>
                        <a:cxn ang="0">
                          <a:pos x="8003" y="501"/>
                        </a:cxn>
                        <a:cxn ang="0">
                          <a:pos x="8551" y="786"/>
                        </a:cxn>
                        <a:cxn ang="0">
                          <a:pos x="9062" y="1126"/>
                        </a:cxn>
                        <a:cxn ang="0">
                          <a:pos x="9532" y="1519"/>
                        </a:cxn>
                        <a:cxn ang="0">
                          <a:pos x="9957" y="1959"/>
                        </a:cxn>
                        <a:cxn ang="0">
                          <a:pos x="10333" y="2443"/>
                        </a:cxn>
                        <a:cxn ang="0">
                          <a:pos x="10655" y="2967"/>
                        </a:cxn>
                        <a:cxn ang="0">
                          <a:pos x="10921" y="3527"/>
                        </a:cxn>
                        <a:cxn ang="0">
                          <a:pos x="11124" y="4118"/>
                        </a:cxn>
                        <a:cxn ang="0">
                          <a:pos x="11263" y="4736"/>
                        </a:cxn>
                        <a:cxn ang="0">
                          <a:pos x="11332" y="5378"/>
                        </a:cxn>
                      </a:cxnLst>
                      <a:rect l="0" t="0" r="r" b="b"/>
                      <a:pathLst>
                        <a:path w="11340" h="11340">
                          <a:moveTo>
                            <a:pt x="11340" y="5671"/>
                          </a:moveTo>
                          <a:lnTo>
                            <a:pt x="11340" y="5671"/>
                          </a:lnTo>
                          <a:lnTo>
                            <a:pt x="11339" y="5744"/>
                          </a:lnTo>
                          <a:lnTo>
                            <a:pt x="11338" y="5817"/>
                          </a:lnTo>
                          <a:lnTo>
                            <a:pt x="11335" y="5890"/>
                          </a:lnTo>
                          <a:lnTo>
                            <a:pt x="11332" y="5962"/>
                          </a:lnTo>
                          <a:lnTo>
                            <a:pt x="11328" y="6035"/>
                          </a:lnTo>
                          <a:lnTo>
                            <a:pt x="11323" y="6107"/>
                          </a:lnTo>
                          <a:lnTo>
                            <a:pt x="11317" y="6179"/>
                          </a:lnTo>
                          <a:lnTo>
                            <a:pt x="11310" y="6250"/>
                          </a:lnTo>
                          <a:lnTo>
                            <a:pt x="11303" y="6322"/>
                          </a:lnTo>
                          <a:lnTo>
                            <a:pt x="11294" y="6393"/>
                          </a:lnTo>
                          <a:lnTo>
                            <a:pt x="11285" y="6464"/>
                          </a:lnTo>
                          <a:lnTo>
                            <a:pt x="11274" y="6534"/>
                          </a:lnTo>
                          <a:lnTo>
                            <a:pt x="11263" y="6604"/>
                          </a:lnTo>
                          <a:lnTo>
                            <a:pt x="11251" y="6674"/>
                          </a:lnTo>
                          <a:lnTo>
                            <a:pt x="11238" y="6744"/>
                          </a:lnTo>
                          <a:lnTo>
                            <a:pt x="11224" y="6813"/>
                          </a:lnTo>
                          <a:lnTo>
                            <a:pt x="11210" y="6882"/>
                          </a:lnTo>
                          <a:lnTo>
                            <a:pt x="11194" y="6951"/>
                          </a:lnTo>
                          <a:lnTo>
                            <a:pt x="11178" y="7019"/>
                          </a:lnTo>
                          <a:lnTo>
                            <a:pt x="11161" y="7088"/>
                          </a:lnTo>
                          <a:lnTo>
                            <a:pt x="11143" y="7155"/>
                          </a:lnTo>
                          <a:lnTo>
                            <a:pt x="11124" y="7223"/>
                          </a:lnTo>
                          <a:lnTo>
                            <a:pt x="11105" y="7290"/>
                          </a:lnTo>
                          <a:lnTo>
                            <a:pt x="11085" y="7357"/>
                          </a:lnTo>
                          <a:lnTo>
                            <a:pt x="11064" y="7423"/>
                          </a:lnTo>
                          <a:lnTo>
                            <a:pt x="11042" y="7489"/>
                          </a:lnTo>
                          <a:lnTo>
                            <a:pt x="11019" y="7555"/>
                          </a:lnTo>
                          <a:lnTo>
                            <a:pt x="10996" y="7620"/>
                          </a:lnTo>
                          <a:lnTo>
                            <a:pt x="10971" y="7685"/>
                          </a:lnTo>
                          <a:lnTo>
                            <a:pt x="10946" y="7749"/>
                          </a:lnTo>
                          <a:lnTo>
                            <a:pt x="10921" y="7814"/>
                          </a:lnTo>
                          <a:lnTo>
                            <a:pt x="10894" y="7877"/>
                          </a:lnTo>
                          <a:lnTo>
                            <a:pt x="10867" y="7941"/>
                          </a:lnTo>
                          <a:lnTo>
                            <a:pt x="10839" y="8004"/>
                          </a:lnTo>
                          <a:lnTo>
                            <a:pt x="10810" y="8066"/>
                          </a:lnTo>
                          <a:lnTo>
                            <a:pt x="10780" y="8129"/>
                          </a:lnTo>
                          <a:lnTo>
                            <a:pt x="10750" y="8190"/>
                          </a:lnTo>
                          <a:lnTo>
                            <a:pt x="10719" y="8252"/>
                          </a:lnTo>
                          <a:lnTo>
                            <a:pt x="10688" y="8313"/>
                          </a:lnTo>
                          <a:lnTo>
                            <a:pt x="10655" y="8373"/>
                          </a:lnTo>
                          <a:lnTo>
                            <a:pt x="10622" y="8433"/>
                          </a:lnTo>
                          <a:lnTo>
                            <a:pt x="10588" y="8493"/>
                          </a:lnTo>
                          <a:lnTo>
                            <a:pt x="10554" y="8552"/>
                          </a:lnTo>
                          <a:lnTo>
                            <a:pt x="10519" y="8610"/>
                          </a:lnTo>
                          <a:lnTo>
                            <a:pt x="10483" y="8669"/>
                          </a:lnTo>
                          <a:lnTo>
                            <a:pt x="10446" y="8726"/>
                          </a:lnTo>
                          <a:lnTo>
                            <a:pt x="10409" y="8784"/>
                          </a:lnTo>
                          <a:lnTo>
                            <a:pt x="10371" y="8840"/>
                          </a:lnTo>
                          <a:lnTo>
                            <a:pt x="10333" y="8897"/>
                          </a:lnTo>
                          <a:lnTo>
                            <a:pt x="10294" y="8953"/>
                          </a:lnTo>
                          <a:lnTo>
                            <a:pt x="10254" y="9008"/>
                          </a:lnTo>
                          <a:lnTo>
                            <a:pt x="10213" y="9063"/>
                          </a:lnTo>
                          <a:lnTo>
                            <a:pt x="10172" y="9117"/>
                          </a:lnTo>
                          <a:lnTo>
                            <a:pt x="10130" y="9171"/>
                          </a:lnTo>
                          <a:lnTo>
                            <a:pt x="10088" y="9224"/>
                          </a:lnTo>
                          <a:lnTo>
                            <a:pt x="10045" y="9277"/>
                          </a:lnTo>
                          <a:lnTo>
                            <a:pt x="10001" y="9329"/>
                          </a:lnTo>
                          <a:lnTo>
                            <a:pt x="9957" y="9381"/>
                          </a:lnTo>
                          <a:lnTo>
                            <a:pt x="9912" y="9432"/>
                          </a:lnTo>
                          <a:lnTo>
                            <a:pt x="9867" y="9483"/>
                          </a:lnTo>
                          <a:lnTo>
                            <a:pt x="9821" y="9533"/>
                          </a:lnTo>
                          <a:lnTo>
                            <a:pt x="9774" y="9582"/>
                          </a:lnTo>
                          <a:lnTo>
                            <a:pt x="9727" y="9631"/>
                          </a:lnTo>
                          <a:lnTo>
                            <a:pt x="9679" y="9680"/>
                          </a:lnTo>
                          <a:lnTo>
                            <a:pt x="9631" y="9727"/>
                          </a:lnTo>
                          <a:lnTo>
                            <a:pt x="9582" y="9775"/>
                          </a:lnTo>
                          <a:lnTo>
                            <a:pt x="9532" y="9821"/>
                          </a:lnTo>
                          <a:lnTo>
                            <a:pt x="9482" y="9867"/>
                          </a:lnTo>
                          <a:lnTo>
                            <a:pt x="9432" y="9913"/>
                          </a:lnTo>
                          <a:lnTo>
                            <a:pt x="9380" y="9958"/>
                          </a:lnTo>
                          <a:lnTo>
                            <a:pt x="9329" y="10002"/>
                          </a:lnTo>
                          <a:lnTo>
                            <a:pt x="9277" y="10046"/>
                          </a:lnTo>
                          <a:lnTo>
                            <a:pt x="9224" y="10089"/>
                          </a:lnTo>
                          <a:lnTo>
                            <a:pt x="9170" y="10131"/>
                          </a:lnTo>
                          <a:lnTo>
                            <a:pt x="9117" y="10173"/>
                          </a:lnTo>
                          <a:lnTo>
                            <a:pt x="9062" y="10214"/>
                          </a:lnTo>
                          <a:lnTo>
                            <a:pt x="9008" y="10254"/>
                          </a:lnTo>
                          <a:lnTo>
                            <a:pt x="8952" y="10294"/>
                          </a:lnTo>
                          <a:lnTo>
                            <a:pt x="8896" y="10333"/>
                          </a:lnTo>
                          <a:lnTo>
                            <a:pt x="8840" y="10372"/>
                          </a:lnTo>
                          <a:lnTo>
                            <a:pt x="8783" y="10410"/>
                          </a:lnTo>
                          <a:lnTo>
                            <a:pt x="8726" y="10447"/>
                          </a:lnTo>
                          <a:lnTo>
                            <a:pt x="8668" y="10484"/>
                          </a:lnTo>
                          <a:lnTo>
                            <a:pt x="8610" y="10519"/>
                          </a:lnTo>
                          <a:lnTo>
                            <a:pt x="8551" y="10555"/>
                          </a:lnTo>
                          <a:lnTo>
                            <a:pt x="8492" y="10589"/>
                          </a:lnTo>
                          <a:lnTo>
                            <a:pt x="8433" y="10623"/>
                          </a:lnTo>
                          <a:lnTo>
                            <a:pt x="8373" y="10656"/>
                          </a:lnTo>
                          <a:lnTo>
                            <a:pt x="8312" y="10688"/>
                          </a:lnTo>
                          <a:lnTo>
                            <a:pt x="8251" y="10720"/>
                          </a:lnTo>
                          <a:lnTo>
                            <a:pt x="8190" y="10751"/>
                          </a:lnTo>
                          <a:lnTo>
                            <a:pt x="8128" y="10781"/>
                          </a:lnTo>
                          <a:lnTo>
                            <a:pt x="8066" y="10811"/>
                          </a:lnTo>
                          <a:lnTo>
                            <a:pt x="8003" y="10839"/>
                          </a:lnTo>
                          <a:lnTo>
                            <a:pt x="7940" y="10867"/>
                          </a:lnTo>
                          <a:lnTo>
                            <a:pt x="7877" y="10895"/>
                          </a:lnTo>
                          <a:lnTo>
                            <a:pt x="7813" y="10921"/>
                          </a:lnTo>
                          <a:lnTo>
                            <a:pt x="7749" y="10947"/>
                          </a:lnTo>
                          <a:lnTo>
                            <a:pt x="7685" y="10972"/>
                          </a:lnTo>
                          <a:lnTo>
                            <a:pt x="7620" y="10996"/>
                          </a:lnTo>
                          <a:lnTo>
                            <a:pt x="7554" y="11020"/>
                          </a:lnTo>
                          <a:lnTo>
                            <a:pt x="7489" y="11042"/>
                          </a:lnTo>
                          <a:lnTo>
                            <a:pt x="7423" y="11064"/>
                          </a:lnTo>
                          <a:lnTo>
                            <a:pt x="7356" y="11085"/>
                          </a:lnTo>
                          <a:lnTo>
                            <a:pt x="7289" y="11106"/>
                          </a:lnTo>
                          <a:lnTo>
                            <a:pt x="7222" y="11125"/>
                          </a:lnTo>
                          <a:lnTo>
                            <a:pt x="7155" y="11144"/>
                          </a:lnTo>
                          <a:lnTo>
                            <a:pt x="7087" y="11162"/>
                          </a:lnTo>
                          <a:lnTo>
                            <a:pt x="7019" y="11179"/>
                          </a:lnTo>
                          <a:lnTo>
                            <a:pt x="6951" y="11195"/>
                          </a:lnTo>
                          <a:lnTo>
                            <a:pt x="6882" y="11210"/>
                          </a:lnTo>
                          <a:lnTo>
                            <a:pt x="6813" y="11225"/>
                          </a:lnTo>
                          <a:lnTo>
                            <a:pt x="6744" y="11239"/>
                          </a:lnTo>
                          <a:lnTo>
                            <a:pt x="6674" y="11252"/>
                          </a:lnTo>
                          <a:lnTo>
                            <a:pt x="6604" y="11264"/>
                          </a:lnTo>
                          <a:lnTo>
                            <a:pt x="6534" y="11275"/>
                          </a:lnTo>
                          <a:lnTo>
                            <a:pt x="6463" y="11285"/>
                          </a:lnTo>
                          <a:lnTo>
                            <a:pt x="6392" y="11295"/>
                          </a:lnTo>
                          <a:lnTo>
                            <a:pt x="6321" y="11303"/>
                          </a:lnTo>
                          <a:lnTo>
                            <a:pt x="6250" y="11311"/>
                          </a:lnTo>
                          <a:lnTo>
                            <a:pt x="6178" y="11318"/>
                          </a:lnTo>
                          <a:lnTo>
                            <a:pt x="6107" y="11324"/>
                          </a:lnTo>
                          <a:lnTo>
                            <a:pt x="6034" y="11329"/>
                          </a:lnTo>
                          <a:lnTo>
                            <a:pt x="5962" y="11333"/>
                          </a:lnTo>
                          <a:lnTo>
                            <a:pt x="5890" y="11336"/>
                          </a:lnTo>
                          <a:lnTo>
                            <a:pt x="5817" y="11338"/>
                          </a:lnTo>
                          <a:lnTo>
                            <a:pt x="5744" y="11340"/>
                          </a:lnTo>
                          <a:lnTo>
                            <a:pt x="5669" y="11340"/>
                          </a:lnTo>
                          <a:lnTo>
                            <a:pt x="5669" y="11340"/>
                          </a:lnTo>
                          <a:lnTo>
                            <a:pt x="5596" y="11340"/>
                          </a:lnTo>
                          <a:lnTo>
                            <a:pt x="5523" y="11338"/>
                          </a:lnTo>
                          <a:lnTo>
                            <a:pt x="5450" y="11336"/>
                          </a:lnTo>
                          <a:lnTo>
                            <a:pt x="5378" y="11333"/>
                          </a:lnTo>
                          <a:lnTo>
                            <a:pt x="5305" y="11329"/>
                          </a:lnTo>
                          <a:lnTo>
                            <a:pt x="5233" y="11324"/>
                          </a:lnTo>
                          <a:lnTo>
                            <a:pt x="5161" y="11318"/>
                          </a:lnTo>
                          <a:lnTo>
                            <a:pt x="5090" y="11311"/>
                          </a:lnTo>
                          <a:lnTo>
                            <a:pt x="5018" y="11303"/>
                          </a:lnTo>
                          <a:lnTo>
                            <a:pt x="4947" y="11295"/>
                          </a:lnTo>
                          <a:lnTo>
                            <a:pt x="4876" y="11285"/>
                          </a:lnTo>
                          <a:lnTo>
                            <a:pt x="4806" y="11275"/>
                          </a:lnTo>
                          <a:lnTo>
                            <a:pt x="4736" y="11264"/>
                          </a:lnTo>
                          <a:lnTo>
                            <a:pt x="4666" y="11252"/>
                          </a:lnTo>
                          <a:lnTo>
                            <a:pt x="4596" y="11239"/>
                          </a:lnTo>
                          <a:lnTo>
                            <a:pt x="4527" y="11225"/>
                          </a:lnTo>
                          <a:lnTo>
                            <a:pt x="4458" y="11210"/>
                          </a:lnTo>
                          <a:lnTo>
                            <a:pt x="4389" y="11195"/>
                          </a:lnTo>
                          <a:lnTo>
                            <a:pt x="4320" y="11179"/>
                          </a:lnTo>
                          <a:lnTo>
                            <a:pt x="4252" y="11162"/>
                          </a:lnTo>
                          <a:lnTo>
                            <a:pt x="4185" y="11144"/>
                          </a:lnTo>
                          <a:lnTo>
                            <a:pt x="4117" y="11125"/>
                          </a:lnTo>
                          <a:lnTo>
                            <a:pt x="4050" y="11106"/>
                          </a:lnTo>
                          <a:lnTo>
                            <a:pt x="3983" y="11085"/>
                          </a:lnTo>
                          <a:lnTo>
                            <a:pt x="3917" y="11064"/>
                          </a:lnTo>
                          <a:lnTo>
                            <a:pt x="3851" y="11042"/>
                          </a:lnTo>
                          <a:lnTo>
                            <a:pt x="3785" y="11020"/>
                          </a:lnTo>
                          <a:lnTo>
                            <a:pt x="3720" y="10996"/>
                          </a:lnTo>
                          <a:lnTo>
                            <a:pt x="3655" y="10972"/>
                          </a:lnTo>
                          <a:lnTo>
                            <a:pt x="3590" y="10947"/>
                          </a:lnTo>
                          <a:lnTo>
                            <a:pt x="3526" y="10921"/>
                          </a:lnTo>
                          <a:lnTo>
                            <a:pt x="3462" y="10895"/>
                          </a:lnTo>
                          <a:lnTo>
                            <a:pt x="3399" y="10867"/>
                          </a:lnTo>
                          <a:lnTo>
                            <a:pt x="3336" y="10839"/>
                          </a:lnTo>
                          <a:lnTo>
                            <a:pt x="3273" y="10811"/>
                          </a:lnTo>
                          <a:lnTo>
                            <a:pt x="3211" y="10781"/>
                          </a:lnTo>
                          <a:lnTo>
                            <a:pt x="3150" y="10751"/>
                          </a:lnTo>
                          <a:lnTo>
                            <a:pt x="3088" y="10720"/>
                          </a:lnTo>
                          <a:lnTo>
                            <a:pt x="3027" y="10688"/>
                          </a:lnTo>
                          <a:lnTo>
                            <a:pt x="2967" y="10656"/>
                          </a:lnTo>
                          <a:lnTo>
                            <a:pt x="2907" y="10623"/>
                          </a:lnTo>
                          <a:lnTo>
                            <a:pt x="2847" y="10589"/>
                          </a:lnTo>
                          <a:lnTo>
                            <a:pt x="2788" y="10555"/>
                          </a:lnTo>
                          <a:lnTo>
                            <a:pt x="2729" y="10519"/>
                          </a:lnTo>
                          <a:lnTo>
                            <a:pt x="2671" y="10484"/>
                          </a:lnTo>
                          <a:lnTo>
                            <a:pt x="2613" y="10447"/>
                          </a:lnTo>
                          <a:lnTo>
                            <a:pt x="2556" y="10410"/>
                          </a:lnTo>
                          <a:lnTo>
                            <a:pt x="2499" y="10372"/>
                          </a:lnTo>
                          <a:lnTo>
                            <a:pt x="2443" y="10333"/>
                          </a:lnTo>
                          <a:lnTo>
                            <a:pt x="2387" y="10294"/>
                          </a:lnTo>
                          <a:lnTo>
                            <a:pt x="2332" y="10254"/>
                          </a:lnTo>
                          <a:lnTo>
                            <a:pt x="2277" y="10214"/>
                          </a:lnTo>
                          <a:lnTo>
                            <a:pt x="2223" y="10173"/>
                          </a:lnTo>
                          <a:lnTo>
                            <a:pt x="2169" y="10131"/>
                          </a:lnTo>
                          <a:lnTo>
                            <a:pt x="2116" y="10089"/>
                          </a:lnTo>
                          <a:lnTo>
                            <a:pt x="2063" y="10046"/>
                          </a:lnTo>
                          <a:lnTo>
                            <a:pt x="2011" y="10002"/>
                          </a:lnTo>
                          <a:lnTo>
                            <a:pt x="1959" y="9958"/>
                          </a:lnTo>
                          <a:lnTo>
                            <a:pt x="1908" y="9913"/>
                          </a:lnTo>
                          <a:lnTo>
                            <a:pt x="1857" y="9867"/>
                          </a:lnTo>
                          <a:lnTo>
                            <a:pt x="1807" y="9821"/>
                          </a:lnTo>
                          <a:lnTo>
                            <a:pt x="1758" y="9775"/>
                          </a:lnTo>
                          <a:lnTo>
                            <a:pt x="1709" y="9727"/>
                          </a:lnTo>
                          <a:lnTo>
                            <a:pt x="1660" y="9680"/>
                          </a:lnTo>
                          <a:lnTo>
                            <a:pt x="1613" y="9631"/>
                          </a:lnTo>
                          <a:lnTo>
                            <a:pt x="1565" y="9582"/>
                          </a:lnTo>
                          <a:lnTo>
                            <a:pt x="1519" y="9533"/>
                          </a:lnTo>
                          <a:lnTo>
                            <a:pt x="1473" y="9483"/>
                          </a:lnTo>
                          <a:lnTo>
                            <a:pt x="1427" y="9432"/>
                          </a:lnTo>
                          <a:lnTo>
                            <a:pt x="1382" y="9381"/>
                          </a:lnTo>
                          <a:lnTo>
                            <a:pt x="1338" y="9329"/>
                          </a:lnTo>
                          <a:lnTo>
                            <a:pt x="1294" y="9277"/>
                          </a:lnTo>
                          <a:lnTo>
                            <a:pt x="1251" y="9224"/>
                          </a:lnTo>
                          <a:lnTo>
                            <a:pt x="1209" y="9171"/>
                          </a:lnTo>
                          <a:lnTo>
                            <a:pt x="1167" y="9117"/>
                          </a:lnTo>
                          <a:lnTo>
                            <a:pt x="1126" y="9063"/>
                          </a:lnTo>
                          <a:lnTo>
                            <a:pt x="1086" y="9008"/>
                          </a:lnTo>
                          <a:lnTo>
                            <a:pt x="1046" y="8953"/>
                          </a:lnTo>
                          <a:lnTo>
                            <a:pt x="1007" y="8897"/>
                          </a:lnTo>
                          <a:lnTo>
                            <a:pt x="968" y="8840"/>
                          </a:lnTo>
                          <a:lnTo>
                            <a:pt x="930" y="8784"/>
                          </a:lnTo>
                          <a:lnTo>
                            <a:pt x="893" y="8726"/>
                          </a:lnTo>
                          <a:lnTo>
                            <a:pt x="856" y="8669"/>
                          </a:lnTo>
                          <a:lnTo>
                            <a:pt x="821" y="8610"/>
                          </a:lnTo>
                          <a:lnTo>
                            <a:pt x="785" y="8552"/>
                          </a:lnTo>
                          <a:lnTo>
                            <a:pt x="751" y="8493"/>
                          </a:lnTo>
                          <a:lnTo>
                            <a:pt x="717" y="8433"/>
                          </a:lnTo>
                          <a:lnTo>
                            <a:pt x="684" y="8373"/>
                          </a:lnTo>
                          <a:lnTo>
                            <a:pt x="652" y="8313"/>
                          </a:lnTo>
                          <a:lnTo>
                            <a:pt x="620" y="8252"/>
                          </a:lnTo>
                          <a:lnTo>
                            <a:pt x="589" y="8190"/>
                          </a:lnTo>
                          <a:lnTo>
                            <a:pt x="559" y="8129"/>
                          </a:lnTo>
                          <a:lnTo>
                            <a:pt x="529" y="8066"/>
                          </a:lnTo>
                          <a:lnTo>
                            <a:pt x="501" y="8004"/>
                          </a:lnTo>
                          <a:lnTo>
                            <a:pt x="473" y="7941"/>
                          </a:lnTo>
                          <a:lnTo>
                            <a:pt x="445" y="7877"/>
                          </a:lnTo>
                          <a:lnTo>
                            <a:pt x="419" y="7814"/>
                          </a:lnTo>
                          <a:lnTo>
                            <a:pt x="393" y="7749"/>
                          </a:lnTo>
                          <a:lnTo>
                            <a:pt x="368" y="7685"/>
                          </a:lnTo>
                          <a:lnTo>
                            <a:pt x="344" y="7620"/>
                          </a:lnTo>
                          <a:lnTo>
                            <a:pt x="320" y="7555"/>
                          </a:lnTo>
                          <a:lnTo>
                            <a:pt x="298" y="7489"/>
                          </a:lnTo>
                          <a:lnTo>
                            <a:pt x="276" y="7423"/>
                          </a:lnTo>
                          <a:lnTo>
                            <a:pt x="255" y="7357"/>
                          </a:lnTo>
                          <a:lnTo>
                            <a:pt x="234" y="7290"/>
                          </a:lnTo>
                          <a:lnTo>
                            <a:pt x="215" y="7223"/>
                          </a:lnTo>
                          <a:lnTo>
                            <a:pt x="196" y="7155"/>
                          </a:lnTo>
                          <a:lnTo>
                            <a:pt x="178" y="7088"/>
                          </a:lnTo>
                          <a:lnTo>
                            <a:pt x="161" y="7019"/>
                          </a:lnTo>
                          <a:lnTo>
                            <a:pt x="145" y="6951"/>
                          </a:lnTo>
                          <a:lnTo>
                            <a:pt x="130" y="6882"/>
                          </a:lnTo>
                          <a:lnTo>
                            <a:pt x="115" y="6813"/>
                          </a:lnTo>
                          <a:lnTo>
                            <a:pt x="101" y="6744"/>
                          </a:lnTo>
                          <a:lnTo>
                            <a:pt x="88" y="6674"/>
                          </a:lnTo>
                          <a:lnTo>
                            <a:pt x="76" y="6604"/>
                          </a:lnTo>
                          <a:lnTo>
                            <a:pt x="65" y="6534"/>
                          </a:lnTo>
                          <a:lnTo>
                            <a:pt x="55" y="6464"/>
                          </a:lnTo>
                          <a:lnTo>
                            <a:pt x="45" y="6393"/>
                          </a:lnTo>
                          <a:lnTo>
                            <a:pt x="37" y="6322"/>
                          </a:lnTo>
                          <a:lnTo>
                            <a:pt x="29" y="6250"/>
                          </a:lnTo>
                          <a:lnTo>
                            <a:pt x="22" y="6179"/>
                          </a:lnTo>
                          <a:lnTo>
                            <a:pt x="16" y="6107"/>
                          </a:lnTo>
                          <a:lnTo>
                            <a:pt x="11" y="6035"/>
                          </a:lnTo>
                          <a:lnTo>
                            <a:pt x="7" y="5962"/>
                          </a:lnTo>
                          <a:lnTo>
                            <a:pt x="4" y="5890"/>
                          </a:lnTo>
                          <a:lnTo>
                            <a:pt x="2" y="5817"/>
                          </a:lnTo>
                          <a:lnTo>
                            <a:pt x="0" y="5744"/>
                          </a:lnTo>
                          <a:lnTo>
                            <a:pt x="0" y="5671"/>
                          </a:lnTo>
                          <a:lnTo>
                            <a:pt x="0" y="5671"/>
                          </a:lnTo>
                          <a:lnTo>
                            <a:pt x="0" y="5596"/>
                          </a:lnTo>
                          <a:lnTo>
                            <a:pt x="2" y="5523"/>
                          </a:lnTo>
                          <a:lnTo>
                            <a:pt x="4" y="5451"/>
                          </a:lnTo>
                          <a:lnTo>
                            <a:pt x="7" y="5378"/>
                          </a:lnTo>
                          <a:lnTo>
                            <a:pt x="11" y="5306"/>
                          </a:lnTo>
                          <a:lnTo>
                            <a:pt x="16" y="5233"/>
                          </a:lnTo>
                          <a:lnTo>
                            <a:pt x="22" y="5162"/>
                          </a:lnTo>
                          <a:lnTo>
                            <a:pt x="29" y="5090"/>
                          </a:lnTo>
                          <a:lnTo>
                            <a:pt x="37" y="5019"/>
                          </a:lnTo>
                          <a:lnTo>
                            <a:pt x="45" y="4948"/>
                          </a:lnTo>
                          <a:lnTo>
                            <a:pt x="55" y="4877"/>
                          </a:lnTo>
                          <a:lnTo>
                            <a:pt x="65" y="4806"/>
                          </a:lnTo>
                          <a:lnTo>
                            <a:pt x="76" y="4736"/>
                          </a:lnTo>
                          <a:lnTo>
                            <a:pt x="88" y="4666"/>
                          </a:lnTo>
                          <a:lnTo>
                            <a:pt x="101" y="4596"/>
                          </a:lnTo>
                          <a:lnTo>
                            <a:pt x="115" y="4527"/>
                          </a:lnTo>
                          <a:lnTo>
                            <a:pt x="130" y="4458"/>
                          </a:lnTo>
                          <a:lnTo>
                            <a:pt x="145" y="4389"/>
                          </a:lnTo>
                          <a:lnTo>
                            <a:pt x="161" y="4321"/>
                          </a:lnTo>
                          <a:lnTo>
                            <a:pt x="178" y="4253"/>
                          </a:lnTo>
                          <a:lnTo>
                            <a:pt x="196" y="4185"/>
                          </a:lnTo>
                          <a:lnTo>
                            <a:pt x="215" y="4118"/>
                          </a:lnTo>
                          <a:lnTo>
                            <a:pt x="234" y="4050"/>
                          </a:lnTo>
                          <a:lnTo>
                            <a:pt x="255" y="3984"/>
                          </a:lnTo>
                          <a:lnTo>
                            <a:pt x="276" y="3917"/>
                          </a:lnTo>
                          <a:lnTo>
                            <a:pt x="298" y="3851"/>
                          </a:lnTo>
                          <a:lnTo>
                            <a:pt x="320" y="3786"/>
                          </a:lnTo>
                          <a:lnTo>
                            <a:pt x="344" y="3720"/>
                          </a:lnTo>
                          <a:lnTo>
                            <a:pt x="368" y="3655"/>
                          </a:lnTo>
                          <a:lnTo>
                            <a:pt x="393" y="3591"/>
                          </a:lnTo>
                          <a:lnTo>
                            <a:pt x="419" y="3527"/>
                          </a:lnTo>
                          <a:lnTo>
                            <a:pt x="445" y="3463"/>
                          </a:lnTo>
                          <a:lnTo>
                            <a:pt x="473" y="3399"/>
                          </a:lnTo>
                          <a:lnTo>
                            <a:pt x="501" y="3336"/>
                          </a:lnTo>
                          <a:lnTo>
                            <a:pt x="529" y="3274"/>
                          </a:lnTo>
                          <a:lnTo>
                            <a:pt x="559" y="3212"/>
                          </a:lnTo>
                          <a:lnTo>
                            <a:pt x="589" y="3150"/>
                          </a:lnTo>
                          <a:lnTo>
                            <a:pt x="620" y="3089"/>
                          </a:lnTo>
                          <a:lnTo>
                            <a:pt x="652" y="3028"/>
                          </a:lnTo>
                          <a:lnTo>
                            <a:pt x="684" y="2967"/>
                          </a:lnTo>
                          <a:lnTo>
                            <a:pt x="717" y="2907"/>
                          </a:lnTo>
                          <a:lnTo>
                            <a:pt x="751" y="2848"/>
                          </a:lnTo>
                          <a:lnTo>
                            <a:pt x="785" y="2788"/>
                          </a:lnTo>
                          <a:lnTo>
                            <a:pt x="821" y="2730"/>
                          </a:lnTo>
                          <a:lnTo>
                            <a:pt x="856" y="2672"/>
                          </a:lnTo>
                          <a:lnTo>
                            <a:pt x="893" y="2614"/>
                          </a:lnTo>
                          <a:lnTo>
                            <a:pt x="930" y="2557"/>
                          </a:lnTo>
                          <a:lnTo>
                            <a:pt x="968" y="2500"/>
                          </a:lnTo>
                          <a:lnTo>
                            <a:pt x="1007" y="2443"/>
                          </a:lnTo>
                          <a:lnTo>
                            <a:pt x="1046" y="2388"/>
                          </a:lnTo>
                          <a:lnTo>
                            <a:pt x="1086" y="2332"/>
                          </a:lnTo>
                          <a:lnTo>
                            <a:pt x="1126" y="2277"/>
                          </a:lnTo>
                          <a:lnTo>
                            <a:pt x="1167" y="2223"/>
                          </a:lnTo>
                          <a:lnTo>
                            <a:pt x="1209" y="2169"/>
                          </a:lnTo>
                          <a:lnTo>
                            <a:pt x="1251" y="2116"/>
                          </a:lnTo>
                          <a:lnTo>
                            <a:pt x="1294" y="2063"/>
                          </a:lnTo>
                          <a:lnTo>
                            <a:pt x="1338" y="2011"/>
                          </a:lnTo>
                          <a:lnTo>
                            <a:pt x="1382" y="1959"/>
                          </a:lnTo>
                          <a:lnTo>
                            <a:pt x="1427" y="1908"/>
                          </a:lnTo>
                          <a:lnTo>
                            <a:pt x="1473" y="1858"/>
                          </a:lnTo>
                          <a:lnTo>
                            <a:pt x="1519" y="1807"/>
                          </a:lnTo>
                          <a:lnTo>
                            <a:pt x="1565" y="1758"/>
                          </a:lnTo>
                          <a:lnTo>
                            <a:pt x="1613" y="1709"/>
                          </a:lnTo>
                          <a:lnTo>
                            <a:pt x="1660" y="1661"/>
                          </a:lnTo>
                          <a:lnTo>
                            <a:pt x="1709" y="1613"/>
                          </a:lnTo>
                          <a:lnTo>
                            <a:pt x="1758" y="1566"/>
                          </a:lnTo>
                          <a:lnTo>
                            <a:pt x="1807" y="1519"/>
                          </a:lnTo>
                          <a:lnTo>
                            <a:pt x="1857" y="1473"/>
                          </a:lnTo>
                          <a:lnTo>
                            <a:pt x="1908" y="1427"/>
                          </a:lnTo>
                          <a:lnTo>
                            <a:pt x="1959" y="1383"/>
                          </a:lnTo>
                          <a:lnTo>
                            <a:pt x="2011" y="1338"/>
                          </a:lnTo>
                          <a:lnTo>
                            <a:pt x="2063" y="1295"/>
                          </a:lnTo>
                          <a:lnTo>
                            <a:pt x="2116" y="1252"/>
                          </a:lnTo>
                          <a:lnTo>
                            <a:pt x="2169" y="1209"/>
                          </a:lnTo>
                          <a:lnTo>
                            <a:pt x="2223" y="1168"/>
                          </a:lnTo>
                          <a:lnTo>
                            <a:pt x="2277" y="1126"/>
                          </a:lnTo>
                          <a:lnTo>
                            <a:pt x="2332" y="1086"/>
                          </a:lnTo>
                          <a:lnTo>
                            <a:pt x="2387" y="1046"/>
                          </a:lnTo>
                          <a:lnTo>
                            <a:pt x="2443" y="1007"/>
                          </a:lnTo>
                          <a:lnTo>
                            <a:pt x="2499" y="968"/>
                          </a:lnTo>
                          <a:lnTo>
                            <a:pt x="2556" y="930"/>
                          </a:lnTo>
                          <a:lnTo>
                            <a:pt x="2613" y="893"/>
                          </a:lnTo>
                          <a:lnTo>
                            <a:pt x="2671" y="857"/>
                          </a:lnTo>
                          <a:lnTo>
                            <a:pt x="2729" y="821"/>
                          </a:lnTo>
                          <a:lnTo>
                            <a:pt x="2788" y="786"/>
                          </a:lnTo>
                          <a:lnTo>
                            <a:pt x="2847" y="751"/>
                          </a:lnTo>
                          <a:lnTo>
                            <a:pt x="2907" y="717"/>
                          </a:lnTo>
                          <a:lnTo>
                            <a:pt x="2967" y="684"/>
                          </a:lnTo>
                          <a:lnTo>
                            <a:pt x="3027" y="652"/>
                          </a:lnTo>
                          <a:lnTo>
                            <a:pt x="3088" y="620"/>
                          </a:lnTo>
                          <a:lnTo>
                            <a:pt x="3150" y="589"/>
                          </a:lnTo>
                          <a:lnTo>
                            <a:pt x="3211" y="559"/>
                          </a:lnTo>
                          <a:lnTo>
                            <a:pt x="3273" y="530"/>
                          </a:lnTo>
                          <a:lnTo>
                            <a:pt x="3336" y="501"/>
                          </a:lnTo>
                          <a:lnTo>
                            <a:pt x="3399" y="473"/>
                          </a:lnTo>
                          <a:lnTo>
                            <a:pt x="3462" y="446"/>
                          </a:lnTo>
                          <a:lnTo>
                            <a:pt x="3526" y="419"/>
                          </a:lnTo>
                          <a:lnTo>
                            <a:pt x="3590" y="393"/>
                          </a:lnTo>
                          <a:lnTo>
                            <a:pt x="3655" y="368"/>
                          </a:lnTo>
                          <a:lnTo>
                            <a:pt x="3720" y="344"/>
                          </a:lnTo>
                          <a:lnTo>
                            <a:pt x="3785" y="321"/>
                          </a:lnTo>
                          <a:lnTo>
                            <a:pt x="3851" y="298"/>
                          </a:lnTo>
                          <a:lnTo>
                            <a:pt x="3917" y="276"/>
                          </a:lnTo>
                          <a:lnTo>
                            <a:pt x="3983" y="255"/>
                          </a:lnTo>
                          <a:lnTo>
                            <a:pt x="4050" y="235"/>
                          </a:lnTo>
                          <a:lnTo>
                            <a:pt x="4117" y="215"/>
                          </a:lnTo>
                          <a:lnTo>
                            <a:pt x="4185" y="197"/>
                          </a:lnTo>
                          <a:lnTo>
                            <a:pt x="4252" y="179"/>
                          </a:lnTo>
                          <a:lnTo>
                            <a:pt x="4320" y="162"/>
                          </a:lnTo>
                          <a:lnTo>
                            <a:pt x="4389" y="145"/>
                          </a:lnTo>
                          <a:lnTo>
                            <a:pt x="4458" y="130"/>
                          </a:lnTo>
                          <a:lnTo>
                            <a:pt x="4527" y="115"/>
                          </a:lnTo>
                          <a:lnTo>
                            <a:pt x="4596" y="102"/>
                          </a:lnTo>
                          <a:lnTo>
                            <a:pt x="4666" y="89"/>
                          </a:lnTo>
                          <a:lnTo>
                            <a:pt x="4736" y="77"/>
                          </a:lnTo>
                          <a:lnTo>
                            <a:pt x="4806" y="65"/>
                          </a:lnTo>
                          <a:lnTo>
                            <a:pt x="4876" y="55"/>
                          </a:lnTo>
                          <a:lnTo>
                            <a:pt x="4947" y="46"/>
                          </a:lnTo>
                          <a:lnTo>
                            <a:pt x="5018" y="37"/>
                          </a:lnTo>
                          <a:lnTo>
                            <a:pt x="5090" y="29"/>
                          </a:lnTo>
                          <a:lnTo>
                            <a:pt x="5161" y="23"/>
                          </a:lnTo>
                          <a:lnTo>
                            <a:pt x="5233" y="17"/>
                          </a:lnTo>
                          <a:lnTo>
                            <a:pt x="5305" y="12"/>
                          </a:lnTo>
                          <a:lnTo>
                            <a:pt x="5378" y="8"/>
                          </a:lnTo>
                          <a:lnTo>
                            <a:pt x="5450" y="4"/>
                          </a:lnTo>
                          <a:lnTo>
                            <a:pt x="5523" y="2"/>
                          </a:lnTo>
                          <a:lnTo>
                            <a:pt x="5596" y="1"/>
                          </a:lnTo>
                          <a:lnTo>
                            <a:pt x="5669" y="0"/>
                          </a:lnTo>
                          <a:lnTo>
                            <a:pt x="5669" y="0"/>
                          </a:lnTo>
                          <a:lnTo>
                            <a:pt x="5744" y="1"/>
                          </a:lnTo>
                          <a:lnTo>
                            <a:pt x="5817" y="2"/>
                          </a:lnTo>
                          <a:lnTo>
                            <a:pt x="5890" y="4"/>
                          </a:lnTo>
                          <a:lnTo>
                            <a:pt x="5962" y="8"/>
                          </a:lnTo>
                          <a:lnTo>
                            <a:pt x="6034" y="12"/>
                          </a:lnTo>
                          <a:lnTo>
                            <a:pt x="6107" y="17"/>
                          </a:lnTo>
                          <a:lnTo>
                            <a:pt x="6178" y="23"/>
                          </a:lnTo>
                          <a:lnTo>
                            <a:pt x="6250" y="29"/>
                          </a:lnTo>
                          <a:lnTo>
                            <a:pt x="6321" y="37"/>
                          </a:lnTo>
                          <a:lnTo>
                            <a:pt x="6392" y="46"/>
                          </a:lnTo>
                          <a:lnTo>
                            <a:pt x="6463" y="55"/>
                          </a:lnTo>
                          <a:lnTo>
                            <a:pt x="6534" y="65"/>
                          </a:lnTo>
                          <a:lnTo>
                            <a:pt x="6604" y="77"/>
                          </a:lnTo>
                          <a:lnTo>
                            <a:pt x="6674" y="89"/>
                          </a:lnTo>
                          <a:lnTo>
                            <a:pt x="6744" y="102"/>
                          </a:lnTo>
                          <a:lnTo>
                            <a:pt x="6813" y="115"/>
                          </a:lnTo>
                          <a:lnTo>
                            <a:pt x="6882" y="130"/>
                          </a:lnTo>
                          <a:lnTo>
                            <a:pt x="6951" y="145"/>
                          </a:lnTo>
                          <a:lnTo>
                            <a:pt x="7019" y="162"/>
                          </a:lnTo>
                          <a:lnTo>
                            <a:pt x="7087" y="179"/>
                          </a:lnTo>
                          <a:lnTo>
                            <a:pt x="7155" y="197"/>
                          </a:lnTo>
                          <a:lnTo>
                            <a:pt x="7222" y="215"/>
                          </a:lnTo>
                          <a:lnTo>
                            <a:pt x="7289" y="235"/>
                          </a:lnTo>
                          <a:lnTo>
                            <a:pt x="7356" y="255"/>
                          </a:lnTo>
                          <a:lnTo>
                            <a:pt x="7423" y="276"/>
                          </a:lnTo>
                          <a:lnTo>
                            <a:pt x="7489" y="298"/>
                          </a:lnTo>
                          <a:lnTo>
                            <a:pt x="7554" y="321"/>
                          </a:lnTo>
                          <a:lnTo>
                            <a:pt x="7620" y="344"/>
                          </a:lnTo>
                          <a:lnTo>
                            <a:pt x="7685" y="368"/>
                          </a:lnTo>
                          <a:lnTo>
                            <a:pt x="7749" y="393"/>
                          </a:lnTo>
                          <a:lnTo>
                            <a:pt x="7813" y="419"/>
                          </a:lnTo>
                          <a:lnTo>
                            <a:pt x="7877" y="446"/>
                          </a:lnTo>
                          <a:lnTo>
                            <a:pt x="7940" y="473"/>
                          </a:lnTo>
                          <a:lnTo>
                            <a:pt x="8003" y="501"/>
                          </a:lnTo>
                          <a:lnTo>
                            <a:pt x="8066" y="530"/>
                          </a:lnTo>
                          <a:lnTo>
                            <a:pt x="8128" y="559"/>
                          </a:lnTo>
                          <a:lnTo>
                            <a:pt x="8190" y="589"/>
                          </a:lnTo>
                          <a:lnTo>
                            <a:pt x="8251" y="620"/>
                          </a:lnTo>
                          <a:lnTo>
                            <a:pt x="8312" y="652"/>
                          </a:lnTo>
                          <a:lnTo>
                            <a:pt x="8373" y="684"/>
                          </a:lnTo>
                          <a:lnTo>
                            <a:pt x="8433" y="717"/>
                          </a:lnTo>
                          <a:lnTo>
                            <a:pt x="8492" y="751"/>
                          </a:lnTo>
                          <a:lnTo>
                            <a:pt x="8551" y="786"/>
                          </a:lnTo>
                          <a:lnTo>
                            <a:pt x="8610" y="821"/>
                          </a:lnTo>
                          <a:lnTo>
                            <a:pt x="8668" y="857"/>
                          </a:lnTo>
                          <a:lnTo>
                            <a:pt x="8726" y="893"/>
                          </a:lnTo>
                          <a:lnTo>
                            <a:pt x="8783" y="930"/>
                          </a:lnTo>
                          <a:lnTo>
                            <a:pt x="8840" y="968"/>
                          </a:lnTo>
                          <a:lnTo>
                            <a:pt x="8896" y="1007"/>
                          </a:lnTo>
                          <a:lnTo>
                            <a:pt x="8952" y="1046"/>
                          </a:lnTo>
                          <a:lnTo>
                            <a:pt x="9008" y="1086"/>
                          </a:lnTo>
                          <a:lnTo>
                            <a:pt x="9062" y="1126"/>
                          </a:lnTo>
                          <a:lnTo>
                            <a:pt x="9117" y="1168"/>
                          </a:lnTo>
                          <a:lnTo>
                            <a:pt x="9170" y="1209"/>
                          </a:lnTo>
                          <a:lnTo>
                            <a:pt x="9224" y="1252"/>
                          </a:lnTo>
                          <a:lnTo>
                            <a:pt x="9277" y="1295"/>
                          </a:lnTo>
                          <a:lnTo>
                            <a:pt x="9329" y="1338"/>
                          </a:lnTo>
                          <a:lnTo>
                            <a:pt x="9380" y="1383"/>
                          </a:lnTo>
                          <a:lnTo>
                            <a:pt x="9432" y="1427"/>
                          </a:lnTo>
                          <a:lnTo>
                            <a:pt x="9482" y="1473"/>
                          </a:lnTo>
                          <a:lnTo>
                            <a:pt x="9532" y="1519"/>
                          </a:lnTo>
                          <a:lnTo>
                            <a:pt x="9582" y="1566"/>
                          </a:lnTo>
                          <a:lnTo>
                            <a:pt x="9631" y="1613"/>
                          </a:lnTo>
                          <a:lnTo>
                            <a:pt x="9679" y="1661"/>
                          </a:lnTo>
                          <a:lnTo>
                            <a:pt x="9727" y="1709"/>
                          </a:lnTo>
                          <a:lnTo>
                            <a:pt x="9774" y="1758"/>
                          </a:lnTo>
                          <a:lnTo>
                            <a:pt x="9821" y="1807"/>
                          </a:lnTo>
                          <a:lnTo>
                            <a:pt x="9867" y="1858"/>
                          </a:lnTo>
                          <a:lnTo>
                            <a:pt x="9912" y="1908"/>
                          </a:lnTo>
                          <a:lnTo>
                            <a:pt x="9957" y="1959"/>
                          </a:lnTo>
                          <a:lnTo>
                            <a:pt x="10001" y="2011"/>
                          </a:lnTo>
                          <a:lnTo>
                            <a:pt x="10045" y="2063"/>
                          </a:lnTo>
                          <a:lnTo>
                            <a:pt x="10088" y="2116"/>
                          </a:lnTo>
                          <a:lnTo>
                            <a:pt x="10130" y="2169"/>
                          </a:lnTo>
                          <a:lnTo>
                            <a:pt x="10172" y="2223"/>
                          </a:lnTo>
                          <a:lnTo>
                            <a:pt x="10213" y="2277"/>
                          </a:lnTo>
                          <a:lnTo>
                            <a:pt x="10254" y="2332"/>
                          </a:lnTo>
                          <a:lnTo>
                            <a:pt x="10294" y="2388"/>
                          </a:lnTo>
                          <a:lnTo>
                            <a:pt x="10333" y="2443"/>
                          </a:lnTo>
                          <a:lnTo>
                            <a:pt x="10371" y="2500"/>
                          </a:lnTo>
                          <a:lnTo>
                            <a:pt x="10409" y="2557"/>
                          </a:lnTo>
                          <a:lnTo>
                            <a:pt x="10446" y="2614"/>
                          </a:lnTo>
                          <a:lnTo>
                            <a:pt x="10483" y="2672"/>
                          </a:lnTo>
                          <a:lnTo>
                            <a:pt x="10519" y="2730"/>
                          </a:lnTo>
                          <a:lnTo>
                            <a:pt x="10554" y="2788"/>
                          </a:lnTo>
                          <a:lnTo>
                            <a:pt x="10588" y="2848"/>
                          </a:lnTo>
                          <a:lnTo>
                            <a:pt x="10622" y="2907"/>
                          </a:lnTo>
                          <a:lnTo>
                            <a:pt x="10655" y="2967"/>
                          </a:lnTo>
                          <a:lnTo>
                            <a:pt x="10688" y="3028"/>
                          </a:lnTo>
                          <a:lnTo>
                            <a:pt x="10719" y="3089"/>
                          </a:lnTo>
                          <a:lnTo>
                            <a:pt x="10750" y="3150"/>
                          </a:lnTo>
                          <a:lnTo>
                            <a:pt x="10780" y="3212"/>
                          </a:lnTo>
                          <a:lnTo>
                            <a:pt x="10810" y="3274"/>
                          </a:lnTo>
                          <a:lnTo>
                            <a:pt x="10839" y="3336"/>
                          </a:lnTo>
                          <a:lnTo>
                            <a:pt x="10867" y="3399"/>
                          </a:lnTo>
                          <a:lnTo>
                            <a:pt x="10894" y="3463"/>
                          </a:lnTo>
                          <a:lnTo>
                            <a:pt x="10921" y="3527"/>
                          </a:lnTo>
                          <a:lnTo>
                            <a:pt x="10946" y="3591"/>
                          </a:lnTo>
                          <a:lnTo>
                            <a:pt x="10971" y="3655"/>
                          </a:lnTo>
                          <a:lnTo>
                            <a:pt x="10996" y="3720"/>
                          </a:lnTo>
                          <a:lnTo>
                            <a:pt x="11019" y="3786"/>
                          </a:lnTo>
                          <a:lnTo>
                            <a:pt x="11042" y="3851"/>
                          </a:lnTo>
                          <a:lnTo>
                            <a:pt x="11064" y="3917"/>
                          </a:lnTo>
                          <a:lnTo>
                            <a:pt x="11085" y="3984"/>
                          </a:lnTo>
                          <a:lnTo>
                            <a:pt x="11105" y="4050"/>
                          </a:lnTo>
                          <a:lnTo>
                            <a:pt x="11124" y="4118"/>
                          </a:lnTo>
                          <a:lnTo>
                            <a:pt x="11143" y="4185"/>
                          </a:lnTo>
                          <a:lnTo>
                            <a:pt x="11161" y="4253"/>
                          </a:lnTo>
                          <a:lnTo>
                            <a:pt x="11178" y="4321"/>
                          </a:lnTo>
                          <a:lnTo>
                            <a:pt x="11194" y="4389"/>
                          </a:lnTo>
                          <a:lnTo>
                            <a:pt x="11210" y="4458"/>
                          </a:lnTo>
                          <a:lnTo>
                            <a:pt x="11224" y="4527"/>
                          </a:lnTo>
                          <a:lnTo>
                            <a:pt x="11238" y="4596"/>
                          </a:lnTo>
                          <a:lnTo>
                            <a:pt x="11251" y="4666"/>
                          </a:lnTo>
                          <a:lnTo>
                            <a:pt x="11263" y="4736"/>
                          </a:lnTo>
                          <a:lnTo>
                            <a:pt x="11274" y="4806"/>
                          </a:lnTo>
                          <a:lnTo>
                            <a:pt x="11285" y="4877"/>
                          </a:lnTo>
                          <a:lnTo>
                            <a:pt x="11294" y="4948"/>
                          </a:lnTo>
                          <a:lnTo>
                            <a:pt x="11303" y="5019"/>
                          </a:lnTo>
                          <a:lnTo>
                            <a:pt x="11310" y="5090"/>
                          </a:lnTo>
                          <a:lnTo>
                            <a:pt x="11317" y="5162"/>
                          </a:lnTo>
                          <a:lnTo>
                            <a:pt x="11323" y="5233"/>
                          </a:lnTo>
                          <a:lnTo>
                            <a:pt x="11328" y="5306"/>
                          </a:lnTo>
                          <a:lnTo>
                            <a:pt x="11332" y="5378"/>
                          </a:lnTo>
                          <a:lnTo>
                            <a:pt x="11335" y="5451"/>
                          </a:lnTo>
                          <a:lnTo>
                            <a:pt x="11338" y="5523"/>
                          </a:lnTo>
                          <a:lnTo>
                            <a:pt x="11339" y="5596"/>
                          </a:lnTo>
                          <a:lnTo>
                            <a:pt x="11340" y="5671"/>
                          </a:lnTo>
                        </a:path>
                      </a:pathLst>
                    </a:custGeom>
                    <a:no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  <p:sp>
                  <p:nvSpPr>
                    <p:cNvPr id="323" name="Freeform 8">
                      <a:extLst>
                        <a:ext uri="{FF2B5EF4-FFF2-40B4-BE49-F238E27FC236}">
                          <a16:creationId xmlns:a16="http://schemas.microsoft.com/office/drawing/2014/main" id="{0A27B8B8-4819-4380-9F15-07A63E723B01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1510" y="1566"/>
                      <a:ext cx="1615" cy="1653"/>
                    </a:xfrm>
                    <a:custGeom>
                      <a:avLst/>
                      <a:gdLst/>
                      <a:ahLst/>
                      <a:cxnLst>
                        <a:cxn ang="0">
                          <a:pos x="4319" y="2213"/>
                        </a:cxn>
                        <a:cxn ang="0">
                          <a:pos x="4796" y="1894"/>
                        </a:cxn>
                        <a:cxn ang="0">
                          <a:pos x="4876" y="1759"/>
                        </a:cxn>
                        <a:cxn ang="0">
                          <a:pos x="4526" y="1075"/>
                        </a:cxn>
                        <a:cxn ang="0">
                          <a:pos x="4005" y="1264"/>
                        </a:cxn>
                        <a:cxn ang="0">
                          <a:pos x="3815" y="1225"/>
                        </a:cxn>
                        <a:cxn ang="0">
                          <a:pos x="3367" y="807"/>
                        </a:cxn>
                        <a:cxn ang="0">
                          <a:pos x="3456" y="245"/>
                        </a:cxn>
                        <a:cxn ang="0">
                          <a:pos x="2745" y="3"/>
                        </a:cxn>
                        <a:cxn ang="0">
                          <a:pos x="2590" y="70"/>
                        </a:cxn>
                        <a:cxn ang="0">
                          <a:pos x="2416" y="615"/>
                        </a:cxn>
                        <a:cxn ang="0">
                          <a:pos x="1822" y="774"/>
                        </a:cxn>
                        <a:cxn ang="0">
                          <a:pos x="1644" y="700"/>
                        </a:cxn>
                        <a:cxn ang="0">
                          <a:pos x="1252" y="324"/>
                        </a:cxn>
                        <a:cxn ang="0">
                          <a:pos x="653" y="807"/>
                        </a:cxn>
                        <a:cxn ang="0">
                          <a:pos x="942" y="1274"/>
                        </a:cxn>
                        <a:cxn ang="0">
                          <a:pos x="960" y="1467"/>
                        </a:cxn>
                        <a:cxn ang="0">
                          <a:pos x="660" y="2003"/>
                        </a:cxn>
                        <a:cxn ang="0">
                          <a:pos x="90" y="2042"/>
                        </a:cxn>
                        <a:cxn ang="0">
                          <a:pos x="0" y="2797"/>
                        </a:cxn>
                        <a:cxn ang="0">
                          <a:pos x="86" y="2927"/>
                        </a:cxn>
                        <a:cxn ang="0">
                          <a:pos x="656" y="2972"/>
                        </a:cxn>
                        <a:cxn ang="0">
                          <a:pos x="952" y="3509"/>
                        </a:cxn>
                        <a:cxn ang="0">
                          <a:pos x="932" y="3702"/>
                        </a:cxn>
                        <a:cxn ang="0">
                          <a:pos x="640" y="4167"/>
                        </a:cxn>
                        <a:cxn ang="0">
                          <a:pos x="1235" y="4655"/>
                        </a:cxn>
                        <a:cxn ang="0">
                          <a:pos x="1630" y="4283"/>
                        </a:cxn>
                        <a:cxn ang="0">
                          <a:pos x="1809" y="4210"/>
                        </a:cxn>
                        <a:cxn ang="0">
                          <a:pos x="2403" y="4373"/>
                        </a:cxn>
                        <a:cxn ang="0">
                          <a:pos x="2574" y="4919"/>
                        </a:cxn>
                        <a:cxn ang="0">
                          <a:pos x="2728" y="4987"/>
                        </a:cxn>
                        <a:cxn ang="0">
                          <a:pos x="3441" y="4750"/>
                        </a:cxn>
                        <a:cxn ang="0">
                          <a:pos x="3356" y="4187"/>
                        </a:cxn>
                        <a:cxn ang="0">
                          <a:pos x="3806" y="3773"/>
                        </a:cxn>
                        <a:cxn ang="0">
                          <a:pos x="3997" y="3735"/>
                        </a:cxn>
                        <a:cxn ang="0">
                          <a:pos x="4516" y="3927"/>
                        </a:cxn>
                        <a:cxn ang="0">
                          <a:pos x="4871" y="3245"/>
                        </a:cxn>
                        <a:cxn ang="0">
                          <a:pos x="4421" y="2930"/>
                        </a:cxn>
                        <a:cxn ang="0">
                          <a:pos x="4317" y="2787"/>
                        </a:cxn>
                        <a:cxn ang="0">
                          <a:pos x="3788" y="2500"/>
                        </a:cxn>
                        <a:cxn ang="0">
                          <a:pos x="3728" y="2887"/>
                        </a:cxn>
                        <a:cxn ang="0">
                          <a:pos x="3545" y="3252"/>
                        </a:cxn>
                        <a:cxn ang="0">
                          <a:pos x="3261" y="3541"/>
                        </a:cxn>
                        <a:cxn ang="0">
                          <a:pos x="2899" y="3730"/>
                        </a:cxn>
                        <a:cxn ang="0">
                          <a:pos x="2481" y="3796"/>
                        </a:cxn>
                        <a:cxn ang="0">
                          <a:pos x="2093" y="3736"/>
                        </a:cxn>
                        <a:cxn ang="0">
                          <a:pos x="1728" y="3553"/>
                        </a:cxn>
                        <a:cxn ang="0">
                          <a:pos x="1439" y="3269"/>
                        </a:cxn>
                        <a:cxn ang="0">
                          <a:pos x="1250" y="2907"/>
                        </a:cxn>
                        <a:cxn ang="0">
                          <a:pos x="1184" y="2490"/>
                        </a:cxn>
                        <a:cxn ang="0">
                          <a:pos x="1244" y="2102"/>
                        </a:cxn>
                        <a:cxn ang="0">
                          <a:pos x="1427" y="1736"/>
                        </a:cxn>
                        <a:cxn ang="0">
                          <a:pos x="1711" y="1448"/>
                        </a:cxn>
                        <a:cxn ang="0">
                          <a:pos x="2073" y="1259"/>
                        </a:cxn>
                        <a:cxn ang="0">
                          <a:pos x="2492" y="1192"/>
                        </a:cxn>
                        <a:cxn ang="0">
                          <a:pos x="2878" y="1252"/>
                        </a:cxn>
                        <a:cxn ang="0">
                          <a:pos x="3244" y="1435"/>
                        </a:cxn>
                        <a:cxn ang="0">
                          <a:pos x="3532" y="1719"/>
                        </a:cxn>
                        <a:cxn ang="0">
                          <a:pos x="3721" y="2081"/>
                        </a:cxn>
                        <a:cxn ang="0">
                          <a:pos x="3788" y="2500"/>
                        </a:cxn>
                      </a:cxnLst>
                      <a:rect l="0" t="0" r="r" b="b"/>
                      <a:pathLst>
                        <a:path w="4876" h="4990">
                          <a:moveTo>
                            <a:pt x="4332" y="2502"/>
                          </a:moveTo>
                          <a:lnTo>
                            <a:pt x="4332" y="2502"/>
                          </a:lnTo>
                          <a:lnTo>
                            <a:pt x="4331" y="2455"/>
                          </a:lnTo>
                          <a:lnTo>
                            <a:pt x="4329" y="2412"/>
                          </a:lnTo>
                          <a:lnTo>
                            <a:pt x="4327" y="2373"/>
                          </a:lnTo>
                          <a:lnTo>
                            <a:pt x="4324" y="2340"/>
                          </a:lnTo>
                          <a:lnTo>
                            <a:pt x="4319" y="2291"/>
                          </a:lnTo>
                          <a:lnTo>
                            <a:pt x="4317" y="2273"/>
                          </a:lnTo>
                          <a:lnTo>
                            <a:pt x="4317" y="2273"/>
                          </a:lnTo>
                          <a:lnTo>
                            <a:pt x="4315" y="2258"/>
                          </a:lnTo>
                          <a:lnTo>
                            <a:pt x="4315" y="2243"/>
                          </a:lnTo>
                          <a:lnTo>
                            <a:pt x="4317" y="2228"/>
                          </a:lnTo>
                          <a:lnTo>
                            <a:pt x="4319" y="2213"/>
                          </a:lnTo>
                          <a:lnTo>
                            <a:pt x="4323" y="2199"/>
                          </a:lnTo>
                          <a:lnTo>
                            <a:pt x="4327" y="2184"/>
                          </a:lnTo>
                          <a:lnTo>
                            <a:pt x="4333" y="2170"/>
                          </a:lnTo>
                          <a:lnTo>
                            <a:pt x="4340" y="2156"/>
                          </a:lnTo>
                          <a:lnTo>
                            <a:pt x="4348" y="2142"/>
                          </a:lnTo>
                          <a:lnTo>
                            <a:pt x="4356" y="2130"/>
                          </a:lnTo>
                          <a:lnTo>
                            <a:pt x="4366" y="2117"/>
                          </a:lnTo>
                          <a:lnTo>
                            <a:pt x="4376" y="2106"/>
                          </a:lnTo>
                          <a:lnTo>
                            <a:pt x="4387" y="2096"/>
                          </a:lnTo>
                          <a:lnTo>
                            <a:pt x="4399" y="2087"/>
                          </a:lnTo>
                          <a:lnTo>
                            <a:pt x="4411" y="2078"/>
                          </a:lnTo>
                          <a:lnTo>
                            <a:pt x="4424" y="2071"/>
                          </a:lnTo>
                          <a:lnTo>
                            <a:pt x="4796" y="1894"/>
                          </a:lnTo>
                          <a:lnTo>
                            <a:pt x="4796" y="1894"/>
                          </a:lnTo>
                          <a:lnTo>
                            <a:pt x="4809" y="1887"/>
                          </a:lnTo>
                          <a:lnTo>
                            <a:pt x="4820" y="1879"/>
                          </a:lnTo>
                          <a:lnTo>
                            <a:pt x="4831" y="1870"/>
                          </a:lnTo>
                          <a:lnTo>
                            <a:pt x="4841" y="1860"/>
                          </a:lnTo>
                          <a:lnTo>
                            <a:pt x="4849" y="1849"/>
                          </a:lnTo>
                          <a:lnTo>
                            <a:pt x="4857" y="1838"/>
                          </a:lnTo>
                          <a:lnTo>
                            <a:pt x="4863" y="1826"/>
                          </a:lnTo>
                          <a:lnTo>
                            <a:pt x="4868" y="1813"/>
                          </a:lnTo>
                          <a:lnTo>
                            <a:pt x="4872" y="1800"/>
                          </a:lnTo>
                          <a:lnTo>
                            <a:pt x="4875" y="1787"/>
                          </a:lnTo>
                          <a:lnTo>
                            <a:pt x="4876" y="1773"/>
                          </a:lnTo>
                          <a:lnTo>
                            <a:pt x="4876" y="1759"/>
                          </a:lnTo>
                          <a:lnTo>
                            <a:pt x="4875" y="1746"/>
                          </a:lnTo>
                          <a:lnTo>
                            <a:pt x="4872" y="1732"/>
                          </a:lnTo>
                          <a:lnTo>
                            <a:pt x="4868" y="1718"/>
                          </a:lnTo>
                          <a:lnTo>
                            <a:pt x="4863" y="1705"/>
                          </a:lnTo>
                          <a:lnTo>
                            <a:pt x="4595" y="1142"/>
                          </a:lnTo>
                          <a:lnTo>
                            <a:pt x="4595" y="1142"/>
                          </a:lnTo>
                          <a:lnTo>
                            <a:pt x="4588" y="1130"/>
                          </a:lnTo>
                          <a:lnTo>
                            <a:pt x="4580" y="1118"/>
                          </a:lnTo>
                          <a:lnTo>
                            <a:pt x="4571" y="1107"/>
                          </a:lnTo>
                          <a:lnTo>
                            <a:pt x="4561" y="1097"/>
                          </a:lnTo>
                          <a:lnTo>
                            <a:pt x="4550" y="1089"/>
                          </a:lnTo>
                          <a:lnTo>
                            <a:pt x="4539" y="1081"/>
                          </a:lnTo>
                          <a:lnTo>
                            <a:pt x="4526" y="1075"/>
                          </a:lnTo>
                          <a:lnTo>
                            <a:pt x="4514" y="1070"/>
                          </a:lnTo>
                          <a:lnTo>
                            <a:pt x="4501" y="1066"/>
                          </a:lnTo>
                          <a:lnTo>
                            <a:pt x="4487" y="1063"/>
                          </a:lnTo>
                          <a:lnTo>
                            <a:pt x="4474" y="1062"/>
                          </a:lnTo>
                          <a:lnTo>
                            <a:pt x="4460" y="1062"/>
                          </a:lnTo>
                          <a:lnTo>
                            <a:pt x="4446" y="1063"/>
                          </a:lnTo>
                          <a:lnTo>
                            <a:pt x="4433" y="1066"/>
                          </a:lnTo>
                          <a:lnTo>
                            <a:pt x="4419" y="1070"/>
                          </a:lnTo>
                          <a:lnTo>
                            <a:pt x="4406" y="1075"/>
                          </a:lnTo>
                          <a:lnTo>
                            <a:pt x="4033" y="1253"/>
                          </a:lnTo>
                          <a:lnTo>
                            <a:pt x="4033" y="1253"/>
                          </a:lnTo>
                          <a:lnTo>
                            <a:pt x="4019" y="1259"/>
                          </a:lnTo>
                          <a:lnTo>
                            <a:pt x="4005" y="1264"/>
                          </a:lnTo>
                          <a:lnTo>
                            <a:pt x="3990" y="1267"/>
                          </a:lnTo>
                          <a:lnTo>
                            <a:pt x="3975" y="1269"/>
                          </a:lnTo>
                          <a:lnTo>
                            <a:pt x="3960" y="1271"/>
                          </a:lnTo>
                          <a:lnTo>
                            <a:pt x="3944" y="1271"/>
                          </a:lnTo>
                          <a:lnTo>
                            <a:pt x="3928" y="1270"/>
                          </a:lnTo>
                          <a:lnTo>
                            <a:pt x="3913" y="1267"/>
                          </a:lnTo>
                          <a:lnTo>
                            <a:pt x="3897" y="1264"/>
                          </a:lnTo>
                          <a:lnTo>
                            <a:pt x="3882" y="1260"/>
                          </a:lnTo>
                          <a:lnTo>
                            <a:pt x="3867" y="1255"/>
                          </a:lnTo>
                          <a:lnTo>
                            <a:pt x="3853" y="1249"/>
                          </a:lnTo>
                          <a:lnTo>
                            <a:pt x="3839" y="1242"/>
                          </a:lnTo>
                          <a:lnTo>
                            <a:pt x="3827" y="1234"/>
                          </a:lnTo>
                          <a:lnTo>
                            <a:pt x="3815" y="1225"/>
                          </a:lnTo>
                          <a:lnTo>
                            <a:pt x="3804" y="1215"/>
                          </a:lnTo>
                          <a:lnTo>
                            <a:pt x="3451" y="932"/>
                          </a:lnTo>
                          <a:lnTo>
                            <a:pt x="3451" y="932"/>
                          </a:lnTo>
                          <a:lnTo>
                            <a:pt x="3439" y="924"/>
                          </a:lnTo>
                          <a:lnTo>
                            <a:pt x="3428" y="914"/>
                          </a:lnTo>
                          <a:lnTo>
                            <a:pt x="3417" y="903"/>
                          </a:lnTo>
                          <a:lnTo>
                            <a:pt x="3407" y="891"/>
                          </a:lnTo>
                          <a:lnTo>
                            <a:pt x="3398" y="879"/>
                          </a:lnTo>
                          <a:lnTo>
                            <a:pt x="3390" y="865"/>
                          </a:lnTo>
                          <a:lnTo>
                            <a:pt x="3383" y="852"/>
                          </a:lnTo>
                          <a:lnTo>
                            <a:pt x="3376" y="837"/>
                          </a:lnTo>
                          <a:lnTo>
                            <a:pt x="3371" y="822"/>
                          </a:lnTo>
                          <a:lnTo>
                            <a:pt x="3367" y="807"/>
                          </a:lnTo>
                          <a:lnTo>
                            <a:pt x="3363" y="792"/>
                          </a:lnTo>
                          <a:lnTo>
                            <a:pt x="3361" y="777"/>
                          </a:lnTo>
                          <a:lnTo>
                            <a:pt x="3360" y="761"/>
                          </a:lnTo>
                          <a:lnTo>
                            <a:pt x="3360" y="746"/>
                          </a:lnTo>
                          <a:lnTo>
                            <a:pt x="3362" y="731"/>
                          </a:lnTo>
                          <a:lnTo>
                            <a:pt x="3364" y="717"/>
                          </a:lnTo>
                          <a:lnTo>
                            <a:pt x="3458" y="314"/>
                          </a:lnTo>
                          <a:lnTo>
                            <a:pt x="3458" y="314"/>
                          </a:lnTo>
                          <a:lnTo>
                            <a:pt x="3460" y="300"/>
                          </a:lnTo>
                          <a:lnTo>
                            <a:pt x="3461" y="286"/>
                          </a:lnTo>
                          <a:lnTo>
                            <a:pt x="3461" y="272"/>
                          </a:lnTo>
                          <a:lnTo>
                            <a:pt x="3459" y="258"/>
                          </a:lnTo>
                          <a:lnTo>
                            <a:pt x="3456" y="245"/>
                          </a:lnTo>
                          <a:lnTo>
                            <a:pt x="3452" y="232"/>
                          </a:lnTo>
                          <a:lnTo>
                            <a:pt x="3447" y="219"/>
                          </a:lnTo>
                          <a:lnTo>
                            <a:pt x="3440" y="207"/>
                          </a:lnTo>
                          <a:lnTo>
                            <a:pt x="3432" y="196"/>
                          </a:lnTo>
                          <a:lnTo>
                            <a:pt x="3423" y="186"/>
                          </a:lnTo>
                          <a:lnTo>
                            <a:pt x="3414" y="176"/>
                          </a:lnTo>
                          <a:lnTo>
                            <a:pt x="3403" y="168"/>
                          </a:lnTo>
                          <a:lnTo>
                            <a:pt x="3391" y="160"/>
                          </a:lnTo>
                          <a:lnTo>
                            <a:pt x="3379" y="153"/>
                          </a:lnTo>
                          <a:lnTo>
                            <a:pt x="3366" y="148"/>
                          </a:lnTo>
                          <a:lnTo>
                            <a:pt x="3352" y="144"/>
                          </a:lnTo>
                          <a:lnTo>
                            <a:pt x="2745" y="3"/>
                          </a:lnTo>
                          <a:lnTo>
                            <a:pt x="2745" y="3"/>
                          </a:lnTo>
                          <a:lnTo>
                            <a:pt x="2730" y="1"/>
                          </a:lnTo>
                          <a:lnTo>
                            <a:pt x="2716" y="0"/>
                          </a:lnTo>
                          <a:lnTo>
                            <a:pt x="2702" y="0"/>
                          </a:lnTo>
                          <a:lnTo>
                            <a:pt x="2688" y="2"/>
                          </a:lnTo>
                          <a:lnTo>
                            <a:pt x="2675" y="5"/>
                          </a:lnTo>
                          <a:lnTo>
                            <a:pt x="2662" y="9"/>
                          </a:lnTo>
                          <a:lnTo>
                            <a:pt x="2649" y="15"/>
                          </a:lnTo>
                          <a:lnTo>
                            <a:pt x="2638" y="21"/>
                          </a:lnTo>
                          <a:lnTo>
                            <a:pt x="2626" y="29"/>
                          </a:lnTo>
                          <a:lnTo>
                            <a:pt x="2616" y="38"/>
                          </a:lnTo>
                          <a:lnTo>
                            <a:pt x="2606" y="48"/>
                          </a:lnTo>
                          <a:lnTo>
                            <a:pt x="2598" y="58"/>
                          </a:lnTo>
                          <a:lnTo>
                            <a:pt x="2590" y="70"/>
                          </a:lnTo>
                          <a:lnTo>
                            <a:pt x="2584" y="82"/>
                          </a:lnTo>
                          <a:lnTo>
                            <a:pt x="2578" y="96"/>
                          </a:lnTo>
                          <a:lnTo>
                            <a:pt x="2574" y="110"/>
                          </a:lnTo>
                          <a:lnTo>
                            <a:pt x="2481" y="512"/>
                          </a:lnTo>
                          <a:lnTo>
                            <a:pt x="2481" y="512"/>
                          </a:lnTo>
                          <a:lnTo>
                            <a:pt x="2477" y="526"/>
                          </a:lnTo>
                          <a:lnTo>
                            <a:pt x="2472" y="540"/>
                          </a:lnTo>
                          <a:lnTo>
                            <a:pt x="2465" y="554"/>
                          </a:lnTo>
                          <a:lnTo>
                            <a:pt x="2457" y="567"/>
                          </a:lnTo>
                          <a:lnTo>
                            <a:pt x="2448" y="580"/>
                          </a:lnTo>
                          <a:lnTo>
                            <a:pt x="2438" y="592"/>
                          </a:lnTo>
                          <a:lnTo>
                            <a:pt x="2428" y="604"/>
                          </a:lnTo>
                          <a:lnTo>
                            <a:pt x="2416" y="615"/>
                          </a:lnTo>
                          <a:lnTo>
                            <a:pt x="2404" y="625"/>
                          </a:lnTo>
                          <a:lnTo>
                            <a:pt x="2392" y="634"/>
                          </a:lnTo>
                          <a:lnTo>
                            <a:pt x="2378" y="643"/>
                          </a:lnTo>
                          <a:lnTo>
                            <a:pt x="2365" y="650"/>
                          </a:lnTo>
                          <a:lnTo>
                            <a:pt x="2351" y="656"/>
                          </a:lnTo>
                          <a:lnTo>
                            <a:pt x="2336" y="661"/>
                          </a:lnTo>
                          <a:lnTo>
                            <a:pt x="2322" y="665"/>
                          </a:lnTo>
                          <a:lnTo>
                            <a:pt x="2308" y="668"/>
                          </a:lnTo>
                          <a:lnTo>
                            <a:pt x="1866" y="766"/>
                          </a:lnTo>
                          <a:lnTo>
                            <a:pt x="1866" y="766"/>
                          </a:lnTo>
                          <a:lnTo>
                            <a:pt x="1852" y="770"/>
                          </a:lnTo>
                          <a:lnTo>
                            <a:pt x="1837" y="772"/>
                          </a:lnTo>
                          <a:lnTo>
                            <a:pt x="1822" y="774"/>
                          </a:lnTo>
                          <a:lnTo>
                            <a:pt x="1807" y="774"/>
                          </a:lnTo>
                          <a:lnTo>
                            <a:pt x="1792" y="774"/>
                          </a:lnTo>
                          <a:lnTo>
                            <a:pt x="1776" y="772"/>
                          </a:lnTo>
                          <a:lnTo>
                            <a:pt x="1761" y="769"/>
                          </a:lnTo>
                          <a:lnTo>
                            <a:pt x="1745" y="765"/>
                          </a:lnTo>
                          <a:lnTo>
                            <a:pt x="1730" y="760"/>
                          </a:lnTo>
                          <a:lnTo>
                            <a:pt x="1716" y="754"/>
                          </a:lnTo>
                          <a:lnTo>
                            <a:pt x="1702" y="747"/>
                          </a:lnTo>
                          <a:lnTo>
                            <a:pt x="1689" y="739"/>
                          </a:lnTo>
                          <a:lnTo>
                            <a:pt x="1676" y="730"/>
                          </a:lnTo>
                          <a:lnTo>
                            <a:pt x="1664" y="721"/>
                          </a:lnTo>
                          <a:lnTo>
                            <a:pt x="1654" y="711"/>
                          </a:lnTo>
                          <a:lnTo>
                            <a:pt x="1644" y="700"/>
                          </a:lnTo>
                          <a:lnTo>
                            <a:pt x="1387" y="375"/>
                          </a:lnTo>
                          <a:lnTo>
                            <a:pt x="1387" y="375"/>
                          </a:lnTo>
                          <a:lnTo>
                            <a:pt x="1378" y="365"/>
                          </a:lnTo>
                          <a:lnTo>
                            <a:pt x="1368" y="355"/>
                          </a:lnTo>
                          <a:lnTo>
                            <a:pt x="1356" y="346"/>
                          </a:lnTo>
                          <a:lnTo>
                            <a:pt x="1345" y="339"/>
                          </a:lnTo>
                          <a:lnTo>
                            <a:pt x="1332" y="333"/>
                          </a:lnTo>
                          <a:lnTo>
                            <a:pt x="1319" y="328"/>
                          </a:lnTo>
                          <a:lnTo>
                            <a:pt x="1306" y="325"/>
                          </a:lnTo>
                          <a:lnTo>
                            <a:pt x="1293" y="323"/>
                          </a:lnTo>
                          <a:lnTo>
                            <a:pt x="1279" y="322"/>
                          </a:lnTo>
                          <a:lnTo>
                            <a:pt x="1265" y="322"/>
                          </a:lnTo>
                          <a:lnTo>
                            <a:pt x="1252" y="324"/>
                          </a:lnTo>
                          <a:lnTo>
                            <a:pt x="1238" y="327"/>
                          </a:lnTo>
                          <a:lnTo>
                            <a:pt x="1225" y="331"/>
                          </a:lnTo>
                          <a:lnTo>
                            <a:pt x="1213" y="337"/>
                          </a:lnTo>
                          <a:lnTo>
                            <a:pt x="1200" y="344"/>
                          </a:lnTo>
                          <a:lnTo>
                            <a:pt x="1188" y="352"/>
                          </a:lnTo>
                          <a:lnTo>
                            <a:pt x="700" y="739"/>
                          </a:lnTo>
                          <a:lnTo>
                            <a:pt x="700" y="739"/>
                          </a:lnTo>
                          <a:lnTo>
                            <a:pt x="689" y="748"/>
                          </a:lnTo>
                          <a:lnTo>
                            <a:pt x="679" y="759"/>
                          </a:lnTo>
                          <a:lnTo>
                            <a:pt x="671" y="770"/>
                          </a:lnTo>
                          <a:lnTo>
                            <a:pt x="664" y="782"/>
                          </a:lnTo>
                          <a:lnTo>
                            <a:pt x="658" y="794"/>
                          </a:lnTo>
                          <a:lnTo>
                            <a:pt x="653" y="807"/>
                          </a:lnTo>
                          <a:lnTo>
                            <a:pt x="649" y="820"/>
                          </a:lnTo>
                          <a:lnTo>
                            <a:pt x="647" y="834"/>
                          </a:lnTo>
                          <a:lnTo>
                            <a:pt x="646" y="847"/>
                          </a:lnTo>
                          <a:lnTo>
                            <a:pt x="647" y="861"/>
                          </a:lnTo>
                          <a:lnTo>
                            <a:pt x="648" y="874"/>
                          </a:lnTo>
                          <a:lnTo>
                            <a:pt x="651" y="888"/>
                          </a:lnTo>
                          <a:lnTo>
                            <a:pt x="656" y="901"/>
                          </a:lnTo>
                          <a:lnTo>
                            <a:pt x="661" y="914"/>
                          </a:lnTo>
                          <a:lnTo>
                            <a:pt x="668" y="926"/>
                          </a:lnTo>
                          <a:lnTo>
                            <a:pt x="677" y="938"/>
                          </a:lnTo>
                          <a:lnTo>
                            <a:pt x="933" y="1262"/>
                          </a:lnTo>
                          <a:lnTo>
                            <a:pt x="933" y="1262"/>
                          </a:lnTo>
                          <a:lnTo>
                            <a:pt x="942" y="1274"/>
                          </a:lnTo>
                          <a:lnTo>
                            <a:pt x="950" y="1287"/>
                          </a:lnTo>
                          <a:lnTo>
                            <a:pt x="956" y="1301"/>
                          </a:lnTo>
                          <a:lnTo>
                            <a:pt x="962" y="1315"/>
                          </a:lnTo>
                          <a:lnTo>
                            <a:pt x="966" y="1330"/>
                          </a:lnTo>
                          <a:lnTo>
                            <a:pt x="970" y="1345"/>
                          </a:lnTo>
                          <a:lnTo>
                            <a:pt x="972" y="1361"/>
                          </a:lnTo>
                          <a:lnTo>
                            <a:pt x="974" y="1376"/>
                          </a:lnTo>
                          <a:lnTo>
                            <a:pt x="974" y="1392"/>
                          </a:lnTo>
                          <a:lnTo>
                            <a:pt x="973" y="1408"/>
                          </a:lnTo>
                          <a:lnTo>
                            <a:pt x="971" y="1423"/>
                          </a:lnTo>
                          <a:lnTo>
                            <a:pt x="969" y="1438"/>
                          </a:lnTo>
                          <a:lnTo>
                            <a:pt x="965" y="1453"/>
                          </a:lnTo>
                          <a:lnTo>
                            <a:pt x="960" y="1467"/>
                          </a:lnTo>
                          <a:lnTo>
                            <a:pt x="954" y="1481"/>
                          </a:lnTo>
                          <a:lnTo>
                            <a:pt x="947" y="1494"/>
                          </a:lnTo>
                          <a:lnTo>
                            <a:pt x="749" y="1901"/>
                          </a:lnTo>
                          <a:lnTo>
                            <a:pt x="749" y="1901"/>
                          </a:lnTo>
                          <a:lnTo>
                            <a:pt x="744" y="1914"/>
                          </a:lnTo>
                          <a:lnTo>
                            <a:pt x="737" y="1927"/>
                          </a:lnTo>
                          <a:lnTo>
                            <a:pt x="728" y="1940"/>
                          </a:lnTo>
                          <a:lnTo>
                            <a:pt x="719" y="1952"/>
                          </a:lnTo>
                          <a:lnTo>
                            <a:pt x="709" y="1964"/>
                          </a:lnTo>
                          <a:lnTo>
                            <a:pt x="698" y="1975"/>
                          </a:lnTo>
                          <a:lnTo>
                            <a:pt x="686" y="1985"/>
                          </a:lnTo>
                          <a:lnTo>
                            <a:pt x="673" y="1994"/>
                          </a:lnTo>
                          <a:lnTo>
                            <a:pt x="660" y="2003"/>
                          </a:lnTo>
                          <a:lnTo>
                            <a:pt x="646" y="2010"/>
                          </a:lnTo>
                          <a:lnTo>
                            <a:pt x="632" y="2017"/>
                          </a:lnTo>
                          <a:lnTo>
                            <a:pt x="617" y="2023"/>
                          </a:lnTo>
                          <a:lnTo>
                            <a:pt x="603" y="2027"/>
                          </a:lnTo>
                          <a:lnTo>
                            <a:pt x="588" y="2030"/>
                          </a:lnTo>
                          <a:lnTo>
                            <a:pt x="573" y="2032"/>
                          </a:lnTo>
                          <a:lnTo>
                            <a:pt x="558" y="2033"/>
                          </a:lnTo>
                          <a:lnTo>
                            <a:pt x="145" y="2031"/>
                          </a:lnTo>
                          <a:lnTo>
                            <a:pt x="145" y="2031"/>
                          </a:lnTo>
                          <a:lnTo>
                            <a:pt x="130" y="2032"/>
                          </a:lnTo>
                          <a:lnTo>
                            <a:pt x="116" y="2034"/>
                          </a:lnTo>
                          <a:lnTo>
                            <a:pt x="103" y="2037"/>
                          </a:lnTo>
                          <a:lnTo>
                            <a:pt x="90" y="2042"/>
                          </a:lnTo>
                          <a:lnTo>
                            <a:pt x="77" y="2048"/>
                          </a:lnTo>
                          <a:lnTo>
                            <a:pt x="65" y="2055"/>
                          </a:lnTo>
                          <a:lnTo>
                            <a:pt x="55" y="2063"/>
                          </a:lnTo>
                          <a:lnTo>
                            <a:pt x="44" y="2072"/>
                          </a:lnTo>
                          <a:lnTo>
                            <a:pt x="35" y="2083"/>
                          </a:lnTo>
                          <a:lnTo>
                            <a:pt x="27" y="2093"/>
                          </a:lnTo>
                          <a:lnTo>
                            <a:pt x="20" y="2105"/>
                          </a:lnTo>
                          <a:lnTo>
                            <a:pt x="14" y="2117"/>
                          </a:lnTo>
                          <a:lnTo>
                            <a:pt x="9" y="2130"/>
                          </a:lnTo>
                          <a:lnTo>
                            <a:pt x="5" y="2144"/>
                          </a:lnTo>
                          <a:lnTo>
                            <a:pt x="3" y="2158"/>
                          </a:lnTo>
                          <a:lnTo>
                            <a:pt x="2" y="2172"/>
                          </a:lnTo>
                          <a:lnTo>
                            <a:pt x="0" y="2797"/>
                          </a:lnTo>
                          <a:lnTo>
                            <a:pt x="0" y="2797"/>
                          </a:lnTo>
                          <a:lnTo>
                            <a:pt x="1" y="2811"/>
                          </a:lnTo>
                          <a:lnTo>
                            <a:pt x="3" y="2825"/>
                          </a:lnTo>
                          <a:lnTo>
                            <a:pt x="6" y="2839"/>
                          </a:lnTo>
                          <a:lnTo>
                            <a:pt x="11" y="2852"/>
                          </a:lnTo>
                          <a:lnTo>
                            <a:pt x="17" y="2864"/>
                          </a:lnTo>
                          <a:lnTo>
                            <a:pt x="24" y="2876"/>
                          </a:lnTo>
                          <a:lnTo>
                            <a:pt x="32" y="2887"/>
                          </a:lnTo>
                          <a:lnTo>
                            <a:pt x="41" y="2897"/>
                          </a:lnTo>
                          <a:lnTo>
                            <a:pt x="51" y="2906"/>
                          </a:lnTo>
                          <a:lnTo>
                            <a:pt x="62" y="2914"/>
                          </a:lnTo>
                          <a:lnTo>
                            <a:pt x="74" y="2921"/>
                          </a:lnTo>
                          <a:lnTo>
                            <a:pt x="86" y="2927"/>
                          </a:lnTo>
                          <a:lnTo>
                            <a:pt x="99" y="2932"/>
                          </a:lnTo>
                          <a:lnTo>
                            <a:pt x="113" y="2936"/>
                          </a:lnTo>
                          <a:lnTo>
                            <a:pt x="127" y="2938"/>
                          </a:lnTo>
                          <a:lnTo>
                            <a:pt x="141" y="2939"/>
                          </a:lnTo>
                          <a:lnTo>
                            <a:pt x="555" y="2941"/>
                          </a:lnTo>
                          <a:lnTo>
                            <a:pt x="555" y="2941"/>
                          </a:lnTo>
                          <a:lnTo>
                            <a:pt x="570" y="2941"/>
                          </a:lnTo>
                          <a:lnTo>
                            <a:pt x="584" y="2944"/>
                          </a:lnTo>
                          <a:lnTo>
                            <a:pt x="599" y="2947"/>
                          </a:lnTo>
                          <a:lnTo>
                            <a:pt x="614" y="2951"/>
                          </a:lnTo>
                          <a:lnTo>
                            <a:pt x="628" y="2957"/>
                          </a:lnTo>
                          <a:lnTo>
                            <a:pt x="642" y="2964"/>
                          </a:lnTo>
                          <a:lnTo>
                            <a:pt x="656" y="2972"/>
                          </a:lnTo>
                          <a:lnTo>
                            <a:pt x="669" y="2980"/>
                          </a:lnTo>
                          <a:lnTo>
                            <a:pt x="682" y="2990"/>
                          </a:lnTo>
                          <a:lnTo>
                            <a:pt x="694" y="3000"/>
                          </a:lnTo>
                          <a:lnTo>
                            <a:pt x="705" y="3011"/>
                          </a:lnTo>
                          <a:lnTo>
                            <a:pt x="715" y="3023"/>
                          </a:lnTo>
                          <a:lnTo>
                            <a:pt x="724" y="3035"/>
                          </a:lnTo>
                          <a:lnTo>
                            <a:pt x="732" y="3048"/>
                          </a:lnTo>
                          <a:lnTo>
                            <a:pt x="739" y="3061"/>
                          </a:lnTo>
                          <a:lnTo>
                            <a:pt x="745" y="3075"/>
                          </a:lnTo>
                          <a:lnTo>
                            <a:pt x="939" y="3482"/>
                          </a:lnTo>
                          <a:lnTo>
                            <a:pt x="939" y="3482"/>
                          </a:lnTo>
                          <a:lnTo>
                            <a:pt x="946" y="3495"/>
                          </a:lnTo>
                          <a:lnTo>
                            <a:pt x="952" y="3509"/>
                          </a:lnTo>
                          <a:lnTo>
                            <a:pt x="956" y="3523"/>
                          </a:lnTo>
                          <a:lnTo>
                            <a:pt x="960" y="3538"/>
                          </a:lnTo>
                          <a:lnTo>
                            <a:pt x="963" y="3553"/>
                          </a:lnTo>
                          <a:lnTo>
                            <a:pt x="964" y="3569"/>
                          </a:lnTo>
                          <a:lnTo>
                            <a:pt x="965" y="3585"/>
                          </a:lnTo>
                          <a:lnTo>
                            <a:pt x="965" y="3600"/>
                          </a:lnTo>
                          <a:lnTo>
                            <a:pt x="963" y="3616"/>
                          </a:lnTo>
                          <a:lnTo>
                            <a:pt x="960" y="3632"/>
                          </a:lnTo>
                          <a:lnTo>
                            <a:pt x="957" y="3647"/>
                          </a:lnTo>
                          <a:lnTo>
                            <a:pt x="952" y="3661"/>
                          </a:lnTo>
                          <a:lnTo>
                            <a:pt x="947" y="3676"/>
                          </a:lnTo>
                          <a:lnTo>
                            <a:pt x="940" y="3689"/>
                          </a:lnTo>
                          <a:lnTo>
                            <a:pt x="932" y="3702"/>
                          </a:lnTo>
                          <a:lnTo>
                            <a:pt x="924" y="3714"/>
                          </a:lnTo>
                          <a:lnTo>
                            <a:pt x="664" y="4036"/>
                          </a:lnTo>
                          <a:lnTo>
                            <a:pt x="664" y="4036"/>
                          </a:lnTo>
                          <a:lnTo>
                            <a:pt x="656" y="4048"/>
                          </a:lnTo>
                          <a:lnTo>
                            <a:pt x="649" y="4060"/>
                          </a:lnTo>
                          <a:lnTo>
                            <a:pt x="643" y="4073"/>
                          </a:lnTo>
                          <a:lnTo>
                            <a:pt x="639" y="4086"/>
                          </a:lnTo>
                          <a:lnTo>
                            <a:pt x="636" y="4100"/>
                          </a:lnTo>
                          <a:lnTo>
                            <a:pt x="634" y="4113"/>
                          </a:lnTo>
                          <a:lnTo>
                            <a:pt x="633" y="4127"/>
                          </a:lnTo>
                          <a:lnTo>
                            <a:pt x="634" y="4141"/>
                          </a:lnTo>
                          <a:lnTo>
                            <a:pt x="636" y="4154"/>
                          </a:lnTo>
                          <a:lnTo>
                            <a:pt x="640" y="4167"/>
                          </a:lnTo>
                          <a:lnTo>
                            <a:pt x="644" y="4180"/>
                          </a:lnTo>
                          <a:lnTo>
                            <a:pt x="650" y="4192"/>
                          </a:lnTo>
                          <a:lnTo>
                            <a:pt x="657" y="4204"/>
                          </a:lnTo>
                          <a:lnTo>
                            <a:pt x="666" y="4216"/>
                          </a:lnTo>
                          <a:lnTo>
                            <a:pt x="675" y="4226"/>
                          </a:lnTo>
                          <a:lnTo>
                            <a:pt x="686" y="4236"/>
                          </a:lnTo>
                          <a:lnTo>
                            <a:pt x="1172" y="4626"/>
                          </a:lnTo>
                          <a:lnTo>
                            <a:pt x="1172" y="4626"/>
                          </a:lnTo>
                          <a:lnTo>
                            <a:pt x="1183" y="4634"/>
                          </a:lnTo>
                          <a:lnTo>
                            <a:pt x="1196" y="4642"/>
                          </a:lnTo>
                          <a:lnTo>
                            <a:pt x="1208" y="4647"/>
                          </a:lnTo>
                          <a:lnTo>
                            <a:pt x="1221" y="4652"/>
                          </a:lnTo>
                          <a:lnTo>
                            <a:pt x="1235" y="4655"/>
                          </a:lnTo>
                          <a:lnTo>
                            <a:pt x="1248" y="4657"/>
                          </a:lnTo>
                          <a:lnTo>
                            <a:pt x="1262" y="4657"/>
                          </a:lnTo>
                          <a:lnTo>
                            <a:pt x="1276" y="4656"/>
                          </a:lnTo>
                          <a:lnTo>
                            <a:pt x="1289" y="4654"/>
                          </a:lnTo>
                          <a:lnTo>
                            <a:pt x="1302" y="4651"/>
                          </a:lnTo>
                          <a:lnTo>
                            <a:pt x="1315" y="4646"/>
                          </a:lnTo>
                          <a:lnTo>
                            <a:pt x="1328" y="4640"/>
                          </a:lnTo>
                          <a:lnTo>
                            <a:pt x="1339" y="4633"/>
                          </a:lnTo>
                          <a:lnTo>
                            <a:pt x="1351" y="4625"/>
                          </a:lnTo>
                          <a:lnTo>
                            <a:pt x="1361" y="4615"/>
                          </a:lnTo>
                          <a:lnTo>
                            <a:pt x="1371" y="4604"/>
                          </a:lnTo>
                          <a:lnTo>
                            <a:pt x="1630" y="4283"/>
                          </a:lnTo>
                          <a:lnTo>
                            <a:pt x="1630" y="4283"/>
                          </a:lnTo>
                          <a:lnTo>
                            <a:pt x="1639" y="4272"/>
                          </a:lnTo>
                          <a:lnTo>
                            <a:pt x="1650" y="4262"/>
                          </a:lnTo>
                          <a:lnTo>
                            <a:pt x="1662" y="4252"/>
                          </a:lnTo>
                          <a:lnTo>
                            <a:pt x="1675" y="4244"/>
                          </a:lnTo>
                          <a:lnTo>
                            <a:pt x="1688" y="4236"/>
                          </a:lnTo>
                          <a:lnTo>
                            <a:pt x="1702" y="4229"/>
                          </a:lnTo>
                          <a:lnTo>
                            <a:pt x="1717" y="4223"/>
                          </a:lnTo>
                          <a:lnTo>
                            <a:pt x="1732" y="4219"/>
                          </a:lnTo>
                          <a:lnTo>
                            <a:pt x="1747" y="4215"/>
                          </a:lnTo>
                          <a:lnTo>
                            <a:pt x="1762" y="4212"/>
                          </a:lnTo>
                          <a:lnTo>
                            <a:pt x="1778" y="4210"/>
                          </a:lnTo>
                          <a:lnTo>
                            <a:pt x="1793" y="4210"/>
                          </a:lnTo>
                          <a:lnTo>
                            <a:pt x="1809" y="4210"/>
                          </a:lnTo>
                          <a:lnTo>
                            <a:pt x="1824" y="4212"/>
                          </a:lnTo>
                          <a:lnTo>
                            <a:pt x="1838" y="4215"/>
                          </a:lnTo>
                          <a:lnTo>
                            <a:pt x="1852" y="4219"/>
                          </a:lnTo>
                          <a:lnTo>
                            <a:pt x="2295" y="4319"/>
                          </a:lnTo>
                          <a:lnTo>
                            <a:pt x="2295" y="4319"/>
                          </a:lnTo>
                          <a:lnTo>
                            <a:pt x="2309" y="4322"/>
                          </a:lnTo>
                          <a:lnTo>
                            <a:pt x="2324" y="4326"/>
                          </a:lnTo>
                          <a:lnTo>
                            <a:pt x="2338" y="4331"/>
                          </a:lnTo>
                          <a:lnTo>
                            <a:pt x="2352" y="4337"/>
                          </a:lnTo>
                          <a:lnTo>
                            <a:pt x="2366" y="4345"/>
                          </a:lnTo>
                          <a:lnTo>
                            <a:pt x="2379" y="4353"/>
                          </a:lnTo>
                          <a:lnTo>
                            <a:pt x="2391" y="4363"/>
                          </a:lnTo>
                          <a:lnTo>
                            <a:pt x="2403" y="4373"/>
                          </a:lnTo>
                          <a:lnTo>
                            <a:pt x="2415" y="4384"/>
                          </a:lnTo>
                          <a:lnTo>
                            <a:pt x="2425" y="4396"/>
                          </a:lnTo>
                          <a:lnTo>
                            <a:pt x="2435" y="4408"/>
                          </a:lnTo>
                          <a:lnTo>
                            <a:pt x="2443" y="4421"/>
                          </a:lnTo>
                          <a:lnTo>
                            <a:pt x="2451" y="4434"/>
                          </a:lnTo>
                          <a:lnTo>
                            <a:pt x="2457" y="4448"/>
                          </a:lnTo>
                          <a:lnTo>
                            <a:pt x="2464" y="4462"/>
                          </a:lnTo>
                          <a:lnTo>
                            <a:pt x="2468" y="4476"/>
                          </a:lnTo>
                          <a:lnTo>
                            <a:pt x="2558" y="4880"/>
                          </a:lnTo>
                          <a:lnTo>
                            <a:pt x="2558" y="4880"/>
                          </a:lnTo>
                          <a:lnTo>
                            <a:pt x="2562" y="4894"/>
                          </a:lnTo>
                          <a:lnTo>
                            <a:pt x="2567" y="4907"/>
                          </a:lnTo>
                          <a:lnTo>
                            <a:pt x="2574" y="4919"/>
                          </a:lnTo>
                          <a:lnTo>
                            <a:pt x="2581" y="4931"/>
                          </a:lnTo>
                          <a:lnTo>
                            <a:pt x="2590" y="4942"/>
                          </a:lnTo>
                          <a:lnTo>
                            <a:pt x="2600" y="4952"/>
                          </a:lnTo>
                          <a:lnTo>
                            <a:pt x="2610" y="4960"/>
                          </a:lnTo>
                          <a:lnTo>
                            <a:pt x="2621" y="4968"/>
                          </a:lnTo>
                          <a:lnTo>
                            <a:pt x="2633" y="4975"/>
                          </a:lnTo>
                          <a:lnTo>
                            <a:pt x="2645" y="4981"/>
                          </a:lnTo>
                          <a:lnTo>
                            <a:pt x="2658" y="4985"/>
                          </a:lnTo>
                          <a:lnTo>
                            <a:pt x="2672" y="4988"/>
                          </a:lnTo>
                          <a:lnTo>
                            <a:pt x="2685" y="4990"/>
                          </a:lnTo>
                          <a:lnTo>
                            <a:pt x="2699" y="4990"/>
                          </a:lnTo>
                          <a:lnTo>
                            <a:pt x="2714" y="4989"/>
                          </a:lnTo>
                          <a:lnTo>
                            <a:pt x="2728" y="4987"/>
                          </a:lnTo>
                          <a:lnTo>
                            <a:pt x="3336" y="4850"/>
                          </a:lnTo>
                          <a:lnTo>
                            <a:pt x="3336" y="4850"/>
                          </a:lnTo>
                          <a:lnTo>
                            <a:pt x="3350" y="4846"/>
                          </a:lnTo>
                          <a:lnTo>
                            <a:pt x="3363" y="4841"/>
                          </a:lnTo>
                          <a:lnTo>
                            <a:pt x="3376" y="4835"/>
                          </a:lnTo>
                          <a:lnTo>
                            <a:pt x="3387" y="4827"/>
                          </a:lnTo>
                          <a:lnTo>
                            <a:pt x="3398" y="4819"/>
                          </a:lnTo>
                          <a:lnTo>
                            <a:pt x="3408" y="4809"/>
                          </a:lnTo>
                          <a:lnTo>
                            <a:pt x="3417" y="4799"/>
                          </a:lnTo>
                          <a:lnTo>
                            <a:pt x="3425" y="4787"/>
                          </a:lnTo>
                          <a:lnTo>
                            <a:pt x="3431" y="4776"/>
                          </a:lnTo>
                          <a:lnTo>
                            <a:pt x="3437" y="4763"/>
                          </a:lnTo>
                          <a:lnTo>
                            <a:pt x="3441" y="4750"/>
                          </a:lnTo>
                          <a:lnTo>
                            <a:pt x="3444" y="4737"/>
                          </a:lnTo>
                          <a:lnTo>
                            <a:pt x="3446" y="4723"/>
                          </a:lnTo>
                          <a:lnTo>
                            <a:pt x="3447" y="4709"/>
                          </a:lnTo>
                          <a:lnTo>
                            <a:pt x="3446" y="4695"/>
                          </a:lnTo>
                          <a:lnTo>
                            <a:pt x="3443" y="4681"/>
                          </a:lnTo>
                          <a:lnTo>
                            <a:pt x="3352" y="4278"/>
                          </a:lnTo>
                          <a:lnTo>
                            <a:pt x="3352" y="4278"/>
                          </a:lnTo>
                          <a:lnTo>
                            <a:pt x="3350" y="4263"/>
                          </a:lnTo>
                          <a:lnTo>
                            <a:pt x="3349" y="4248"/>
                          </a:lnTo>
                          <a:lnTo>
                            <a:pt x="3349" y="4233"/>
                          </a:lnTo>
                          <a:lnTo>
                            <a:pt x="3350" y="4218"/>
                          </a:lnTo>
                          <a:lnTo>
                            <a:pt x="3352" y="4203"/>
                          </a:lnTo>
                          <a:lnTo>
                            <a:pt x="3356" y="4187"/>
                          </a:lnTo>
                          <a:lnTo>
                            <a:pt x="3360" y="4172"/>
                          </a:lnTo>
                          <a:lnTo>
                            <a:pt x="3366" y="4158"/>
                          </a:lnTo>
                          <a:lnTo>
                            <a:pt x="3372" y="4143"/>
                          </a:lnTo>
                          <a:lnTo>
                            <a:pt x="3379" y="4129"/>
                          </a:lnTo>
                          <a:lnTo>
                            <a:pt x="3388" y="4116"/>
                          </a:lnTo>
                          <a:lnTo>
                            <a:pt x="3397" y="4103"/>
                          </a:lnTo>
                          <a:lnTo>
                            <a:pt x="3407" y="4092"/>
                          </a:lnTo>
                          <a:lnTo>
                            <a:pt x="3417" y="4081"/>
                          </a:lnTo>
                          <a:lnTo>
                            <a:pt x="3429" y="4071"/>
                          </a:lnTo>
                          <a:lnTo>
                            <a:pt x="3441" y="4063"/>
                          </a:lnTo>
                          <a:lnTo>
                            <a:pt x="3795" y="3783"/>
                          </a:lnTo>
                          <a:lnTo>
                            <a:pt x="3795" y="3783"/>
                          </a:lnTo>
                          <a:lnTo>
                            <a:pt x="3806" y="3773"/>
                          </a:lnTo>
                          <a:lnTo>
                            <a:pt x="3818" y="3764"/>
                          </a:lnTo>
                          <a:lnTo>
                            <a:pt x="3831" y="3756"/>
                          </a:lnTo>
                          <a:lnTo>
                            <a:pt x="3845" y="3749"/>
                          </a:lnTo>
                          <a:lnTo>
                            <a:pt x="3859" y="3743"/>
                          </a:lnTo>
                          <a:lnTo>
                            <a:pt x="3874" y="3738"/>
                          </a:lnTo>
                          <a:lnTo>
                            <a:pt x="3889" y="3734"/>
                          </a:lnTo>
                          <a:lnTo>
                            <a:pt x="3905" y="3731"/>
                          </a:lnTo>
                          <a:lnTo>
                            <a:pt x="3920" y="3729"/>
                          </a:lnTo>
                          <a:lnTo>
                            <a:pt x="3936" y="3728"/>
                          </a:lnTo>
                          <a:lnTo>
                            <a:pt x="3952" y="3728"/>
                          </a:lnTo>
                          <a:lnTo>
                            <a:pt x="3967" y="3730"/>
                          </a:lnTo>
                          <a:lnTo>
                            <a:pt x="3982" y="3732"/>
                          </a:lnTo>
                          <a:lnTo>
                            <a:pt x="3997" y="3735"/>
                          </a:lnTo>
                          <a:lnTo>
                            <a:pt x="4011" y="3740"/>
                          </a:lnTo>
                          <a:lnTo>
                            <a:pt x="4024" y="3746"/>
                          </a:lnTo>
                          <a:lnTo>
                            <a:pt x="4396" y="3926"/>
                          </a:lnTo>
                          <a:lnTo>
                            <a:pt x="4396" y="3926"/>
                          </a:lnTo>
                          <a:lnTo>
                            <a:pt x="4409" y="3932"/>
                          </a:lnTo>
                          <a:lnTo>
                            <a:pt x="4423" y="3936"/>
                          </a:lnTo>
                          <a:lnTo>
                            <a:pt x="4436" y="3939"/>
                          </a:lnTo>
                          <a:lnTo>
                            <a:pt x="4450" y="3940"/>
                          </a:lnTo>
                          <a:lnTo>
                            <a:pt x="4464" y="3940"/>
                          </a:lnTo>
                          <a:lnTo>
                            <a:pt x="4477" y="3939"/>
                          </a:lnTo>
                          <a:lnTo>
                            <a:pt x="4491" y="3936"/>
                          </a:lnTo>
                          <a:lnTo>
                            <a:pt x="4504" y="3932"/>
                          </a:lnTo>
                          <a:lnTo>
                            <a:pt x="4516" y="3927"/>
                          </a:lnTo>
                          <a:lnTo>
                            <a:pt x="4529" y="3921"/>
                          </a:lnTo>
                          <a:lnTo>
                            <a:pt x="4540" y="3914"/>
                          </a:lnTo>
                          <a:lnTo>
                            <a:pt x="4551" y="3905"/>
                          </a:lnTo>
                          <a:lnTo>
                            <a:pt x="4561" y="3896"/>
                          </a:lnTo>
                          <a:lnTo>
                            <a:pt x="4570" y="3885"/>
                          </a:lnTo>
                          <a:lnTo>
                            <a:pt x="4578" y="3873"/>
                          </a:lnTo>
                          <a:lnTo>
                            <a:pt x="4585" y="3860"/>
                          </a:lnTo>
                          <a:lnTo>
                            <a:pt x="4857" y="3300"/>
                          </a:lnTo>
                          <a:lnTo>
                            <a:pt x="4857" y="3300"/>
                          </a:lnTo>
                          <a:lnTo>
                            <a:pt x="4863" y="3286"/>
                          </a:lnTo>
                          <a:lnTo>
                            <a:pt x="4867" y="3273"/>
                          </a:lnTo>
                          <a:lnTo>
                            <a:pt x="4870" y="3259"/>
                          </a:lnTo>
                          <a:lnTo>
                            <a:pt x="4871" y="3245"/>
                          </a:lnTo>
                          <a:lnTo>
                            <a:pt x="4872" y="3231"/>
                          </a:lnTo>
                          <a:lnTo>
                            <a:pt x="4870" y="3218"/>
                          </a:lnTo>
                          <a:lnTo>
                            <a:pt x="4868" y="3204"/>
                          </a:lnTo>
                          <a:lnTo>
                            <a:pt x="4864" y="3191"/>
                          </a:lnTo>
                          <a:lnTo>
                            <a:pt x="4859" y="3179"/>
                          </a:lnTo>
                          <a:lnTo>
                            <a:pt x="4853" y="3167"/>
                          </a:lnTo>
                          <a:lnTo>
                            <a:pt x="4845" y="3155"/>
                          </a:lnTo>
                          <a:lnTo>
                            <a:pt x="4837" y="3144"/>
                          </a:lnTo>
                          <a:lnTo>
                            <a:pt x="4827" y="3134"/>
                          </a:lnTo>
                          <a:lnTo>
                            <a:pt x="4816" y="3125"/>
                          </a:lnTo>
                          <a:lnTo>
                            <a:pt x="4805" y="3117"/>
                          </a:lnTo>
                          <a:lnTo>
                            <a:pt x="4792" y="3110"/>
                          </a:lnTo>
                          <a:lnTo>
                            <a:pt x="4421" y="2930"/>
                          </a:lnTo>
                          <a:lnTo>
                            <a:pt x="4421" y="2930"/>
                          </a:lnTo>
                          <a:lnTo>
                            <a:pt x="4408" y="2923"/>
                          </a:lnTo>
                          <a:lnTo>
                            <a:pt x="4396" y="2915"/>
                          </a:lnTo>
                          <a:lnTo>
                            <a:pt x="4384" y="2905"/>
                          </a:lnTo>
                          <a:lnTo>
                            <a:pt x="4373" y="2895"/>
                          </a:lnTo>
                          <a:lnTo>
                            <a:pt x="4363" y="2884"/>
                          </a:lnTo>
                          <a:lnTo>
                            <a:pt x="4354" y="2872"/>
                          </a:lnTo>
                          <a:lnTo>
                            <a:pt x="4345" y="2859"/>
                          </a:lnTo>
                          <a:lnTo>
                            <a:pt x="4338" y="2845"/>
                          </a:lnTo>
                          <a:lnTo>
                            <a:pt x="4331" y="2831"/>
                          </a:lnTo>
                          <a:lnTo>
                            <a:pt x="4325" y="2817"/>
                          </a:lnTo>
                          <a:lnTo>
                            <a:pt x="4321" y="2802"/>
                          </a:lnTo>
                          <a:lnTo>
                            <a:pt x="4317" y="2787"/>
                          </a:lnTo>
                          <a:lnTo>
                            <a:pt x="4315" y="2772"/>
                          </a:lnTo>
                          <a:lnTo>
                            <a:pt x="4314" y="2758"/>
                          </a:lnTo>
                          <a:lnTo>
                            <a:pt x="4314" y="2743"/>
                          </a:lnTo>
                          <a:lnTo>
                            <a:pt x="4316" y="2728"/>
                          </a:lnTo>
                          <a:lnTo>
                            <a:pt x="4316" y="2728"/>
                          </a:lnTo>
                          <a:lnTo>
                            <a:pt x="4318" y="2710"/>
                          </a:lnTo>
                          <a:lnTo>
                            <a:pt x="4323" y="2662"/>
                          </a:lnTo>
                          <a:lnTo>
                            <a:pt x="4326" y="2629"/>
                          </a:lnTo>
                          <a:lnTo>
                            <a:pt x="4329" y="2590"/>
                          </a:lnTo>
                          <a:lnTo>
                            <a:pt x="4331" y="2548"/>
                          </a:lnTo>
                          <a:lnTo>
                            <a:pt x="4332" y="2502"/>
                          </a:lnTo>
                          <a:lnTo>
                            <a:pt x="4332" y="2502"/>
                          </a:lnTo>
                          <a:close/>
                          <a:moveTo>
                            <a:pt x="3788" y="2500"/>
                          </a:moveTo>
                          <a:lnTo>
                            <a:pt x="3788" y="2500"/>
                          </a:lnTo>
                          <a:lnTo>
                            <a:pt x="3787" y="2533"/>
                          </a:lnTo>
                          <a:lnTo>
                            <a:pt x="3786" y="2567"/>
                          </a:lnTo>
                          <a:lnTo>
                            <a:pt x="3784" y="2600"/>
                          </a:lnTo>
                          <a:lnTo>
                            <a:pt x="3780" y="2633"/>
                          </a:lnTo>
                          <a:lnTo>
                            <a:pt x="3777" y="2666"/>
                          </a:lnTo>
                          <a:lnTo>
                            <a:pt x="3772" y="2698"/>
                          </a:lnTo>
                          <a:lnTo>
                            <a:pt x="3767" y="2730"/>
                          </a:lnTo>
                          <a:lnTo>
                            <a:pt x="3760" y="2762"/>
                          </a:lnTo>
                          <a:lnTo>
                            <a:pt x="3753" y="2794"/>
                          </a:lnTo>
                          <a:lnTo>
                            <a:pt x="3746" y="2825"/>
                          </a:lnTo>
                          <a:lnTo>
                            <a:pt x="3737" y="2856"/>
                          </a:lnTo>
                          <a:lnTo>
                            <a:pt x="3728" y="2887"/>
                          </a:lnTo>
                          <a:lnTo>
                            <a:pt x="3718" y="2917"/>
                          </a:lnTo>
                          <a:lnTo>
                            <a:pt x="3707" y="2947"/>
                          </a:lnTo>
                          <a:lnTo>
                            <a:pt x="3696" y="2977"/>
                          </a:lnTo>
                          <a:lnTo>
                            <a:pt x="3684" y="3006"/>
                          </a:lnTo>
                          <a:lnTo>
                            <a:pt x="3671" y="3035"/>
                          </a:lnTo>
                          <a:lnTo>
                            <a:pt x="3657" y="3064"/>
                          </a:lnTo>
                          <a:lnTo>
                            <a:pt x="3643" y="3092"/>
                          </a:lnTo>
                          <a:lnTo>
                            <a:pt x="3628" y="3120"/>
                          </a:lnTo>
                          <a:lnTo>
                            <a:pt x="3613" y="3147"/>
                          </a:lnTo>
                          <a:lnTo>
                            <a:pt x="3597" y="3174"/>
                          </a:lnTo>
                          <a:lnTo>
                            <a:pt x="3580" y="3201"/>
                          </a:lnTo>
                          <a:lnTo>
                            <a:pt x="3563" y="3227"/>
                          </a:lnTo>
                          <a:lnTo>
                            <a:pt x="3545" y="3252"/>
                          </a:lnTo>
                          <a:lnTo>
                            <a:pt x="3526" y="3278"/>
                          </a:lnTo>
                          <a:lnTo>
                            <a:pt x="3507" y="3302"/>
                          </a:lnTo>
                          <a:lnTo>
                            <a:pt x="3487" y="3327"/>
                          </a:lnTo>
                          <a:lnTo>
                            <a:pt x="3467" y="3350"/>
                          </a:lnTo>
                          <a:lnTo>
                            <a:pt x="3446" y="3374"/>
                          </a:lnTo>
                          <a:lnTo>
                            <a:pt x="3425" y="3396"/>
                          </a:lnTo>
                          <a:lnTo>
                            <a:pt x="3403" y="3419"/>
                          </a:lnTo>
                          <a:lnTo>
                            <a:pt x="3381" y="3440"/>
                          </a:lnTo>
                          <a:lnTo>
                            <a:pt x="3358" y="3462"/>
                          </a:lnTo>
                          <a:lnTo>
                            <a:pt x="3334" y="3482"/>
                          </a:lnTo>
                          <a:lnTo>
                            <a:pt x="3310" y="3502"/>
                          </a:lnTo>
                          <a:lnTo>
                            <a:pt x="3286" y="3522"/>
                          </a:lnTo>
                          <a:lnTo>
                            <a:pt x="3261" y="3541"/>
                          </a:lnTo>
                          <a:lnTo>
                            <a:pt x="3236" y="3559"/>
                          </a:lnTo>
                          <a:lnTo>
                            <a:pt x="3210" y="3577"/>
                          </a:lnTo>
                          <a:lnTo>
                            <a:pt x="3184" y="3594"/>
                          </a:lnTo>
                          <a:lnTo>
                            <a:pt x="3157" y="3611"/>
                          </a:lnTo>
                          <a:lnTo>
                            <a:pt x="3130" y="3626"/>
                          </a:lnTo>
                          <a:lnTo>
                            <a:pt x="3102" y="3642"/>
                          </a:lnTo>
                          <a:lnTo>
                            <a:pt x="3074" y="3656"/>
                          </a:lnTo>
                          <a:lnTo>
                            <a:pt x="3046" y="3670"/>
                          </a:lnTo>
                          <a:lnTo>
                            <a:pt x="3017" y="3683"/>
                          </a:lnTo>
                          <a:lnTo>
                            <a:pt x="2988" y="3696"/>
                          </a:lnTo>
                          <a:lnTo>
                            <a:pt x="2959" y="3708"/>
                          </a:lnTo>
                          <a:lnTo>
                            <a:pt x="2929" y="3719"/>
                          </a:lnTo>
                          <a:lnTo>
                            <a:pt x="2899" y="3730"/>
                          </a:lnTo>
                          <a:lnTo>
                            <a:pt x="2868" y="3739"/>
                          </a:lnTo>
                          <a:lnTo>
                            <a:pt x="2838" y="3748"/>
                          </a:lnTo>
                          <a:lnTo>
                            <a:pt x="2807" y="3757"/>
                          </a:lnTo>
                          <a:lnTo>
                            <a:pt x="2775" y="3764"/>
                          </a:lnTo>
                          <a:lnTo>
                            <a:pt x="2744" y="3771"/>
                          </a:lnTo>
                          <a:lnTo>
                            <a:pt x="2712" y="3777"/>
                          </a:lnTo>
                          <a:lnTo>
                            <a:pt x="2679" y="3782"/>
                          </a:lnTo>
                          <a:lnTo>
                            <a:pt x="2647" y="3787"/>
                          </a:lnTo>
                          <a:lnTo>
                            <a:pt x="2614" y="3790"/>
                          </a:lnTo>
                          <a:lnTo>
                            <a:pt x="2581" y="3793"/>
                          </a:lnTo>
                          <a:lnTo>
                            <a:pt x="2548" y="3795"/>
                          </a:lnTo>
                          <a:lnTo>
                            <a:pt x="2515" y="3796"/>
                          </a:lnTo>
                          <a:lnTo>
                            <a:pt x="2481" y="3796"/>
                          </a:lnTo>
                          <a:lnTo>
                            <a:pt x="2481" y="3796"/>
                          </a:lnTo>
                          <a:lnTo>
                            <a:pt x="2446" y="3796"/>
                          </a:lnTo>
                          <a:lnTo>
                            <a:pt x="2413" y="3794"/>
                          </a:lnTo>
                          <a:lnTo>
                            <a:pt x="2380" y="3792"/>
                          </a:lnTo>
                          <a:lnTo>
                            <a:pt x="2347" y="3789"/>
                          </a:lnTo>
                          <a:lnTo>
                            <a:pt x="2314" y="3785"/>
                          </a:lnTo>
                          <a:lnTo>
                            <a:pt x="2282" y="3781"/>
                          </a:lnTo>
                          <a:lnTo>
                            <a:pt x="2250" y="3775"/>
                          </a:lnTo>
                          <a:lnTo>
                            <a:pt x="2218" y="3769"/>
                          </a:lnTo>
                          <a:lnTo>
                            <a:pt x="2186" y="3762"/>
                          </a:lnTo>
                          <a:lnTo>
                            <a:pt x="2155" y="3754"/>
                          </a:lnTo>
                          <a:lnTo>
                            <a:pt x="2124" y="3746"/>
                          </a:lnTo>
                          <a:lnTo>
                            <a:pt x="2093" y="3736"/>
                          </a:lnTo>
                          <a:lnTo>
                            <a:pt x="2063" y="3726"/>
                          </a:lnTo>
                          <a:lnTo>
                            <a:pt x="2033" y="3716"/>
                          </a:lnTo>
                          <a:lnTo>
                            <a:pt x="2003" y="3704"/>
                          </a:lnTo>
                          <a:lnTo>
                            <a:pt x="1974" y="3692"/>
                          </a:lnTo>
                          <a:lnTo>
                            <a:pt x="1945" y="3679"/>
                          </a:lnTo>
                          <a:lnTo>
                            <a:pt x="1916" y="3666"/>
                          </a:lnTo>
                          <a:lnTo>
                            <a:pt x="1888" y="3652"/>
                          </a:lnTo>
                          <a:lnTo>
                            <a:pt x="1860" y="3637"/>
                          </a:lnTo>
                          <a:lnTo>
                            <a:pt x="1833" y="3621"/>
                          </a:lnTo>
                          <a:lnTo>
                            <a:pt x="1806" y="3605"/>
                          </a:lnTo>
                          <a:lnTo>
                            <a:pt x="1779" y="3589"/>
                          </a:lnTo>
                          <a:lnTo>
                            <a:pt x="1753" y="3571"/>
                          </a:lnTo>
                          <a:lnTo>
                            <a:pt x="1728" y="3553"/>
                          </a:lnTo>
                          <a:lnTo>
                            <a:pt x="1702" y="3535"/>
                          </a:lnTo>
                          <a:lnTo>
                            <a:pt x="1678" y="3516"/>
                          </a:lnTo>
                          <a:lnTo>
                            <a:pt x="1653" y="3496"/>
                          </a:lnTo>
                          <a:lnTo>
                            <a:pt x="1630" y="3476"/>
                          </a:lnTo>
                          <a:lnTo>
                            <a:pt x="1606" y="3455"/>
                          </a:lnTo>
                          <a:lnTo>
                            <a:pt x="1584" y="3433"/>
                          </a:lnTo>
                          <a:lnTo>
                            <a:pt x="1561" y="3412"/>
                          </a:lnTo>
                          <a:lnTo>
                            <a:pt x="1540" y="3389"/>
                          </a:lnTo>
                          <a:lnTo>
                            <a:pt x="1518" y="3366"/>
                          </a:lnTo>
                          <a:lnTo>
                            <a:pt x="1498" y="3343"/>
                          </a:lnTo>
                          <a:lnTo>
                            <a:pt x="1478" y="3319"/>
                          </a:lnTo>
                          <a:lnTo>
                            <a:pt x="1458" y="3294"/>
                          </a:lnTo>
                          <a:lnTo>
                            <a:pt x="1439" y="3269"/>
                          </a:lnTo>
                          <a:lnTo>
                            <a:pt x="1421" y="3244"/>
                          </a:lnTo>
                          <a:lnTo>
                            <a:pt x="1403" y="3218"/>
                          </a:lnTo>
                          <a:lnTo>
                            <a:pt x="1386" y="3192"/>
                          </a:lnTo>
                          <a:lnTo>
                            <a:pt x="1370" y="3165"/>
                          </a:lnTo>
                          <a:lnTo>
                            <a:pt x="1354" y="3138"/>
                          </a:lnTo>
                          <a:lnTo>
                            <a:pt x="1338" y="3111"/>
                          </a:lnTo>
                          <a:lnTo>
                            <a:pt x="1324" y="3083"/>
                          </a:lnTo>
                          <a:lnTo>
                            <a:pt x="1310" y="3054"/>
                          </a:lnTo>
                          <a:lnTo>
                            <a:pt x="1297" y="3026"/>
                          </a:lnTo>
                          <a:lnTo>
                            <a:pt x="1284" y="2997"/>
                          </a:lnTo>
                          <a:lnTo>
                            <a:pt x="1272" y="2967"/>
                          </a:lnTo>
                          <a:lnTo>
                            <a:pt x="1261" y="2937"/>
                          </a:lnTo>
                          <a:lnTo>
                            <a:pt x="1250" y="2907"/>
                          </a:lnTo>
                          <a:lnTo>
                            <a:pt x="1241" y="2877"/>
                          </a:lnTo>
                          <a:lnTo>
                            <a:pt x="1232" y="2846"/>
                          </a:lnTo>
                          <a:lnTo>
                            <a:pt x="1223" y="2815"/>
                          </a:lnTo>
                          <a:lnTo>
                            <a:pt x="1216" y="2784"/>
                          </a:lnTo>
                          <a:lnTo>
                            <a:pt x="1209" y="2752"/>
                          </a:lnTo>
                          <a:lnTo>
                            <a:pt x="1203" y="2720"/>
                          </a:lnTo>
                          <a:lnTo>
                            <a:pt x="1198" y="2688"/>
                          </a:lnTo>
                          <a:lnTo>
                            <a:pt x="1194" y="2655"/>
                          </a:lnTo>
                          <a:lnTo>
                            <a:pt x="1190" y="2623"/>
                          </a:lnTo>
                          <a:lnTo>
                            <a:pt x="1187" y="2590"/>
                          </a:lnTo>
                          <a:lnTo>
                            <a:pt x="1185" y="2557"/>
                          </a:lnTo>
                          <a:lnTo>
                            <a:pt x="1184" y="2523"/>
                          </a:lnTo>
                          <a:lnTo>
                            <a:pt x="1184" y="2490"/>
                          </a:lnTo>
                          <a:lnTo>
                            <a:pt x="1184" y="2490"/>
                          </a:lnTo>
                          <a:lnTo>
                            <a:pt x="1184" y="2455"/>
                          </a:lnTo>
                          <a:lnTo>
                            <a:pt x="1186" y="2422"/>
                          </a:lnTo>
                          <a:lnTo>
                            <a:pt x="1188" y="2388"/>
                          </a:lnTo>
                          <a:lnTo>
                            <a:pt x="1191" y="2356"/>
                          </a:lnTo>
                          <a:lnTo>
                            <a:pt x="1195" y="2323"/>
                          </a:lnTo>
                          <a:lnTo>
                            <a:pt x="1199" y="2290"/>
                          </a:lnTo>
                          <a:lnTo>
                            <a:pt x="1205" y="2258"/>
                          </a:lnTo>
                          <a:lnTo>
                            <a:pt x="1211" y="2226"/>
                          </a:lnTo>
                          <a:lnTo>
                            <a:pt x="1218" y="2195"/>
                          </a:lnTo>
                          <a:lnTo>
                            <a:pt x="1226" y="2163"/>
                          </a:lnTo>
                          <a:lnTo>
                            <a:pt x="1234" y="2132"/>
                          </a:lnTo>
                          <a:lnTo>
                            <a:pt x="1244" y="2102"/>
                          </a:lnTo>
                          <a:lnTo>
                            <a:pt x="1254" y="2071"/>
                          </a:lnTo>
                          <a:lnTo>
                            <a:pt x="1264" y="2041"/>
                          </a:lnTo>
                          <a:lnTo>
                            <a:pt x="1276" y="2012"/>
                          </a:lnTo>
                          <a:lnTo>
                            <a:pt x="1288" y="1982"/>
                          </a:lnTo>
                          <a:lnTo>
                            <a:pt x="1301" y="1953"/>
                          </a:lnTo>
                          <a:lnTo>
                            <a:pt x="1314" y="1925"/>
                          </a:lnTo>
                          <a:lnTo>
                            <a:pt x="1328" y="1897"/>
                          </a:lnTo>
                          <a:lnTo>
                            <a:pt x="1343" y="1869"/>
                          </a:lnTo>
                          <a:lnTo>
                            <a:pt x="1359" y="1841"/>
                          </a:lnTo>
                          <a:lnTo>
                            <a:pt x="1375" y="1814"/>
                          </a:lnTo>
                          <a:lnTo>
                            <a:pt x="1391" y="1788"/>
                          </a:lnTo>
                          <a:lnTo>
                            <a:pt x="1409" y="1762"/>
                          </a:lnTo>
                          <a:lnTo>
                            <a:pt x="1427" y="1736"/>
                          </a:lnTo>
                          <a:lnTo>
                            <a:pt x="1445" y="1711"/>
                          </a:lnTo>
                          <a:lnTo>
                            <a:pt x="1464" y="1686"/>
                          </a:lnTo>
                          <a:lnTo>
                            <a:pt x="1484" y="1662"/>
                          </a:lnTo>
                          <a:lnTo>
                            <a:pt x="1504" y="1638"/>
                          </a:lnTo>
                          <a:lnTo>
                            <a:pt x="1525" y="1615"/>
                          </a:lnTo>
                          <a:lnTo>
                            <a:pt x="1547" y="1592"/>
                          </a:lnTo>
                          <a:lnTo>
                            <a:pt x="1569" y="1570"/>
                          </a:lnTo>
                          <a:lnTo>
                            <a:pt x="1591" y="1548"/>
                          </a:lnTo>
                          <a:lnTo>
                            <a:pt x="1614" y="1527"/>
                          </a:lnTo>
                          <a:lnTo>
                            <a:pt x="1637" y="1506"/>
                          </a:lnTo>
                          <a:lnTo>
                            <a:pt x="1661" y="1486"/>
                          </a:lnTo>
                          <a:lnTo>
                            <a:pt x="1686" y="1467"/>
                          </a:lnTo>
                          <a:lnTo>
                            <a:pt x="1711" y="1448"/>
                          </a:lnTo>
                          <a:lnTo>
                            <a:pt x="1736" y="1429"/>
                          </a:lnTo>
                          <a:lnTo>
                            <a:pt x="1762" y="1412"/>
                          </a:lnTo>
                          <a:lnTo>
                            <a:pt x="1788" y="1395"/>
                          </a:lnTo>
                          <a:lnTo>
                            <a:pt x="1815" y="1378"/>
                          </a:lnTo>
                          <a:lnTo>
                            <a:pt x="1842" y="1362"/>
                          </a:lnTo>
                          <a:lnTo>
                            <a:pt x="1869" y="1347"/>
                          </a:lnTo>
                          <a:lnTo>
                            <a:pt x="1897" y="1332"/>
                          </a:lnTo>
                          <a:lnTo>
                            <a:pt x="1926" y="1318"/>
                          </a:lnTo>
                          <a:lnTo>
                            <a:pt x="1954" y="1305"/>
                          </a:lnTo>
                          <a:lnTo>
                            <a:pt x="1983" y="1293"/>
                          </a:lnTo>
                          <a:lnTo>
                            <a:pt x="2013" y="1281"/>
                          </a:lnTo>
                          <a:lnTo>
                            <a:pt x="2043" y="1270"/>
                          </a:lnTo>
                          <a:lnTo>
                            <a:pt x="2073" y="1259"/>
                          </a:lnTo>
                          <a:lnTo>
                            <a:pt x="2103" y="1249"/>
                          </a:lnTo>
                          <a:lnTo>
                            <a:pt x="2134" y="1240"/>
                          </a:lnTo>
                          <a:lnTo>
                            <a:pt x="2165" y="1232"/>
                          </a:lnTo>
                          <a:lnTo>
                            <a:pt x="2196" y="1225"/>
                          </a:lnTo>
                          <a:lnTo>
                            <a:pt x="2228" y="1218"/>
                          </a:lnTo>
                          <a:lnTo>
                            <a:pt x="2260" y="1212"/>
                          </a:lnTo>
                          <a:lnTo>
                            <a:pt x="2292" y="1207"/>
                          </a:lnTo>
                          <a:lnTo>
                            <a:pt x="2325" y="1202"/>
                          </a:lnTo>
                          <a:lnTo>
                            <a:pt x="2357" y="1199"/>
                          </a:lnTo>
                          <a:lnTo>
                            <a:pt x="2390" y="1196"/>
                          </a:lnTo>
                          <a:lnTo>
                            <a:pt x="2424" y="1194"/>
                          </a:lnTo>
                          <a:lnTo>
                            <a:pt x="2457" y="1193"/>
                          </a:lnTo>
                          <a:lnTo>
                            <a:pt x="2492" y="1192"/>
                          </a:lnTo>
                          <a:lnTo>
                            <a:pt x="2492" y="1192"/>
                          </a:lnTo>
                          <a:lnTo>
                            <a:pt x="2525" y="1193"/>
                          </a:lnTo>
                          <a:lnTo>
                            <a:pt x="2558" y="1194"/>
                          </a:lnTo>
                          <a:lnTo>
                            <a:pt x="2592" y="1197"/>
                          </a:lnTo>
                          <a:lnTo>
                            <a:pt x="2625" y="1200"/>
                          </a:lnTo>
                          <a:lnTo>
                            <a:pt x="2657" y="1204"/>
                          </a:lnTo>
                          <a:lnTo>
                            <a:pt x="2690" y="1208"/>
                          </a:lnTo>
                          <a:lnTo>
                            <a:pt x="2722" y="1214"/>
                          </a:lnTo>
                          <a:lnTo>
                            <a:pt x="2754" y="1220"/>
                          </a:lnTo>
                          <a:lnTo>
                            <a:pt x="2785" y="1227"/>
                          </a:lnTo>
                          <a:lnTo>
                            <a:pt x="2817" y="1235"/>
                          </a:lnTo>
                          <a:lnTo>
                            <a:pt x="2848" y="1243"/>
                          </a:lnTo>
                          <a:lnTo>
                            <a:pt x="2878" y="1252"/>
                          </a:lnTo>
                          <a:lnTo>
                            <a:pt x="2909" y="1262"/>
                          </a:lnTo>
                          <a:lnTo>
                            <a:pt x="2939" y="1273"/>
                          </a:lnTo>
                          <a:lnTo>
                            <a:pt x="2968" y="1285"/>
                          </a:lnTo>
                          <a:lnTo>
                            <a:pt x="2998" y="1297"/>
                          </a:lnTo>
                          <a:lnTo>
                            <a:pt x="3027" y="1309"/>
                          </a:lnTo>
                          <a:lnTo>
                            <a:pt x="3055" y="1323"/>
                          </a:lnTo>
                          <a:lnTo>
                            <a:pt x="3083" y="1337"/>
                          </a:lnTo>
                          <a:lnTo>
                            <a:pt x="3111" y="1352"/>
                          </a:lnTo>
                          <a:lnTo>
                            <a:pt x="3139" y="1367"/>
                          </a:lnTo>
                          <a:lnTo>
                            <a:pt x="3166" y="1383"/>
                          </a:lnTo>
                          <a:lnTo>
                            <a:pt x="3192" y="1400"/>
                          </a:lnTo>
                          <a:lnTo>
                            <a:pt x="3218" y="1418"/>
                          </a:lnTo>
                          <a:lnTo>
                            <a:pt x="3244" y="1435"/>
                          </a:lnTo>
                          <a:lnTo>
                            <a:pt x="3269" y="1454"/>
                          </a:lnTo>
                          <a:lnTo>
                            <a:pt x="3294" y="1473"/>
                          </a:lnTo>
                          <a:lnTo>
                            <a:pt x="3318" y="1493"/>
                          </a:lnTo>
                          <a:lnTo>
                            <a:pt x="3342" y="1513"/>
                          </a:lnTo>
                          <a:lnTo>
                            <a:pt x="3365" y="1534"/>
                          </a:lnTo>
                          <a:lnTo>
                            <a:pt x="3388" y="1555"/>
                          </a:lnTo>
                          <a:lnTo>
                            <a:pt x="3410" y="1577"/>
                          </a:lnTo>
                          <a:lnTo>
                            <a:pt x="3432" y="1600"/>
                          </a:lnTo>
                          <a:lnTo>
                            <a:pt x="3453" y="1623"/>
                          </a:lnTo>
                          <a:lnTo>
                            <a:pt x="3474" y="1646"/>
                          </a:lnTo>
                          <a:lnTo>
                            <a:pt x="3494" y="1670"/>
                          </a:lnTo>
                          <a:lnTo>
                            <a:pt x="3513" y="1694"/>
                          </a:lnTo>
                          <a:lnTo>
                            <a:pt x="3532" y="1719"/>
                          </a:lnTo>
                          <a:lnTo>
                            <a:pt x="3551" y="1745"/>
                          </a:lnTo>
                          <a:lnTo>
                            <a:pt x="3568" y="1770"/>
                          </a:lnTo>
                          <a:lnTo>
                            <a:pt x="3585" y="1797"/>
                          </a:lnTo>
                          <a:lnTo>
                            <a:pt x="3602" y="1823"/>
                          </a:lnTo>
                          <a:lnTo>
                            <a:pt x="3618" y="1850"/>
                          </a:lnTo>
                          <a:lnTo>
                            <a:pt x="3633" y="1878"/>
                          </a:lnTo>
                          <a:lnTo>
                            <a:pt x="3648" y="1906"/>
                          </a:lnTo>
                          <a:lnTo>
                            <a:pt x="3662" y="1934"/>
                          </a:lnTo>
                          <a:lnTo>
                            <a:pt x="3675" y="1963"/>
                          </a:lnTo>
                          <a:lnTo>
                            <a:pt x="3687" y="1992"/>
                          </a:lnTo>
                          <a:lnTo>
                            <a:pt x="3699" y="2021"/>
                          </a:lnTo>
                          <a:lnTo>
                            <a:pt x="3711" y="2051"/>
                          </a:lnTo>
                          <a:lnTo>
                            <a:pt x="3721" y="2081"/>
                          </a:lnTo>
                          <a:lnTo>
                            <a:pt x="3731" y="2112"/>
                          </a:lnTo>
                          <a:lnTo>
                            <a:pt x="3740" y="2142"/>
                          </a:lnTo>
                          <a:lnTo>
                            <a:pt x="3748" y="2173"/>
                          </a:lnTo>
                          <a:lnTo>
                            <a:pt x="3756" y="2205"/>
                          </a:lnTo>
                          <a:lnTo>
                            <a:pt x="3762" y="2236"/>
                          </a:lnTo>
                          <a:lnTo>
                            <a:pt x="3768" y="2268"/>
                          </a:lnTo>
                          <a:lnTo>
                            <a:pt x="3773" y="2301"/>
                          </a:lnTo>
                          <a:lnTo>
                            <a:pt x="3778" y="2333"/>
                          </a:lnTo>
                          <a:lnTo>
                            <a:pt x="3781" y="2366"/>
                          </a:lnTo>
                          <a:lnTo>
                            <a:pt x="3784" y="2399"/>
                          </a:lnTo>
                          <a:lnTo>
                            <a:pt x="3786" y="2432"/>
                          </a:lnTo>
                          <a:lnTo>
                            <a:pt x="3787" y="2466"/>
                          </a:lnTo>
                          <a:lnTo>
                            <a:pt x="3788" y="2500"/>
                          </a:lnTo>
                          <a:lnTo>
                            <a:pt x="3788" y="25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61" tIns="45731" rIns="91461" bIns="457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583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dirty="0">
                        <a:solidFill>
                          <a:srgbClr val="000000"/>
                        </a:solidFill>
                        <a:latin typeface="Calibri"/>
                        <a:ea typeface="+mn-ea"/>
                      </a:endParaRPr>
                    </a:p>
                  </p:txBody>
                </p:sp>
              </p:grpSp>
              <p:grpSp>
                <p:nvGrpSpPr>
                  <p:cNvPr id="304" name="Gruppieren 303">
                    <a:extLst>
                      <a:ext uri="{FF2B5EF4-FFF2-40B4-BE49-F238E27FC236}">
                        <a16:creationId xmlns:a16="http://schemas.microsoft.com/office/drawing/2014/main" id="{ACD5E93B-937A-4969-A3A2-63BE9B5C54B0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561363" y="4863990"/>
                    <a:ext cx="1157889" cy="362730"/>
                    <a:chOff x="561363" y="4863990"/>
                    <a:chExt cx="1157889" cy="362730"/>
                  </a:xfrm>
                </p:grpSpPr>
                <p:grpSp>
                  <p:nvGrpSpPr>
                    <p:cNvPr id="305" name="SAGD, Siemens, healthineers, evolve">
                      <a:extLst>
                        <a:ext uri="{FF2B5EF4-FFF2-40B4-BE49-F238E27FC236}">
                          <a16:creationId xmlns:a16="http://schemas.microsoft.com/office/drawing/2014/main" id="{6B12CBF0-A8C4-453D-8F84-AAE19CDED78E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gray">
                    <a:xfrm>
                      <a:off x="561363" y="4863990"/>
                      <a:ext cx="361963" cy="362730"/>
                      <a:chOff x="1188" y="1252"/>
                      <a:chExt cx="2268" cy="2268"/>
                    </a:xfrm>
                  </p:grpSpPr>
                  <p:sp>
                    <p:nvSpPr>
                      <p:cNvPr id="316" name="AutoShape 4">
                        <a:extLst>
                          <a:ext uri="{FF2B5EF4-FFF2-40B4-BE49-F238E27FC236}">
                            <a16:creationId xmlns:a16="http://schemas.microsoft.com/office/drawing/2014/main" id="{935ABC81-DFD8-4D45-8791-1893E2ABB1E4}"/>
                          </a:ext>
                        </a:extLst>
                      </p:cNvPr>
                      <p:cNvSpPr>
                        <a:spLocks noChangeAspect="1" noChangeArrowheads="1" noTextEdit="1"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317" name="Freeform 6">
                        <a:extLst>
                          <a:ext uri="{FF2B5EF4-FFF2-40B4-BE49-F238E27FC236}">
                            <a16:creationId xmlns:a16="http://schemas.microsoft.com/office/drawing/2014/main" id="{43155FCE-DDA4-417F-B657-A94272FC41E5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  <a:close/>
                          </a:path>
                        </a:pathLst>
                      </a:custGeom>
                      <a:solidFill>
                        <a:srgbClr val="EC6602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318" name="Freeform 7">
                        <a:extLst>
                          <a:ext uri="{FF2B5EF4-FFF2-40B4-BE49-F238E27FC236}">
                            <a16:creationId xmlns:a16="http://schemas.microsoft.com/office/drawing/2014/main" id="{5CCEC89C-9908-4CE9-A0D9-CE7FABDBD2E1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</a:path>
                        </a:pathLst>
                      </a:custGeom>
                      <a:solidFill>
                        <a:srgbClr val="3ABFED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319" name="Freeform 8">
                        <a:extLst>
                          <a:ext uri="{FF2B5EF4-FFF2-40B4-BE49-F238E27FC236}">
                            <a16:creationId xmlns:a16="http://schemas.microsoft.com/office/drawing/2014/main" id="{5D516B5D-82EF-42A8-90AE-93A34AE16242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gray">
                      <a:xfrm>
                        <a:off x="1510" y="1566"/>
                        <a:ext cx="1615" cy="165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319" y="2213"/>
                          </a:cxn>
                          <a:cxn ang="0">
                            <a:pos x="4796" y="1894"/>
                          </a:cxn>
                          <a:cxn ang="0">
                            <a:pos x="4876" y="1759"/>
                          </a:cxn>
                          <a:cxn ang="0">
                            <a:pos x="4526" y="1075"/>
                          </a:cxn>
                          <a:cxn ang="0">
                            <a:pos x="4005" y="1264"/>
                          </a:cxn>
                          <a:cxn ang="0">
                            <a:pos x="3815" y="1225"/>
                          </a:cxn>
                          <a:cxn ang="0">
                            <a:pos x="3367" y="807"/>
                          </a:cxn>
                          <a:cxn ang="0">
                            <a:pos x="3456" y="245"/>
                          </a:cxn>
                          <a:cxn ang="0">
                            <a:pos x="2745" y="3"/>
                          </a:cxn>
                          <a:cxn ang="0">
                            <a:pos x="2590" y="70"/>
                          </a:cxn>
                          <a:cxn ang="0">
                            <a:pos x="2416" y="615"/>
                          </a:cxn>
                          <a:cxn ang="0">
                            <a:pos x="1822" y="774"/>
                          </a:cxn>
                          <a:cxn ang="0">
                            <a:pos x="1644" y="700"/>
                          </a:cxn>
                          <a:cxn ang="0">
                            <a:pos x="1252" y="324"/>
                          </a:cxn>
                          <a:cxn ang="0">
                            <a:pos x="653" y="807"/>
                          </a:cxn>
                          <a:cxn ang="0">
                            <a:pos x="942" y="1274"/>
                          </a:cxn>
                          <a:cxn ang="0">
                            <a:pos x="960" y="1467"/>
                          </a:cxn>
                          <a:cxn ang="0">
                            <a:pos x="660" y="2003"/>
                          </a:cxn>
                          <a:cxn ang="0">
                            <a:pos x="90" y="2042"/>
                          </a:cxn>
                          <a:cxn ang="0">
                            <a:pos x="0" y="2797"/>
                          </a:cxn>
                          <a:cxn ang="0">
                            <a:pos x="86" y="2927"/>
                          </a:cxn>
                          <a:cxn ang="0">
                            <a:pos x="656" y="2972"/>
                          </a:cxn>
                          <a:cxn ang="0">
                            <a:pos x="952" y="3509"/>
                          </a:cxn>
                          <a:cxn ang="0">
                            <a:pos x="932" y="3702"/>
                          </a:cxn>
                          <a:cxn ang="0">
                            <a:pos x="640" y="4167"/>
                          </a:cxn>
                          <a:cxn ang="0">
                            <a:pos x="1235" y="4655"/>
                          </a:cxn>
                          <a:cxn ang="0">
                            <a:pos x="1630" y="4283"/>
                          </a:cxn>
                          <a:cxn ang="0">
                            <a:pos x="1809" y="4210"/>
                          </a:cxn>
                          <a:cxn ang="0">
                            <a:pos x="2403" y="4373"/>
                          </a:cxn>
                          <a:cxn ang="0">
                            <a:pos x="2574" y="4919"/>
                          </a:cxn>
                          <a:cxn ang="0">
                            <a:pos x="2728" y="4987"/>
                          </a:cxn>
                          <a:cxn ang="0">
                            <a:pos x="3441" y="4750"/>
                          </a:cxn>
                          <a:cxn ang="0">
                            <a:pos x="3356" y="4187"/>
                          </a:cxn>
                          <a:cxn ang="0">
                            <a:pos x="3806" y="3773"/>
                          </a:cxn>
                          <a:cxn ang="0">
                            <a:pos x="3997" y="3735"/>
                          </a:cxn>
                          <a:cxn ang="0">
                            <a:pos x="4516" y="3927"/>
                          </a:cxn>
                          <a:cxn ang="0">
                            <a:pos x="4871" y="3245"/>
                          </a:cxn>
                          <a:cxn ang="0">
                            <a:pos x="4421" y="2930"/>
                          </a:cxn>
                          <a:cxn ang="0">
                            <a:pos x="4317" y="2787"/>
                          </a:cxn>
                          <a:cxn ang="0">
                            <a:pos x="3788" y="2500"/>
                          </a:cxn>
                          <a:cxn ang="0">
                            <a:pos x="3728" y="2887"/>
                          </a:cxn>
                          <a:cxn ang="0">
                            <a:pos x="3545" y="3252"/>
                          </a:cxn>
                          <a:cxn ang="0">
                            <a:pos x="3261" y="3541"/>
                          </a:cxn>
                          <a:cxn ang="0">
                            <a:pos x="2899" y="3730"/>
                          </a:cxn>
                          <a:cxn ang="0">
                            <a:pos x="2481" y="3796"/>
                          </a:cxn>
                          <a:cxn ang="0">
                            <a:pos x="2093" y="3736"/>
                          </a:cxn>
                          <a:cxn ang="0">
                            <a:pos x="1728" y="3553"/>
                          </a:cxn>
                          <a:cxn ang="0">
                            <a:pos x="1439" y="3269"/>
                          </a:cxn>
                          <a:cxn ang="0">
                            <a:pos x="1250" y="2907"/>
                          </a:cxn>
                          <a:cxn ang="0">
                            <a:pos x="1184" y="2490"/>
                          </a:cxn>
                          <a:cxn ang="0">
                            <a:pos x="1244" y="2102"/>
                          </a:cxn>
                          <a:cxn ang="0">
                            <a:pos x="1427" y="1736"/>
                          </a:cxn>
                          <a:cxn ang="0">
                            <a:pos x="1711" y="1448"/>
                          </a:cxn>
                          <a:cxn ang="0">
                            <a:pos x="2073" y="1259"/>
                          </a:cxn>
                          <a:cxn ang="0">
                            <a:pos x="2492" y="1192"/>
                          </a:cxn>
                          <a:cxn ang="0">
                            <a:pos x="2878" y="1252"/>
                          </a:cxn>
                          <a:cxn ang="0">
                            <a:pos x="3244" y="1435"/>
                          </a:cxn>
                          <a:cxn ang="0">
                            <a:pos x="3532" y="1719"/>
                          </a:cxn>
                          <a:cxn ang="0">
                            <a:pos x="3721" y="2081"/>
                          </a:cxn>
                          <a:cxn ang="0">
                            <a:pos x="3788" y="2500"/>
                          </a:cxn>
                        </a:cxnLst>
                        <a:rect l="0" t="0" r="r" b="b"/>
                        <a:pathLst>
                          <a:path w="4876" h="4990">
                            <a:moveTo>
                              <a:pt x="4332" y="2502"/>
                            </a:moveTo>
                            <a:lnTo>
                              <a:pt x="4332" y="2502"/>
                            </a:lnTo>
                            <a:lnTo>
                              <a:pt x="4331" y="2455"/>
                            </a:lnTo>
                            <a:lnTo>
                              <a:pt x="4329" y="2412"/>
                            </a:lnTo>
                            <a:lnTo>
                              <a:pt x="4327" y="2373"/>
                            </a:lnTo>
                            <a:lnTo>
                              <a:pt x="4324" y="2340"/>
                            </a:lnTo>
                            <a:lnTo>
                              <a:pt x="4319" y="2291"/>
                            </a:lnTo>
                            <a:lnTo>
                              <a:pt x="4317" y="2273"/>
                            </a:lnTo>
                            <a:lnTo>
                              <a:pt x="4317" y="2273"/>
                            </a:lnTo>
                            <a:lnTo>
                              <a:pt x="4315" y="2258"/>
                            </a:lnTo>
                            <a:lnTo>
                              <a:pt x="4315" y="2243"/>
                            </a:lnTo>
                            <a:lnTo>
                              <a:pt x="4317" y="2228"/>
                            </a:lnTo>
                            <a:lnTo>
                              <a:pt x="4319" y="2213"/>
                            </a:lnTo>
                            <a:lnTo>
                              <a:pt x="4323" y="2199"/>
                            </a:lnTo>
                            <a:lnTo>
                              <a:pt x="4327" y="2184"/>
                            </a:lnTo>
                            <a:lnTo>
                              <a:pt x="4333" y="2170"/>
                            </a:lnTo>
                            <a:lnTo>
                              <a:pt x="4340" y="2156"/>
                            </a:lnTo>
                            <a:lnTo>
                              <a:pt x="4348" y="2142"/>
                            </a:lnTo>
                            <a:lnTo>
                              <a:pt x="4356" y="2130"/>
                            </a:lnTo>
                            <a:lnTo>
                              <a:pt x="4366" y="2117"/>
                            </a:lnTo>
                            <a:lnTo>
                              <a:pt x="4376" y="2106"/>
                            </a:lnTo>
                            <a:lnTo>
                              <a:pt x="4387" y="2096"/>
                            </a:lnTo>
                            <a:lnTo>
                              <a:pt x="4399" y="2087"/>
                            </a:lnTo>
                            <a:lnTo>
                              <a:pt x="4411" y="2078"/>
                            </a:lnTo>
                            <a:lnTo>
                              <a:pt x="4424" y="2071"/>
                            </a:lnTo>
                            <a:lnTo>
                              <a:pt x="4796" y="1894"/>
                            </a:lnTo>
                            <a:lnTo>
                              <a:pt x="4796" y="1894"/>
                            </a:lnTo>
                            <a:lnTo>
                              <a:pt x="4809" y="1887"/>
                            </a:lnTo>
                            <a:lnTo>
                              <a:pt x="4820" y="1879"/>
                            </a:lnTo>
                            <a:lnTo>
                              <a:pt x="4831" y="1870"/>
                            </a:lnTo>
                            <a:lnTo>
                              <a:pt x="4841" y="1860"/>
                            </a:lnTo>
                            <a:lnTo>
                              <a:pt x="4849" y="1849"/>
                            </a:lnTo>
                            <a:lnTo>
                              <a:pt x="4857" y="1838"/>
                            </a:lnTo>
                            <a:lnTo>
                              <a:pt x="4863" y="1826"/>
                            </a:lnTo>
                            <a:lnTo>
                              <a:pt x="4868" y="1813"/>
                            </a:lnTo>
                            <a:lnTo>
                              <a:pt x="4872" y="1800"/>
                            </a:lnTo>
                            <a:lnTo>
                              <a:pt x="4875" y="1787"/>
                            </a:lnTo>
                            <a:lnTo>
                              <a:pt x="4876" y="1773"/>
                            </a:lnTo>
                            <a:lnTo>
                              <a:pt x="4876" y="1759"/>
                            </a:lnTo>
                            <a:lnTo>
                              <a:pt x="4875" y="1746"/>
                            </a:lnTo>
                            <a:lnTo>
                              <a:pt x="4872" y="1732"/>
                            </a:lnTo>
                            <a:lnTo>
                              <a:pt x="4868" y="1718"/>
                            </a:lnTo>
                            <a:lnTo>
                              <a:pt x="4863" y="1705"/>
                            </a:lnTo>
                            <a:lnTo>
                              <a:pt x="4595" y="1142"/>
                            </a:lnTo>
                            <a:lnTo>
                              <a:pt x="4595" y="1142"/>
                            </a:lnTo>
                            <a:lnTo>
                              <a:pt x="4588" y="1130"/>
                            </a:lnTo>
                            <a:lnTo>
                              <a:pt x="4580" y="1118"/>
                            </a:lnTo>
                            <a:lnTo>
                              <a:pt x="4571" y="1107"/>
                            </a:lnTo>
                            <a:lnTo>
                              <a:pt x="4561" y="1097"/>
                            </a:lnTo>
                            <a:lnTo>
                              <a:pt x="4550" y="1089"/>
                            </a:lnTo>
                            <a:lnTo>
                              <a:pt x="4539" y="1081"/>
                            </a:lnTo>
                            <a:lnTo>
                              <a:pt x="4526" y="1075"/>
                            </a:lnTo>
                            <a:lnTo>
                              <a:pt x="4514" y="1070"/>
                            </a:lnTo>
                            <a:lnTo>
                              <a:pt x="4501" y="1066"/>
                            </a:lnTo>
                            <a:lnTo>
                              <a:pt x="4487" y="1063"/>
                            </a:lnTo>
                            <a:lnTo>
                              <a:pt x="4474" y="1062"/>
                            </a:lnTo>
                            <a:lnTo>
                              <a:pt x="4460" y="1062"/>
                            </a:lnTo>
                            <a:lnTo>
                              <a:pt x="4446" y="1063"/>
                            </a:lnTo>
                            <a:lnTo>
                              <a:pt x="4433" y="1066"/>
                            </a:lnTo>
                            <a:lnTo>
                              <a:pt x="4419" y="1070"/>
                            </a:lnTo>
                            <a:lnTo>
                              <a:pt x="4406" y="1075"/>
                            </a:lnTo>
                            <a:lnTo>
                              <a:pt x="4033" y="1253"/>
                            </a:lnTo>
                            <a:lnTo>
                              <a:pt x="4033" y="1253"/>
                            </a:lnTo>
                            <a:lnTo>
                              <a:pt x="4019" y="1259"/>
                            </a:lnTo>
                            <a:lnTo>
                              <a:pt x="4005" y="1264"/>
                            </a:lnTo>
                            <a:lnTo>
                              <a:pt x="3990" y="1267"/>
                            </a:lnTo>
                            <a:lnTo>
                              <a:pt x="3975" y="1269"/>
                            </a:lnTo>
                            <a:lnTo>
                              <a:pt x="3960" y="1271"/>
                            </a:lnTo>
                            <a:lnTo>
                              <a:pt x="3944" y="1271"/>
                            </a:lnTo>
                            <a:lnTo>
                              <a:pt x="3928" y="1270"/>
                            </a:lnTo>
                            <a:lnTo>
                              <a:pt x="3913" y="1267"/>
                            </a:lnTo>
                            <a:lnTo>
                              <a:pt x="3897" y="1264"/>
                            </a:lnTo>
                            <a:lnTo>
                              <a:pt x="3882" y="1260"/>
                            </a:lnTo>
                            <a:lnTo>
                              <a:pt x="3867" y="1255"/>
                            </a:lnTo>
                            <a:lnTo>
                              <a:pt x="3853" y="1249"/>
                            </a:lnTo>
                            <a:lnTo>
                              <a:pt x="3839" y="1242"/>
                            </a:lnTo>
                            <a:lnTo>
                              <a:pt x="3827" y="1234"/>
                            </a:lnTo>
                            <a:lnTo>
                              <a:pt x="3815" y="1225"/>
                            </a:lnTo>
                            <a:lnTo>
                              <a:pt x="3804" y="1215"/>
                            </a:lnTo>
                            <a:lnTo>
                              <a:pt x="3451" y="932"/>
                            </a:lnTo>
                            <a:lnTo>
                              <a:pt x="3451" y="932"/>
                            </a:lnTo>
                            <a:lnTo>
                              <a:pt x="3439" y="924"/>
                            </a:lnTo>
                            <a:lnTo>
                              <a:pt x="3428" y="914"/>
                            </a:lnTo>
                            <a:lnTo>
                              <a:pt x="3417" y="903"/>
                            </a:lnTo>
                            <a:lnTo>
                              <a:pt x="3407" y="891"/>
                            </a:lnTo>
                            <a:lnTo>
                              <a:pt x="3398" y="879"/>
                            </a:lnTo>
                            <a:lnTo>
                              <a:pt x="3390" y="865"/>
                            </a:lnTo>
                            <a:lnTo>
                              <a:pt x="3383" y="852"/>
                            </a:lnTo>
                            <a:lnTo>
                              <a:pt x="3376" y="837"/>
                            </a:lnTo>
                            <a:lnTo>
                              <a:pt x="3371" y="822"/>
                            </a:lnTo>
                            <a:lnTo>
                              <a:pt x="3367" y="807"/>
                            </a:lnTo>
                            <a:lnTo>
                              <a:pt x="3363" y="792"/>
                            </a:lnTo>
                            <a:lnTo>
                              <a:pt x="3361" y="777"/>
                            </a:lnTo>
                            <a:lnTo>
                              <a:pt x="3360" y="761"/>
                            </a:lnTo>
                            <a:lnTo>
                              <a:pt x="3360" y="746"/>
                            </a:lnTo>
                            <a:lnTo>
                              <a:pt x="3362" y="731"/>
                            </a:lnTo>
                            <a:lnTo>
                              <a:pt x="3364" y="717"/>
                            </a:lnTo>
                            <a:lnTo>
                              <a:pt x="3458" y="314"/>
                            </a:lnTo>
                            <a:lnTo>
                              <a:pt x="3458" y="314"/>
                            </a:lnTo>
                            <a:lnTo>
                              <a:pt x="3460" y="300"/>
                            </a:lnTo>
                            <a:lnTo>
                              <a:pt x="3461" y="286"/>
                            </a:lnTo>
                            <a:lnTo>
                              <a:pt x="3461" y="272"/>
                            </a:lnTo>
                            <a:lnTo>
                              <a:pt x="3459" y="258"/>
                            </a:lnTo>
                            <a:lnTo>
                              <a:pt x="3456" y="245"/>
                            </a:lnTo>
                            <a:lnTo>
                              <a:pt x="3452" y="232"/>
                            </a:lnTo>
                            <a:lnTo>
                              <a:pt x="3447" y="219"/>
                            </a:lnTo>
                            <a:lnTo>
                              <a:pt x="3440" y="207"/>
                            </a:lnTo>
                            <a:lnTo>
                              <a:pt x="3432" y="196"/>
                            </a:lnTo>
                            <a:lnTo>
                              <a:pt x="3423" y="186"/>
                            </a:lnTo>
                            <a:lnTo>
                              <a:pt x="3414" y="176"/>
                            </a:lnTo>
                            <a:lnTo>
                              <a:pt x="3403" y="168"/>
                            </a:lnTo>
                            <a:lnTo>
                              <a:pt x="3391" y="160"/>
                            </a:lnTo>
                            <a:lnTo>
                              <a:pt x="3379" y="153"/>
                            </a:lnTo>
                            <a:lnTo>
                              <a:pt x="3366" y="148"/>
                            </a:lnTo>
                            <a:lnTo>
                              <a:pt x="3352" y="144"/>
                            </a:lnTo>
                            <a:lnTo>
                              <a:pt x="2745" y="3"/>
                            </a:lnTo>
                            <a:lnTo>
                              <a:pt x="2745" y="3"/>
                            </a:lnTo>
                            <a:lnTo>
                              <a:pt x="2730" y="1"/>
                            </a:lnTo>
                            <a:lnTo>
                              <a:pt x="2716" y="0"/>
                            </a:lnTo>
                            <a:lnTo>
                              <a:pt x="2702" y="0"/>
                            </a:lnTo>
                            <a:lnTo>
                              <a:pt x="2688" y="2"/>
                            </a:lnTo>
                            <a:lnTo>
                              <a:pt x="2675" y="5"/>
                            </a:lnTo>
                            <a:lnTo>
                              <a:pt x="2662" y="9"/>
                            </a:lnTo>
                            <a:lnTo>
                              <a:pt x="2649" y="15"/>
                            </a:lnTo>
                            <a:lnTo>
                              <a:pt x="2638" y="21"/>
                            </a:lnTo>
                            <a:lnTo>
                              <a:pt x="2626" y="29"/>
                            </a:lnTo>
                            <a:lnTo>
                              <a:pt x="2616" y="38"/>
                            </a:lnTo>
                            <a:lnTo>
                              <a:pt x="2606" y="48"/>
                            </a:lnTo>
                            <a:lnTo>
                              <a:pt x="2598" y="58"/>
                            </a:lnTo>
                            <a:lnTo>
                              <a:pt x="2590" y="70"/>
                            </a:lnTo>
                            <a:lnTo>
                              <a:pt x="2584" y="82"/>
                            </a:lnTo>
                            <a:lnTo>
                              <a:pt x="2578" y="96"/>
                            </a:lnTo>
                            <a:lnTo>
                              <a:pt x="2574" y="110"/>
                            </a:lnTo>
                            <a:lnTo>
                              <a:pt x="2481" y="512"/>
                            </a:lnTo>
                            <a:lnTo>
                              <a:pt x="2481" y="512"/>
                            </a:lnTo>
                            <a:lnTo>
                              <a:pt x="2477" y="526"/>
                            </a:lnTo>
                            <a:lnTo>
                              <a:pt x="2472" y="540"/>
                            </a:lnTo>
                            <a:lnTo>
                              <a:pt x="2465" y="554"/>
                            </a:lnTo>
                            <a:lnTo>
                              <a:pt x="2457" y="567"/>
                            </a:lnTo>
                            <a:lnTo>
                              <a:pt x="2448" y="580"/>
                            </a:lnTo>
                            <a:lnTo>
                              <a:pt x="2438" y="592"/>
                            </a:lnTo>
                            <a:lnTo>
                              <a:pt x="2428" y="604"/>
                            </a:lnTo>
                            <a:lnTo>
                              <a:pt x="2416" y="615"/>
                            </a:lnTo>
                            <a:lnTo>
                              <a:pt x="2404" y="625"/>
                            </a:lnTo>
                            <a:lnTo>
                              <a:pt x="2392" y="634"/>
                            </a:lnTo>
                            <a:lnTo>
                              <a:pt x="2378" y="643"/>
                            </a:lnTo>
                            <a:lnTo>
                              <a:pt x="2365" y="650"/>
                            </a:lnTo>
                            <a:lnTo>
                              <a:pt x="2351" y="656"/>
                            </a:lnTo>
                            <a:lnTo>
                              <a:pt x="2336" y="661"/>
                            </a:lnTo>
                            <a:lnTo>
                              <a:pt x="2322" y="665"/>
                            </a:lnTo>
                            <a:lnTo>
                              <a:pt x="2308" y="668"/>
                            </a:lnTo>
                            <a:lnTo>
                              <a:pt x="1866" y="766"/>
                            </a:lnTo>
                            <a:lnTo>
                              <a:pt x="1866" y="766"/>
                            </a:lnTo>
                            <a:lnTo>
                              <a:pt x="1852" y="770"/>
                            </a:lnTo>
                            <a:lnTo>
                              <a:pt x="1837" y="772"/>
                            </a:lnTo>
                            <a:lnTo>
                              <a:pt x="1822" y="774"/>
                            </a:lnTo>
                            <a:lnTo>
                              <a:pt x="1807" y="774"/>
                            </a:lnTo>
                            <a:lnTo>
                              <a:pt x="1792" y="774"/>
                            </a:lnTo>
                            <a:lnTo>
                              <a:pt x="1776" y="772"/>
                            </a:lnTo>
                            <a:lnTo>
                              <a:pt x="1761" y="769"/>
                            </a:lnTo>
                            <a:lnTo>
                              <a:pt x="1745" y="765"/>
                            </a:lnTo>
                            <a:lnTo>
                              <a:pt x="1730" y="760"/>
                            </a:lnTo>
                            <a:lnTo>
                              <a:pt x="1716" y="754"/>
                            </a:lnTo>
                            <a:lnTo>
                              <a:pt x="1702" y="747"/>
                            </a:lnTo>
                            <a:lnTo>
                              <a:pt x="1689" y="739"/>
                            </a:lnTo>
                            <a:lnTo>
                              <a:pt x="1676" y="730"/>
                            </a:lnTo>
                            <a:lnTo>
                              <a:pt x="1664" y="721"/>
                            </a:lnTo>
                            <a:lnTo>
                              <a:pt x="1654" y="711"/>
                            </a:lnTo>
                            <a:lnTo>
                              <a:pt x="1644" y="700"/>
                            </a:lnTo>
                            <a:lnTo>
                              <a:pt x="1387" y="375"/>
                            </a:lnTo>
                            <a:lnTo>
                              <a:pt x="1387" y="375"/>
                            </a:lnTo>
                            <a:lnTo>
                              <a:pt x="1378" y="365"/>
                            </a:lnTo>
                            <a:lnTo>
                              <a:pt x="1368" y="355"/>
                            </a:lnTo>
                            <a:lnTo>
                              <a:pt x="1356" y="346"/>
                            </a:lnTo>
                            <a:lnTo>
                              <a:pt x="1345" y="339"/>
                            </a:lnTo>
                            <a:lnTo>
                              <a:pt x="1332" y="333"/>
                            </a:lnTo>
                            <a:lnTo>
                              <a:pt x="1319" y="328"/>
                            </a:lnTo>
                            <a:lnTo>
                              <a:pt x="1306" y="325"/>
                            </a:lnTo>
                            <a:lnTo>
                              <a:pt x="1293" y="323"/>
                            </a:lnTo>
                            <a:lnTo>
                              <a:pt x="1279" y="322"/>
                            </a:lnTo>
                            <a:lnTo>
                              <a:pt x="1265" y="322"/>
                            </a:lnTo>
                            <a:lnTo>
                              <a:pt x="1252" y="324"/>
                            </a:lnTo>
                            <a:lnTo>
                              <a:pt x="1238" y="327"/>
                            </a:lnTo>
                            <a:lnTo>
                              <a:pt x="1225" y="331"/>
                            </a:lnTo>
                            <a:lnTo>
                              <a:pt x="1213" y="337"/>
                            </a:lnTo>
                            <a:lnTo>
                              <a:pt x="1200" y="344"/>
                            </a:lnTo>
                            <a:lnTo>
                              <a:pt x="1188" y="352"/>
                            </a:lnTo>
                            <a:lnTo>
                              <a:pt x="700" y="739"/>
                            </a:lnTo>
                            <a:lnTo>
                              <a:pt x="700" y="739"/>
                            </a:lnTo>
                            <a:lnTo>
                              <a:pt x="689" y="748"/>
                            </a:lnTo>
                            <a:lnTo>
                              <a:pt x="679" y="759"/>
                            </a:lnTo>
                            <a:lnTo>
                              <a:pt x="671" y="770"/>
                            </a:lnTo>
                            <a:lnTo>
                              <a:pt x="664" y="782"/>
                            </a:lnTo>
                            <a:lnTo>
                              <a:pt x="658" y="794"/>
                            </a:lnTo>
                            <a:lnTo>
                              <a:pt x="653" y="807"/>
                            </a:lnTo>
                            <a:lnTo>
                              <a:pt x="649" y="820"/>
                            </a:lnTo>
                            <a:lnTo>
                              <a:pt x="647" y="834"/>
                            </a:lnTo>
                            <a:lnTo>
                              <a:pt x="646" y="847"/>
                            </a:lnTo>
                            <a:lnTo>
                              <a:pt x="647" y="861"/>
                            </a:lnTo>
                            <a:lnTo>
                              <a:pt x="648" y="874"/>
                            </a:lnTo>
                            <a:lnTo>
                              <a:pt x="651" y="888"/>
                            </a:lnTo>
                            <a:lnTo>
                              <a:pt x="656" y="901"/>
                            </a:lnTo>
                            <a:lnTo>
                              <a:pt x="661" y="914"/>
                            </a:lnTo>
                            <a:lnTo>
                              <a:pt x="668" y="926"/>
                            </a:lnTo>
                            <a:lnTo>
                              <a:pt x="677" y="938"/>
                            </a:lnTo>
                            <a:lnTo>
                              <a:pt x="933" y="1262"/>
                            </a:lnTo>
                            <a:lnTo>
                              <a:pt x="933" y="1262"/>
                            </a:lnTo>
                            <a:lnTo>
                              <a:pt x="942" y="1274"/>
                            </a:lnTo>
                            <a:lnTo>
                              <a:pt x="950" y="1287"/>
                            </a:lnTo>
                            <a:lnTo>
                              <a:pt x="956" y="1301"/>
                            </a:lnTo>
                            <a:lnTo>
                              <a:pt x="962" y="1315"/>
                            </a:lnTo>
                            <a:lnTo>
                              <a:pt x="966" y="1330"/>
                            </a:lnTo>
                            <a:lnTo>
                              <a:pt x="970" y="1345"/>
                            </a:lnTo>
                            <a:lnTo>
                              <a:pt x="972" y="1361"/>
                            </a:lnTo>
                            <a:lnTo>
                              <a:pt x="974" y="1376"/>
                            </a:lnTo>
                            <a:lnTo>
                              <a:pt x="974" y="1392"/>
                            </a:lnTo>
                            <a:lnTo>
                              <a:pt x="973" y="1408"/>
                            </a:lnTo>
                            <a:lnTo>
                              <a:pt x="971" y="1423"/>
                            </a:lnTo>
                            <a:lnTo>
                              <a:pt x="969" y="1438"/>
                            </a:lnTo>
                            <a:lnTo>
                              <a:pt x="965" y="1453"/>
                            </a:lnTo>
                            <a:lnTo>
                              <a:pt x="960" y="1467"/>
                            </a:lnTo>
                            <a:lnTo>
                              <a:pt x="954" y="1481"/>
                            </a:lnTo>
                            <a:lnTo>
                              <a:pt x="947" y="1494"/>
                            </a:lnTo>
                            <a:lnTo>
                              <a:pt x="749" y="1901"/>
                            </a:lnTo>
                            <a:lnTo>
                              <a:pt x="749" y="1901"/>
                            </a:lnTo>
                            <a:lnTo>
                              <a:pt x="744" y="1914"/>
                            </a:lnTo>
                            <a:lnTo>
                              <a:pt x="737" y="1927"/>
                            </a:lnTo>
                            <a:lnTo>
                              <a:pt x="728" y="1940"/>
                            </a:lnTo>
                            <a:lnTo>
                              <a:pt x="719" y="1952"/>
                            </a:lnTo>
                            <a:lnTo>
                              <a:pt x="709" y="1964"/>
                            </a:lnTo>
                            <a:lnTo>
                              <a:pt x="698" y="1975"/>
                            </a:lnTo>
                            <a:lnTo>
                              <a:pt x="686" y="1985"/>
                            </a:lnTo>
                            <a:lnTo>
                              <a:pt x="673" y="1994"/>
                            </a:lnTo>
                            <a:lnTo>
                              <a:pt x="660" y="2003"/>
                            </a:lnTo>
                            <a:lnTo>
                              <a:pt x="646" y="2010"/>
                            </a:lnTo>
                            <a:lnTo>
                              <a:pt x="632" y="2017"/>
                            </a:lnTo>
                            <a:lnTo>
                              <a:pt x="617" y="2023"/>
                            </a:lnTo>
                            <a:lnTo>
                              <a:pt x="603" y="2027"/>
                            </a:lnTo>
                            <a:lnTo>
                              <a:pt x="588" y="2030"/>
                            </a:lnTo>
                            <a:lnTo>
                              <a:pt x="573" y="2032"/>
                            </a:lnTo>
                            <a:lnTo>
                              <a:pt x="558" y="2033"/>
                            </a:lnTo>
                            <a:lnTo>
                              <a:pt x="145" y="2031"/>
                            </a:lnTo>
                            <a:lnTo>
                              <a:pt x="145" y="2031"/>
                            </a:lnTo>
                            <a:lnTo>
                              <a:pt x="130" y="2032"/>
                            </a:lnTo>
                            <a:lnTo>
                              <a:pt x="116" y="2034"/>
                            </a:lnTo>
                            <a:lnTo>
                              <a:pt x="103" y="2037"/>
                            </a:lnTo>
                            <a:lnTo>
                              <a:pt x="90" y="2042"/>
                            </a:lnTo>
                            <a:lnTo>
                              <a:pt x="77" y="2048"/>
                            </a:lnTo>
                            <a:lnTo>
                              <a:pt x="65" y="2055"/>
                            </a:lnTo>
                            <a:lnTo>
                              <a:pt x="55" y="2063"/>
                            </a:lnTo>
                            <a:lnTo>
                              <a:pt x="44" y="2072"/>
                            </a:lnTo>
                            <a:lnTo>
                              <a:pt x="35" y="2083"/>
                            </a:lnTo>
                            <a:lnTo>
                              <a:pt x="27" y="2093"/>
                            </a:lnTo>
                            <a:lnTo>
                              <a:pt x="20" y="2105"/>
                            </a:lnTo>
                            <a:lnTo>
                              <a:pt x="14" y="2117"/>
                            </a:lnTo>
                            <a:lnTo>
                              <a:pt x="9" y="2130"/>
                            </a:lnTo>
                            <a:lnTo>
                              <a:pt x="5" y="2144"/>
                            </a:lnTo>
                            <a:lnTo>
                              <a:pt x="3" y="2158"/>
                            </a:lnTo>
                            <a:lnTo>
                              <a:pt x="2" y="2172"/>
                            </a:lnTo>
                            <a:lnTo>
                              <a:pt x="0" y="2797"/>
                            </a:lnTo>
                            <a:lnTo>
                              <a:pt x="0" y="2797"/>
                            </a:lnTo>
                            <a:lnTo>
                              <a:pt x="1" y="2811"/>
                            </a:lnTo>
                            <a:lnTo>
                              <a:pt x="3" y="2825"/>
                            </a:lnTo>
                            <a:lnTo>
                              <a:pt x="6" y="2839"/>
                            </a:lnTo>
                            <a:lnTo>
                              <a:pt x="11" y="2852"/>
                            </a:lnTo>
                            <a:lnTo>
                              <a:pt x="17" y="2864"/>
                            </a:lnTo>
                            <a:lnTo>
                              <a:pt x="24" y="2876"/>
                            </a:lnTo>
                            <a:lnTo>
                              <a:pt x="32" y="2887"/>
                            </a:lnTo>
                            <a:lnTo>
                              <a:pt x="41" y="2897"/>
                            </a:lnTo>
                            <a:lnTo>
                              <a:pt x="51" y="2906"/>
                            </a:lnTo>
                            <a:lnTo>
                              <a:pt x="62" y="2914"/>
                            </a:lnTo>
                            <a:lnTo>
                              <a:pt x="74" y="2921"/>
                            </a:lnTo>
                            <a:lnTo>
                              <a:pt x="86" y="2927"/>
                            </a:lnTo>
                            <a:lnTo>
                              <a:pt x="99" y="2932"/>
                            </a:lnTo>
                            <a:lnTo>
                              <a:pt x="113" y="2936"/>
                            </a:lnTo>
                            <a:lnTo>
                              <a:pt x="127" y="2938"/>
                            </a:lnTo>
                            <a:lnTo>
                              <a:pt x="141" y="2939"/>
                            </a:lnTo>
                            <a:lnTo>
                              <a:pt x="555" y="2941"/>
                            </a:lnTo>
                            <a:lnTo>
                              <a:pt x="555" y="2941"/>
                            </a:lnTo>
                            <a:lnTo>
                              <a:pt x="570" y="2941"/>
                            </a:lnTo>
                            <a:lnTo>
                              <a:pt x="584" y="2944"/>
                            </a:lnTo>
                            <a:lnTo>
                              <a:pt x="599" y="2947"/>
                            </a:lnTo>
                            <a:lnTo>
                              <a:pt x="614" y="2951"/>
                            </a:lnTo>
                            <a:lnTo>
                              <a:pt x="628" y="2957"/>
                            </a:lnTo>
                            <a:lnTo>
                              <a:pt x="642" y="2964"/>
                            </a:lnTo>
                            <a:lnTo>
                              <a:pt x="656" y="2972"/>
                            </a:lnTo>
                            <a:lnTo>
                              <a:pt x="669" y="2980"/>
                            </a:lnTo>
                            <a:lnTo>
                              <a:pt x="682" y="2990"/>
                            </a:lnTo>
                            <a:lnTo>
                              <a:pt x="694" y="3000"/>
                            </a:lnTo>
                            <a:lnTo>
                              <a:pt x="705" y="3011"/>
                            </a:lnTo>
                            <a:lnTo>
                              <a:pt x="715" y="3023"/>
                            </a:lnTo>
                            <a:lnTo>
                              <a:pt x="724" y="3035"/>
                            </a:lnTo>
                            <a:lnTo>
                              <a:pt x="732" y="3048"/>
                            </a:lnTo>
                            <a:lnTo>
                              <a:pt x="739" y="3061"/>
                            </a:lnTo>
                            <a:lnTo>
                              <a:pt x="745" y="3075"/>
                            </a:lnTo>
                            <a:lnTo>
                              <a:pt x="939" y="3482"/>
                            </a:lnTo>
                            <a:lnTo>
                              <a:pt x="939" y="3482"/>
                            </a:lnTo>
                            <a:lnTo>
                              <a:pt x="946" y="3495"/>
                            </a:lnTo>
                            <a:lnTo>
                              <a:pt x="952" y="3509"/>
                            </a:lnTo>
                            <a:lnTo>
                              <a:pt x="956" y="3523"/>
                            </a:lnTo>
                            <a:lnTo>
                              <a:pt x="960" y="3538"/>
                            </a:lnTo>
                            <a:lnTo>
                              <a:pt x="963" y="3553"/>
                            </a:lnTo>
                            <a:lnTo>
                              <a:pt x="964" y="3569"/>
                            </a:lnTo>
                            <a:lnTo>
                              <a:pt x="965" y="3585"/>
                            </a:lnTo>
                            <a:lnTo>
                              <a:pt x="965" y="3600"/>
                            </a:lnTo>
                            <a:lnTo>
                              <a:pt x="963" y="3616"/>
                            </a:lnTo>
                            <a:lnTo>
                              <a:pt x="960" y="3632"/>
                            </a:lnTo>
                            <a:lnTo>
                              <a:pt x="957" y="3647"/>
                            </a:lnTo>
                            <a:lnTo>
                              <a:pt x="952" y="3661"/>
                            </a:lnTo>
                            <a:lnTo>
                              <a:pt x="947" y="3676"/>
                            </a:lnTo>
                            <a:lnTo>
                              <a:pt x="940" y="3689"/>
                            </a:lnTo>
                            <a:lnTo>
                              <a:pt x="932" y="3702"/>
                            </a:lnTo>
                            <a:lnTo>
                              <a:pt x="924" y="3714"/>
                            </a:lnTo>
                            <a:lnTo>
                              <a:pt x="664" y="4036"/>
                            </a:lnTo>
                            <a:lnTo>
                              <a:pt x="664" y="4036"/>
                            </a:lnTo>
                            <a:lnTo>
                              <a:pt x="656" y="4048"/>
                            </a:lnTo>
                            <a:lnTo>
                              <a:pt x="649" y="4060"/>
                            </a:lnTo>
                            <a:lnTo>
                              <a:pt x="643" y="4073"/>
                            </a:lnTo>
                            <a:lnTo>
                              <a:pt x="639" y="4086"/>
                            </a:lnTo>
                            <a:lnTo>
                              <a:pt x="636" y="4100"/>
                            </a:lnTo>
                            <a:lnTo>
                              <a:pt x="634" y="4113"/>
                            </a:lnTo>
                            <a:lnTo>
                              <a:pt x="633" y="4127"/>
                            </a:lnTo>
                            <a:lnTo>
                              <a:pt x="634" y="4141"/>
                            </a:lnTo>
                            <a:lnTo>
                              <a:pt x="636" y="4154"/>
                            </a:lnTo>
                            <a:lnTo>
                              <a:pt x="640" y="4167"/>
                            </a:lnTo>
                            <a:lnTo>
                              <a:pt x="644" y="4180"/>
                            </a:lnTo>
                            <a:lnTo>
                              <a:pt x="650" y="4192"/>
                            </a:lnTo>
                            <a:lnTo>
                              <a:pt x="657" y="4204"/>
                            </a:lnTo>
                            <a:lnTo>
                              <a:pt x="666" y="4216"/>
                            </a:lnTo>
                            <a:lnTo>
                              <a:pt x="675" y="4226"/>
                            </a:lnTo>
                            <a:lnTo>
                              <a:pt x="686" y="4236"/>
                            </a:lnTo>
                            <a:lnTo>
                              <a:pt x="1172" y="4626"/>
                            </a:lnTo>
                            <a:lnTo>
                              <a:pt x="1172" y="4626"/>
                            </a:lnTo>
                            <a:lnTo>
                              <a:pt x="1183" y="4634"/>
                            </a:lnTo>
                            <a:lnTo>
                              <a:pt x="1196" y="4642"/>
                            </a:lnTo>
                            <a:lnTo>
                              <a:pt x="1208" y="4647"/>
                            </a:lnTo>
                            <a:lnTo>
                              <a:pt x="1221" y="4652"/>
                            </a:lnTo>
                            <a:lnTo>
                              <a:pt x="1235" y="4655"/>
                            </a:lnTo>
                            <a:lnTo>
                              <a:pt x="1248" y="4657"/>
                            </a:lnTo>
                            <a:lnTo>
                              <a:pt x="1262" y="4657"/>
                            </a:lnTo>
                            <a:lnTo>
                              <a:pt x="1276" y="4656"/>
                            </a:lnTo>
                            <a:lnTo>
                              <a:pt x="1289" y="4654"/>
                            </a:lnTo>
                            <a:lnTo>
                              <a:pt x="1302" y="4651"/>
                            </a:lnTo>
                            <a:lnTo>
                              <a:pt x="1315" y="4646"/>
                            </a:lnTo>
                            <a:lnTo>
                              <a:pt x="1328" y="4640"/>
                            </a:lnTo>
                            <a:lnTo>
                              <a:pt x="1339" y="4633"/>
                            </a:lnTo>
                            <a:lnTo>
                              <a:pt x="1351" y="4625"/>
                            </a:lnTo>
                            <a:lnTo>
                              <a:pt x="1361" y="4615"/>
                            </a:lnTo>
                            <a:lnTo>
                              <a:pt x="1371" y="4604"/>
                            </a:lnTo>
                            <a:lnTo>
                              <a:pt x="1630" y="4283"/>
                            </a:lnTo>
                            <a:lnTo>
                              <a:pt x="1630" y="4283"/>
                            </a:lnTo>
                            <a:lnTo>
                              <a:pt x="1639" y="4272"/>
                            </a:lnTo>
                            <a:lnTo>
                              <a:pt x="1650" y="4262"/>
                            </a:lnTo>
                            <a:lnTo>
                              <a:pt x="1662" y="4252"/>
                            </a:lnTo>
                            <a:lnTo>
                              <a:pt x="1675" y="4244"/>
                            </a:lnTo>
                            <a:lnTo>
                              <a:pt x="1688" y="4236"/>
                            </a:lnTo>
                            <a:lnTo>
                              <a:pt x="1702" y="4229"/>
                            </a:lnTo>
                            <a:lnTo>
                              <a:pt x="1717" y="4223"/>
                            </a:lnTo>
                            <a:lnTo>
                              <a:pt x="1732" y="4219"/>
                            </a:lnTo>
                            <a:lnTo>
                              <a:pt x="1747" y="4215"/>
                            </a:lnTo>
                            <a:lnTo>
                              <a:pt x="1762" y="4212"/>
                            </a:lnTo>
                            <a:lnTo>
                              <a:pt x="1778" y="4210"/>
                            </a:lnTo>
                            <a:lnTo>
                              <a:pt x="1793" y="4210"/>
                            </a:lnTo>
                            <a:lnTo>
                              <a:pt x="1809" y="4210"/>
                            </a:lnTo>
                            <a:lnTo>
                              <a:pt x="1824" y="4212"/>
                            </a:lnTo>
                            <a:lnTo>
                              <a:pt x="1838" y="4215"/>
                            </a:lnTo>
                            <a:lnTo>
                              <a:pt x="1852" y="4219"/>
                            </a:lnTo>
                            <a:lnTo>
                              <a:pt x="2295" y="4319"/>
                            </a:lnTo>
                            <a:lnTo>
                              <a:pt x="2295" y="4319"/>
                            </a:lnTo>
                            <a:lnTo>
                              <a:pt x="2309" y="4322"/>
                            </a:lnTo>
                            <a:lnTo>
                              <a:pt x="2324" y="4326"/>
                            </a:lnTo>
                            <a:lnTo>
                              <a:pt x="2338" y="4331"/>
                            </a:lnTo>
                            <a:lnTo>
                              <a:pt x="2352" y="4337"/>
                            </a:lnTo>
                            <a:lnTo>
                              <a:pt x="2366" y="4345"/>
                            </a:lnTo>
                            <a:lnTo>
                              <a:pt x="2379" y="4353"/>
                            </a:lnTo>
                            <a:lnTo>
                              <a:pt x="2391" y="4363"/>
                            </a:lnTo>
                            <a:lnTo>
                              <a:pt x="2403" y="4373"/>
                            </a:lnTo>
                            <a:lnTo>
                              <a:pt x="2415" y="4384"/>
                            </a:lnTo>
                            <a:lnTo>
                              <a:pt x="2425" y="4396"/>
                            </a:lnTo>
                            <a:lnTo>
                              <a:pt x="2435" y="4408"/>
                            </a:lnTo>
                            <a:lnTo>
                              <a:pt x="2443" y="4421"/>
                            </a:lnTo>
                            <a:lnTo>
                              <a:pt x="2451" y="4434"/>
                            </a:lnTo>
                            <a:lnTo>
                              <a:pt x="2457" y="4448"/>
                            </a:lnTo>
                            <a:lnTo>
                              <a:pt x="2464" y="4462"/>
                            </a:lnTo>
                            <a:lnTo>
                              <a:pt x="2468" y="4476"/>
                            </a:lnTo>
                            <a:lnTo>
                              <a:pt x="2558" y="4880"/>
                            </a:lnTo>
                            <a:lnTo>
                              <a:pt x="2558" y="4880"/>
                            </a:lnTo>
                            <a:lnTo>
                              <a:pt x="2562" y="4894"/>
                            </a:lnTo>
                            <a:lnTo>
                              <a:pt x="2567" y="4907"/>
                            </a:lnTo>
                            <a:lnTo>
                              <a:pt x="2574" y="4919"/>
                            </a:lnTo>
                            <a:lnTo>
                              <a:pt x="2581" y="4931"/>
                            </a:lnTo>
                            <a:lnTo>
                              <a:pt x="2590" y="4942"/>
                            </a:lnTo>
                            <a:lnTo>
                              <a:pt x="2600" y="4952"/>
                            </a:lnTo>
                            <a:lnTo>
                              <a:pt x="2610" y="4960"/>
                            </a:lnTo>
                            <a:lnTo>
                              <a:pt x="2621" y="4968"/>
                            </a:lnTo>
                            <a:lnTo>
                              <a:pt x="2633" y="4975"/>
                            </a:lnTo>
                            <a:lnTo>
                              <a:pt x="2645" y="4981"/>
                            </a:lnTo>
                            <a:lnTo>
                              <a:pt x="2658" y="4985"/>
                            </a:lnTo>
                            <a:lnTo>
                              <a:pt x="2672" y="4988"/>
                            </a:lnTo>
                            <a:lnTo>
                              <a:pt x="2685" y="4990"/>
                            </a:lnTo>
                            <a:lnTo>
                              <a:pt x="2699" y="4990"/>
                            </a:lnTo>
                            <a:lnTo>
                              <a:pt x="2714" y="4989"/>
                            </a:lnTo>
                            <a:lnTo>
                              <a:pt x="2728" y="4987"/>
                            </a:lnTo>
                            <a:lnTo>
                              <a:pt x="3336" y="4850"/>
                            </a:lnTo>
                            <a:lnTo>
                              <a:pt x="3336" y="4850"/>
                            </a:lnTo>
                            <a:lnTo>
                              <a:pt x="3350" y="4846"/>
                            </a:lnTo>
                            <a:lnTo>
                              <a:pt x="3363" y="4841"/>
                            </a:lnTo>
                            <a:lnTo>
                              <a:pt x="3376" y="4835"/>
                            </a:lnTo>
                            <a:lnTo>
                              <a:pt x="3387" y="4827"/>
                            </a:lnTo>
                            <a:lnTo>
                              <a:pt x="3398" y="4819"/>
                            </a:lnTo>
                            <a:lnTo>
                              <a:pt x="3408" y="4809"/>
                            </a:lnTo>
                            <a:lnTo>
                              <a:pt x="3417" y="4799"/>
                            </a:lnTo>
                            <a:lnTo>
                              <a:pt x="3425" y="4787"/>
                            </a:lnTo>
                            <a:lnTo>
                              <a:pt x="3431" y="4776"/>
                            </a:lnTo>
                            <a:lnTo>
                              <a:pt x="3437" y="4763"/>
                            </a:lnTo>
                            <a:lnTo>
                              <a:pt x="3441" y="4750"/>
                            </a:lnTo>
                            <a:lnTo>
                              <a:pt x="3444" y="4737"/>
                            </a:lnTo>
                            <a:lnTo>
                              <a:pt x="3446" y="4723"/>
                            </a:lnTo>
                            <a:lnTo>
                              <a:pt x="3447" y="4709"/>
                            </a:lnTo>
                            <a:lnTo>
                              <a:pt x="3446" y="4695"/>
                            </a:lnTo>
                            <a:lnTo>
                              <a:pt x="3443" y="4681"/>
                            </a:lnTo>
                            <a:lnTo>
                              <a:pt x="3352" y="4278"/>
                            </a:lnTo>
                            <a:lnTo>
                              <a:pt x="3352" y="4278"/>
                            </a:lnTo>
                            <a:lnTo>
                              <a:pt x="3350" y="4263"/>
                            </a:lnTo>
                            <a:lnTo>
                              <a:pt x="3349" y="4248"/>
                            </a:lnTo>
                            <a:lnTo>
                              <a:pt x="3349" y="4233"/>
                            </a:lnTo>
                            <a:lnTo>
                              <a:pt x="3350" y="4218"/>
                            </a:lnTo>
                            <a:lnTo>
                              <a:pt x="3352" y="4203"/>
                            </a:lnTo>
                            <a:lnTo>
                              <a:pt x="3356" y="4187"/>
                            </a:lnTo>
                            <a:lnTo>
                              <a:pt x="3360" y="4172"/>
                            </a:lnTo>
                            <a:lnTo>
                              <a:pt x="3366" y="4158"/>
                            </a:lnTo>
                            <a:lnTo>
                              <a:pt x="3372" y="4143"/>
                            </a:lnTo>
                            <a:lnTo>
                              <a:pt x="3379" y="4129"/>
                            </a:lnTo>
                            <a:lnTo>
                              <a:pt x="3388" y="4116"/>
                            </a:lnTo>
                            <a:lnTo>
                              <a:pt x="3397" y="4103"/>
                            </a:lnTo>
                            <a:lnTo>
                              <a:pt x="3407" y="4092"/>
                            </a:lnTo>
                            <a:lnTo>
                              <a:pt x="3417" y="4081"/>
                            </a:lnTo>
                            <a:lnTo>
                              <a:pt x="3429" y="4071"/>
                            </a:lnTo>
                            <a:lnTo>
                              <a:pt x="3441" y="4063"/>
                            </a:lnTo>
                            <a:lnTo>
                              <a:pt x="3795" y="3783"/>
                            </a:lnTo>
                            <a:lnTo>
                              <a:pt x="3795" y="3783"/>
                            </a:lnTo>
                            <a:lnTo>
                              <a:pt x="3806" y="3773"/>
                            </a:lnTo>
                            <a:lnTo>
                              <a:pt x="3818" y="3764"/>
                            </a:lnTo>
                            <a:lnTo>
                              <a:pt x="3831" y="3756"/>
                            </a:lnTo>
                            <a:lnTo>
                              <a:pt x="3845" y="3749"/>
                            </a:lnTo>
                            <a:lnTo>
                              <a:pt x="3859" y="3743"/>
                            </a:lnTo>
                            <a:lnTo>
                              <a:pt x="3874" y="3738"/>
                            </a:lnTo>
                            <a:lnTo>
                              <a:pt x="3889" y="3734"/>
                            </a:lnTo>
                            <a:lnTo>
                              <a:pt x="3905" y="3731"/>
                            </a:lnTo>
                            <a:lnTo>
                              <a:pt x="3920" y="3729"/>
                            </a:lnTo>
                            <a:lnTo>
                              <a:pt x="3936" y="3728"/>
                            </a:lnTo>
                            <a:lnTo>
                              <a:pt x="3952" y="3728"/>
                            </a:lnTo>
                            <a:lnTo>
                              <a:pt x="3967" y="3730"/>
                            </a:lnTo>
                            <a:lnTo>
                              <a:pt x="3982" y="3732"/>
                            </a:lnTo>
                            <a:lnTo>
                              <a:pt x="3997" y="3735"/>
                            </a:lnTo>
                            <a:lnTo>
                              <a:pt x="4011" y="3740"/>
                            </a:lnTo>
                            <a:lnTo>
                              <a:pt x="4024" y="3746"/>
                            </a:lnTo>
                            <a:lnTo>
                              <a:pt x="4396" y="3926"/>
                            </a:lnTo>
                            <a:lnTo>
                              <a:pt x="4396" y="3926"/>
                            </a:lnTo>
                            <a:lnTo>
                              <a:pt x="4409" y="3932"/>
                            </a:lnTo>
                            <a:lnTo>
                              <a:pt x="4423" y="3936"/>
                            </a:lnTo>
                            <a:lnTo>
                              <a:pt x="4436" y="3939"/>
                            </a:lnTo>
                            <a:lnTo>
                              <a:pt x="4450" y="3940"/>
                            </a:lnTo>
                            <a:lnTo>
                              <a:pt x="4464" y="3940"/>
                            </a:lnTo>
                            <a:lnTo>
                              <a:pt x="4477" y="3939"/>
                            </a:lnTo>
                            <a:lnTo>
                              <a:pt x="4491" y="3936"/>
                            </a:lnTo>
                            <a:lnTo>
                              <a:pt x="4504" y="3932"/>
                            </a:lnTo>
                            <a:lnTo>
                              <a:pt x="4516" y="3927"/>
                            </a:lnTo>
                            <a:lnTo>
                              <a:pt x="4529" y="3921"/>
                            </a:lnTo>
                            <a:lnTo>
                              <a:pt x="4540" y="3914"/>
                            </a:lnTo>
                            <a:lnTo>
                              <a:pt x="4551" y="3905"/>
                            </a:lnTo>
                            <a:lnTo>
                              <a:pt x="4561" y="3896"/>
                            </a:lnTo>
                            <a:lnTo>
                              <a:pt x="4570" y="3885"/>
                            </a:lnTo>
                            <a:lnTo>
                              <a:pt x="4578" y="3873"/>
                            </a:lnTo>
                            <a:lnTo>
                              <a:pt x="4585" y="3860"/>
                            </a:lnTo>
                            <a:lnTo>
                              <a:pt x="4857" y="3300"/>
                            </a:lnTo>
                            <a:lnTo>
                              <a:pt x="4857" y="3300"/>
                            </a:lnTo>
                            <a:lnTo>
                              <a:pt x="4863" y="3286"/>
                            </a:lnTo>
                            <a:lnTo>
                              <a:pt x="4867" y="3273"/>
                            </a:lnTo>
                            <a:lnTo>
                              <a:pt x="4870" y="3259"/>
                            </a:lnTo>
                            <a:lnTo>
                              <a:pt x="4871" y="3245"/>
                            </a:lnTo>
                            <a:lnTo>
                              <a:pt x="4872" y="3231"/>
                            </a:lnTo>
                            <a:lnTo>
                              <a:pt x="4870" y="3218"/>
                            </a:lnTo>
                            <a:lnTo>
                              <a:pt x="4868" y="3204"/>
                            </a:lnTo>
                            <a:lnTo>
                              <a:pt x="4864" y="3191"/>
                            </a:lnTo>
                            <a:lnTo>
                              <a:pt x="4859" y="3179"/>
                            </a:lnTo>
                            <a:lnTo>
                              <a:pt x="4853" y="3167"/>
                            </a:lnTo>
                            <a:lnTo>
                              <a:pt x="4845" y="3155"/>
                            </a:lnTo>
                            <a:lnTo>
                              <a:pt x="4837" y="3144"/>
                            </a:lnTo>
                            <a:lnTo>
                              <a:pt x="4827" y="3134"/>
                            </a:lnTo>
                            <a:lnTo>
                              <a:pt x="4816" y="3125"/>
                            </a:lnTo>
                            <a:lnTo>
                              <a:pt x="4805" y="3117"/>
                            </a:lnTo>
                            <a:lnTo>
                              <a:pt x="4792" y="3110"/>
                            </a:lnTo>
                            <a:lnTo>
                              <a:pt x="4421" y="2930"/>
                            </a:lnTo>
                            <a:lnTo>
                              <a:pt x="4421" y="2930"/>
                            </a:lnTo>
                            <a:lnTo>
                              <a:pt x="4408" y="2923"/>
                            </a:lnTo>
                            <a:lnTo>
                              <a:pt x="4396" y="2915"/>
                            </a:lnTo>
                            <a:lnTo>
                              <a:pt x="4384" y="2905"/>
                            </a:lnTo>
                            <a:lnTo>
                              <a:pt x="4373" y="2895"/>
                            </a:lnTo>
                            <a:lnTo>
                              <a:pt x="4363" y="2884"/>
                            </a:lnTo>
                            <a:lnTo>
                              <a:pt x="4354" y="2872"/>
                            </a:lnTo>
                            <a:lnTo>
                              <a:pt x="4345" y="2859"/>
                            </a:lnTo>
                            <a:lnTo>
                              <a:pt x="4338" y="2845"/>
                            </a:lnTo>
                            <a:lnTo>
                              <a:pt x="4331" y="2831"/>
                            </a:lnTo>
                            <a:lnTo>
                              <a:pt x="4325" y="2817"/>
                            </a:lnTo>
                            <a:lnTo>
                              <a:pt x="4321" y="2802"/>
                            </a:lnTo>
                            <a:lnTo>
                              <a:pt x="4317" y="2787"/>
                            </a:lnTo>
                            <a:lnTo>
                              <a:pt x="4315" y="2772"/>
                            </a:lnTo>
                            <a:lnTo>
                              <a:pt x="4314" y="2758"/>
                            </a:lnTo>
                            <a:lnTo>
                              <a:pt x="4314" y="2743"/>
                            </a:lnTo>
                            <a:lnTo>
                              <a:pt x="4316" y="2728"/>
                            </a:lnTo>
                            <a:lnTo>
                              <a:pt x="4316" y="2728"/>
                            </a:lnTo>
                            <a:lnTo>
                              <a:pt x="4318" y="2710"/>
                            </a:lnTo>
                            <a:lnTo>
                              <a:pt x="4323" y="2662"/>
                            </a:lnTo>
                            <a:lnTo>
                              <a:pt x="4326" y="2629"/>
                            </a:lnTo>
                            <a:lnTo>
                              <a:pt x="4329" y="2590"/>
                            </a:lnTo>
                            <a:lnTo>
                              <a:pt x="4331" y="2548"/>
                            </a:lnTo>
                            <a:lnTo>
                              <a:pt x="4332" y="2502"/>
                            </a:lnTo>
                            <a:lnTo>
                              <a:pt x="4332" y="2502"/>
                            </a:lnTo>
                            <a:close/>
                            <a:moveTo>
                              <a:pt x="3788" y="2500"/>
                            </a:moveTo>
                            <a:lnTo>
                              <a:pt x="3788" y="2500"/>
                            </a:lnTo>
                            <a:lnTo>
                              <a:pt x="3787" y="2533"/>
                            </a:lnTo>
                            <a:lnTo>
                              <a:pt x="3786" y="2567"/>
                            </a:lnTo>
                            <a:lnTo>
                              <a:pt x="3784" y="2600"/>
                            </a:lnTo>
                            <a:lnTo>
                              <a:pt x="3780" y="2633"/>
                            </a:lnTo>
                            <a:lnTo>
                              <a:pt x="3777" y="2666"/>
                            </a:lnTo>
                            <a:lnTo>
                              <a:pt x="3772" y="2698"/>
                            </a:lnTo>
                            <a:lnTo>
                              <a:pt x="3767" y="2730"/>
                            </a:lnTo>
                            <a:lnTo>
                              <a:pt x="3760" y="2762"/>
                            </a:lnTo>
                            <a:lnTo>
                              <a:pt x="3753" y="2794"/>
                            </a:lnTo>
                            <a:lnTo>
                              <a:pt x="3746" y="2825"/>
                            </a:lnTo>
                            <a:lnTo>
                              <a:pt x="3737" y="2856"/>
                            </a:lnTo>
                            <a:lnTo>
                              <a:pt x="3728" y="2887"/>
                            </a:lnTo>
                            <a:lnTo>
                              <a:pt x="3718" y="2917"/>
                            </a:lnTo>
                            <a:lnTo>
                              <a:pt x="3707" y="2947"/>
                            </a:lnTo>
                            <a:lnTo>
                              <a:pt x="3696" y="2977"/>
                            </a:lnTo>
                            <a:lnTo>
                              <a:pt x="3684" y="3006"/>
                            </a:lnTo>
                            <a:lnTo>
                              <a:pt x="3671" y="3035"/>
                            </a:lnTo>
                            <a:lnTo>
                              <a:pt x="3657" y="3064"/>
                            </a:lnTo>
                            <a:lnTo>
                              <a:pt x="3643" y="3092"/>
                            </a:lnTo>
                            <a:lnTo>
                              <a:pt x="3628" y="3120"/>
                            </a:lnTo>
                            <a:lnTo>
                              <a:pt x="3613" y="3147"/>
                            </a:lnTo>
                            <a:lnTo>
                              <a:pt x="3597" y="3174"/>
                            </a:lnTo>
                            <a:lnTo>
                              <a:pt x="3580" y="3201"/>
                            </a:lnTo>
                            <a:lnTo>
                              <a:pt x="3563" y="3227"/>
                            </a:lnTo>
                            <a:lnTo>
                              <a:pt x="3545" y="3252"/>
                            </a:lnTo>
                            <a:lnTo>
                              <a:pt x="3526" y="3278"/>
                            </a:lnTo>
                            <a:lnTo>
                              <a:pt x="3507" y="3302"/>
                            </a:lnTo>
                            <a:lnTo>
                              <a:pt x="3487" y="3327"/>
                            </a:lnTo>
                            <a:lnTo>
                              <a:pt x="3467" y="3350"/>
                            </a:lnTo>
                            <a:lnTo>
                              <a:pt x="3446" y="3374"/>
                            </a:lnTo>
                            <a:lnTo>
                              <a:pt x="3425" y="3396"/>
                            </a:lnTo>
                            <a:lnTo>
                              <a:pt x="3403" y="3419"/>
                            </a:lnTo>
                            <a:lnTo>
                              <a:pt x="3381" y="3440"/>
                            </a:lnTo>
                            <a:lnTo>
                              <a:pt x="3358" y="3462"/>
                            </a:lnTo>
                            <a:lnTo>
                              <a:pt x="3334" y="3482"/>
                            </a:lnTo>
                            <a:lnTo>
                              <a:pt x="3310" y="3502"/>
                            </a:lnTo>
                            <a:lnTo>
                              <a:pt x="3286" y="3522"/>
                            </a:lnTo>
                            <a:lnTo>
                              <a:pt x="3261" y="3541"/>
                            </a:lnTo>
                            <a:lnTo>
                              <a:pt x="3236" y="3559"/>
                            </a:lnTo>
                            <a:lnTo>
                              <a:pt x="3210" y="3577"/>
                            </a:lnTo>
                            <a:lnTo>
                              <a:pt x="3184" y="3594"/>
                            </a:lnTo>
                            <a:lnTo>
                              <a:pt x="3157" y="3611"/>
                            </a:lnTo>
                            <a:lnTo>
                              <a:pt x="3130" y="3626"/>
                            </a:lnTo>
                            <a:lnTo>
                              <a:pt x="3102" y="3642"/>
                            </a:lnTo>
                            <a:lnTo>
                              <a:pt x="3074" y="3656"/>
                            </a:lnTo>
                            <a:lnTo>
                              <a:pt x="3046" y="3670"/>
                            </a:lnTo>
                            <a:lnTo>
                              <a:pt x="3017" y="3683"/>
                            </a:lnTo>
                            <a:lnTo>
                              <a:pt x="2988" y="3696"/>
                            </a:lnTo>
                            <a:lnTo>
                              <a:pt x="2959" y="3708"/>
                            </a:lnTo>
                            <a:lnTo>
                              <a:pt x="2929" y="3719"/>
                            </a:lnTo>
                            <a:lnTo>
                              <a:pt x="2899" y="3730"/>
                            </a:lnTo>
                            <a:lnTo>
                              <a:pt x="2868" y="3739"/>
                            </a:lnTo>
                            <a:lnTo>
                              <a:pt x="2838" y="3748"/>
                            </a:lnTo>
                            <a:lnTo>
                              <a:pt x="2807" y="3757"/>
                            </a:lnTo>
                            <a:lnTo>
                              <a:pt x="2775" y="3764"/>
                            </a:lnTo>
                            <a:lnTo>
                              <a:pt x="2744" y="3771"/>
                            </a:lnTo>
                            <a:lnTo>
                              <a:pt x="2712" y="3777"/>
                            </a:lnTo>
                            <a:lnTo>
                              <a:pt x="2679" y="3782"/>
                            </a:lnTo>
                            <a:lnTo>
                              <a:pt x="2647" y="3787"/>
                            </a:lnTo>
                            <a:lnTo>
                              <a:pt x="2614" y="3790"/>
                            </a:lnTo>
                            <a:lnTo>
                              <a:pt x="2581" y="3793"/>
                            </a:lnTo>
                            <a:lnTo>
                              <a:pt x="2548" y="3795"/>
                            </a:lnTo>
                            <a:lnTo>
                              <a:pt x="2515" y="3796"/>
                            </a:lnTo>
                            <a:lnTo>
                              <a:pt x="2481" y="3796"/>
                            </a:lnTo>
                            <a:lnTo>
                              <a:pt x="2481" y="3796"/>
                            </a:lnTo>
                            <a:lnTo>
                              <a:pt x="2446" y="3796"/>
                            </a:lnTo>
                            <a:lnTo>
                              <a:pt x="2413" y="3794"/>
                            </a:lnTo>
                            <a:lnTo>
                              <a:pt x="2380" y="3792"/>
                            </a:lnTo>
                            <a:lnTo>
                              <a:pt x="2347" y="3789"/>
                            </a:lnTo>
                            <a:lnTo>
                              <a:pt x="2314" y="3785"/>
                            </a:lnTo>
                            <a:lnTo>
                              <a:pt x="2282" y="3781"/>
                            </a:lnTo>
                            <a:lnTo>
                              <a:pt x="2250" y="3775"/>
                            </a:lnTo>
                            <a:lnTo>
                              <a:pt x="2218" y="3769"/>
                            </a:lnTo>
                            <a:lnTo>
                              <a:pt x="2186" y="3762"/>
                            </a:lnTo>
                            <a:lnTo>
                              <a:pt x="2155" y="3754"/>
                            </a:lnTo>
                            <a:lnTo>
                              <a:pt x="2124" y="3746"/>
                            </a:lnTo>
                            <a:lnTo>
                              <a:pt x="2093" y="3736"/>
                            </a:lnTo>
                            <a:lnTo>
                              <a:pt x="2063" y="3726"/>
                            </a:lnTo>
                            <a:lnTo>
                              <a:pt x="2033" y="3716"/>
                            </a:lnTo>
                            <a:lnTo>
                              <a:pt x="2003" y="3704"/>
                            </a:lnTo>
                            <a:lnTo>
                              <a:pt x="1974" y="3692"/>
                            </a:lnTo>
                            <a:lnTo>
                              <a:pt x="1945" y="3679"/>
                            </a:lnTo>
                            <a:lnTo>
                              <a:pt x="1916" y="3666"/>
                            </a:lnTo>
                            <a:lnTo>
                              <a:pt x="1888" y="3652"/>
                            </a:lnTo>
                            <a:lnTo>
                              <a:pt x="1860" y="3637"/>
                            </a:lnTo>
                            <a:lnTo>
                              <a:pt x="1833" y="3621"/>
                            </a:lnTo>
                            <a:lnTo>
                              <a:pt x="1806" y="3605"/>
                            </a:lnTo>
                            <a:lnTo>
                              <a:pt x="1779" y="3589"/>
                            </a:lnTo>
                            <a:lnTo>
                              <a:pt x="1753" y="3571"/>
                            </a:lnTo>
                            <a:lnTo>
                              <a:pt x="1728" y="3553"/>
                            </a:lnTo>
                            <a:lnTo>
                              <a:pt x="1702" y="3535"/>
                            </a:lnTo>
                            <a:lnTo>
                              <a:pt x="1678" y="3516"/>
                            </a:lnTo>
                            <a:lnTo>
                              <a:pt x="1653" y="3496"/>
                            </a:lnTo>
                            <a:lnTo>
                              <a:pt x="1630" y="3476"/>
                            </a:lnTo>
                            <a:lnTo>
                              <a:pt x="1606" y="3455"/>
                            </a:lnTo>
                            <a:lnTo>
                              <a:pt x="1584" y="3433"/>
                            </a:lnTo>
                            <a:lnTo>
                              <a:pt x="1561" y="3412"/>
                            </a:lnTo>
                            <a:lnTo>
                              <a:pt x="1540" y="3389"/>
                            </a:lnTo>
                            <a:lnTo>
                              <a:pt x="1518" y="3366"/>
                            </a:lnTo>
                            <a:lnTo>
                              <a:pt x="1498" y="3343"/>
                            </a:lnTo>
                            <a:lnTo>
                              <a:pt x="1478" y="3319"/>
                            </a:lnTo>
                            <a:lnTo>
                              <a:pt x="1458" y="3294"/>
                            </a:lnTo>
                            <a:lnTo>
                              <a:pt x="1439" y="3269"/>
                            </a:lnTo>
                            <a:lnTo>
                              <a:pt x="1421" y="3244"/>
                            </a:lnTo>
                            <a:lnTo>
                              <a:pt x="1403" y="3218"/>
                            </a:lnTo>
                            <a:lnTo>
                              <a:pt x="1386" y="3192"/>
                            </a:lnTo>
                            <a:lnTo>
                              <a:pt x="1370" y="3165"/>
                            </a:lnTo>
                            <a:lnTo>
                              <a:pt x="1354" y="3138"/>
                            </a:lnTo>
                            <a:lnTo>
                              <a:pt x="1338" y="3111"/>
                            </a:lnTo>
                            <a:lnTo>
                              <a:pt x="1324" y="3083"/>
                            </a:lnTo>
                            <a:lnTo>
                              <a:pt x="1310" y="3054"/>
                            </a:lnTo>
                            <a:lnTo>
                              <a:pt x="1297" y="3026"/>
                            </a:lnTo>
                            <a:lnTo>
                              <a:pt x="1284" y="2997"/>
                            </a:lnTo>
                            <a:lnTo>
                              <a:pt x="1272" y="2967"/>
                            </a:lnTo>
                            <a:lnTo>
                              <a:pt x="1261" y="2937"/>
                            </a:lnTo>
                            <a:lnTo>
                              <a:pt x="1250" y="2907"/>
                            </a:lnTo>
                            <a:lnTo>
                              <a:pt x="1241" y="2877"/>
                            </a:lnTo>
                            <a:lnTo>
                              <a:pt x="1232" y="2846"/>
                            </a:lnTo>
                            <a:lnTo>
                              <a:pt x="1223" y="2815"/>
                            </a:lnTo>
                            <a:lnTo>
                              <a:pt x="1216" y="2784"/>
                            </a:lnTo>
                            <a:lnTo>
                              <a:pt x="1209" y="2752"/>
                            </a:lnTo>
                            <a:lnTo>
                              <a:pt x="1203" y="2720"/>
                            </a:lnTo>
                            <a:lnTo>
                              <a:pt x="1198" y="2688"/>
                            </a:lnTo>
                            <a:lnTo>
                              <a:pt x="1194" y="2655"/>
                            </a:lnTo>
                            <a:lnTo>
                              <a:pt x="1190" y="2623"/>
                            </a:lnTo>
                            <a:lnTo>
                              <a:pt x="1187" y="2590"/>
                            </a:lnTo>
                            <a:lnTo>
                              <a:pt x="1185" y="2557"/>
                            </a:lnTo>
                            <a:lnTo>
                              <a:pt x="1184" y="2523"/>
                            </a:lnTo>
                            <a:lnTo>
                              <a:pt x="1184" y="2490"/>
                            </a:lnTo>
                            <a:lnTo>
                              <a:pt x="1184" y="2490"/>
                            </a:lnTo>
                            <a:lnTo>
                              <a:pt x="1184" y="2455"/>
                            </a:lnTo>
                            <a:lnTo>
                              <a:pt x="1186" y="2422"/>
                            </a:lnTo>
                            <a:lnTo>
                              <a:pt x="1188" y="2388"/>
                            </a:lnTo>
                            <a:lnTo>
                              <a:pt x="1191" y="2356"/>
                            </a:lnTo>
                            <a:lnTo>
                              <a:pt x="1195" y="2323"/>
                            </a:lnTo>
                            <a:lnTo>
                              <a:pt x="1199" y="2290"/>
                            </a:lnTo>
                            <a:lnTo>
                              <a:pt x="1205" y="2258"/>
                            </a:lnTo>
                            <a:lnTo>
                              <a:pt x="1211" y="2226"/>
                            </a:lnTo>
                            <a:lnTo>
                              <a:pt x="1218" y="2195"/>
                            </a:lnTo>
                            <a:lnTo>
                              <a:pt x="1226" y="2163"/>
                            </a:lnTo>
                            <a:lnTo>
                              <a:pt x="1234" y="2132"/>
                            </a:lnTo>
                            <a:lnTo>
                              <a:pt x="1244" y="2102"/>
                            </a:lnTo>
                            <a:lnTo>
                              <a:pt x="1254" y="2071"/>
                            </a:lnTo>
                            <a:lnTo>
                              <a:pt x="1264" y="2041"/>
                            </a:lnTo>
                            <a:lnTo>
                              <a:pt x="1276" y="2012"/>
                            </a:lnTo>
                            <a:lnTo>
                              <a:pt x="1288" y="1982"/>
                            </a:lnTo>
                            <a:lnTo>
                              <a:pt x="1301" y="1953"/>
                            </a:lnTo>
                            <a:lnTo>
                              <a:pt x="1314" y="1925"/>
                            </a:lnTo>
                            <a:lnTo>
                              <a:pt x="1328" y="1897"/>
                            </a:lnTo>
                            <a:lnTo>
                              <a:pt x="1343" y="1869"/>
                            </a:lnTo>
                            <a:lnTo>
                              <a:pt x="1359" y="1841"/>
                            </a:lnTo>
                            <a:lnTo>
                              <a:pt x="1375" y="1814"/>
                            </a:lnTo>
                            <a:lnTo>
                              <a:pt x="1391" y="1788"/>
                            </a:lnTo>
                            <a:lnTo>
                              <a:pt x="1409" y="1762"/>
                            </a:lnTo>
                            <a:lnTo>
                              <a:pt x="1427" y="1736"/>
                            </a:lnTo>
                            <a:lnTo>
                              <a:pt x="1445" y="1711"/>
                            </a:lnTo>
                            <a:lnTo>
                              <a:pt x="1464" y="1686"/>
                            </a:lnTo>
                            <a:lnTo>
                              <a:pt x="1484" y="1662"/>
                            </a:lnTo>
                            <a:lnTo>
                              <a:pt x="1504" y="1638"/>
                            </a:lnTo>
                            <a:lnTo>
                              <a:pt x="1525" y="1615"/>
                            </a:lnTo>
                            <a:lnTo>
                              <a:pt x="1547" y="1592"/>
                            </a:lnTo>
                            <a:lnTo>
                              <a:pt x="1569" y="1570"/>
                            </a:lnTo>
                            <a:lnTo>
                              <a:pt x="1591" y="1548"/>
                            </a:lnTo>
                            <a:lnTo>
                              <a:pt x="1614" y="1527"/>
                            </a:lnTo>
                            <a:lnTo>
                              <a:pt x="1637" y="1506"/>
                            </a:lnTo>
                            <a:lnTo>
                              <a:pt x="1661" y="1486"/>
                            </a:lnTo>
                            <a:lnTo>
                              <a:pt x="1686" y="1467"/>
                            </a:lnTo>
                            <a:lnTo>
                              <a:pt x="1711" y="1448"/>
                            </a:lnTo>
                            <a:lnTo>
                              <a:pt x="1736" y="1429"/>
                            </a:lnTo>
                            <a:lnTo>
                              <a:pt x="1762" y="1412"/>
                            </a:lnTo>
                            <a:lnTo>
                              <a:pt x="1788" y="1395"/>
                            </a:lnTo>
                            <a:lnTo>
                              <a:pt x="1815" y="1378"/>
                            </a:lnTo>
                            <a:lnTo>
                              <a:pt x="1842" y="1362"/>
                            </a:lnTo>
                            <a:lnTo>
                              <a:pt x="1869" y="1347"/>
                            </a:lnTo>
                            <a:lnTo>
                              <a:pt x="1897" y="1332"/>
                            </a:lnTo>
                            <a:lnTo>
                              <a:pt x="1926" y="1318"/>
                            </a:lnTo>
                            <a:lnTo>
                              <a:pt x="1954" y="1305"/>
                            </a:lnTo>
                            <a:lnTo>
                              <a:pt x="1983" y="1293"/>
                            </a:lnTo>
                            <a:lnTo>
                              <a:pt x="2013" y="1281"/>
                            </a:lnTo>
                            <a:lnTo>
                              <a:pt x="2043" y="1270"/>
                            </a:lnTo>
                            <a:lnTo>
                              <a:pt x="2073" y="1259"/>
                            </a:lnTo>
                            <a:lnTo>
                              <a:pt x="2103" y="1249"/>
                            </a:lnTo>
                            <a:lnTo>
                              <a:pt x="2134" y="1240"/>
                            </a:lnTo>
                            <a:lnTo>
                              <a:pt x="2165" y="1232"/>
                            </a:lnTo>
                            <a:lnTo>
                              <a:pt x="2196" y="1225"/>
                            </a:lnTo>
                            <a:lnTo>
                              <a:pt x="2228" y="1218"/>
                            </a:lnTo>
                            <a:lnTo>
                              <a:pt x="2260" y="1212"/>
                            </a:lnTo>
                            <a:lnTo>
                              <a:pt x="2292" y="1207"/>
                            </a:lnTo>
                            <a:lnTo>
                              <a:pt x="2325" y="1202"/>
                            </a:lnTo>
                            <a:lnTo>
                              <a:pt x="2357" y="1199"/>
                            </a:lnTo>
                            <a:lnTo>
                              <a:pt x="2390" y="1196"/>
                            </a:lnTo>
                            <a:lnTo>
                              <a:pt x="2424" y="1194"/>
                            </a:lnTo>
                            <a:lnTo>
                              <a:pt x="2457" y="1193"/>
                            </a:lnTo>
                            <a:lnTo>
                              <a:pt x="2492" y="1192"/>
                            </a:lnTo>
                            <a:lnTo>
                              <a:pt x="2492" y="1192"/>
                            </a:lnTo>
                            <a:lnTo>
                              <a:pt x="2525" y="1193"/>
                            </a:lnTo>
                            <a:lnTo>
                              <a:pt x="2558" y="1194"/>
                            </a:lnTo>
                            <a:lnTo>
                              <a:pt x="2592" y="1197"/>
                            </a:lnTo>
                            <a:lnTo>
                              <a:pt x="2625" y="1200"/>
                            </a:lnTo>
                            <a:lnTo>
                              <a:pt x="2657" y="1204"/>
                            </a:lnTo>
                            <a:lnTo>
                              <a:pt x="2690" y="1208"/>
                            </a:lnTo>
                            <a:lnTo>
                              <a:pt x="2722" y="1214"/>
                            </a:lnTo>
                            <a:lnTo>
                              <a:pt x="2754" y="1220"/>
                            </a:lnTo>
                            <a:lnTo>
                              <a:pt x="2785" y="1227"/>
                            </a:lnTo>
                            <a:lnTo>
                              <a:pt x="2817" y="1235"/>
                            </a:lnTo>
                            <a:lnTo>
                              <a:pt x="2848" y="1243"/>
                            </a:lnTo>
                            <a:lnTo>
                              <a:pt x="2878" y="1252"/>
                            </a:lnTo>
                            <a:lnTo>
                              <a:pt x="2909" y="1262"/>
                            </a:lnTo>
                            <a:lnTo>
                              <a:pt x="2939" y="1273"/>
                            </a:lnTo>
                            <a:lnTo>
                              <a:pt x="2968" y="1285"/>
                            </a:lnTo>
                            <a:lnTo>
                              <a:pt x="2998" y="1297"/>
                            </a:lnTo>
                            <a:lnTo>
                              <a:pt x="3027" y="1309"/>
                            </a:lnTo>
                            <a:lnTo>
                              <a:pt x="3055" y="1323"/>
                            </a:lnTo>
                            <a:lnTo>
                              <a:pt x="3083" y="1337"/>
                            </a:lnTo>
                            <a:lnTo>
                              <a:pt x="3111" y="1352"/>
                            </a:lnTo>
                            <a:lnTo>
                              <a:pt x="3139" y="1367"/>
                            </a:lnTo>
                            <a:lnTo>
                              <a:pt x="3166" y="1383"/>
                            </a:lnTo>
                            <a:lnTo>
                              <a:pt x="3192" y="1400"/>
                            </a:lnTo>
                            <a:lnTo>
                              <a:pt x="3218" y="1418"/>
                            </a:lnTo>
                            <a:lnTo>
                              <a:pt x="3244" y="1435"/>
                            </a:lnTo>
                            <a:lnTo>
                              <a:pt x="3269" y="1454"/>
                            </a:lnTo>
                            <a:lnTo>
                              <a:pt x="3294" y="1473"/>
                            </a:lnTo>
                            <a:lnTo>
                              <a:pt x="3318" y="1493"/>
                            </a:lnTo>
                            <a:lnTo>
                              <a:pt x="3342" y="1513"/>
                            </a:lnTo>
                            <a:lnTo>
                              <a:pt x="3365" y="1534"/>
                            </a:lnTo>
                            <a:lnTo>
                              <a:pt x="3388" y="1555"/>
                            </a:lnTo>
                            <a:lnTo>
                              <a:pt x="3410" y="1577"/>
                            </a:lnTo>
                            <a:lnTo>
                              <a:pt x="3432" y="1600"/>
                            </a:lnTo>
                            <a:lnTo>
                              <a:pt x="3453" y="1623"/>
                            </a:lnTo>
                            <a:lnTo>
                              <a:pt x="3474" y="1646"/>
                            </a:lnTo>
                            <a:lnTo>
                              <a:pt x="3494" y="1670"/>
                            </a:lnTo>
                            <a:lnTo>
                              <a:pt x="3513" y="1694"/>
                            </a:lnTo>
                            <a:lnTo>
                              <a:pt x="3532" y="1719"/>
                            </a:lnTo>
                            <a:lnTo>
                              <a:pt x="3551" y="1745"/>
                            </a:lnTo>
                            <a:lnTo>
                              <a:pt x="3568" y="1770"/>
                            </a:lnTo>
                            <a:lnTo>
                              <a:pt x="3585" y="1797"/>
                            </a:lnTo>
                            <a:lnTo>
                              <a:pt x="3602" y="1823"/>
                            </a:lnTo>
                            <a:lnTo>
                              <a:pt x="3618" y="1850"/>
                            </a:lnTo>
                            <a:lnTo>
                              <a:pt x="3633" y="1878"/>
                            </a:lnTo>
                            <a:lnTo>
                              <a:pt x="3648" y="1906"/>
                            </a:lnTo>
                            <a:lnTo>
                              <a:pt x="3662" y="1934"/>
                            </a:lnTo>
                            <a:lnTo>
                              <a:pt x="3675" y="1963"/>
                            </a:lnTo>
                            <a:lnTo>
                              <a:pt x="3687" y="1992"/>
                            </a:lnTo>
                            <a:lnTo>
                              <a:pt x="3699" y="2021"/>
                            </a:lnTo>
                            <a:lnTo>
                              <a:pt x="3711" y="2051"/>
                            </a:lnTo>
                            <a:lnTo>
                              <a:pt x="3721" y="2081"/>
                            </a:lnTo>
                            <a:lnTo>
                              <a:pt x="3731" y="2112"/>
                            </a:lnTo>
                            <a:lnTo>
                              <a:pt x="3740" y="2142"/>
                            </a:lnTo>
                            <a:lnTo>
                              <a:pt x="3748" y="2173"/>
                            </a:lnTo>
                            <a:lnTo>
                              <a:pt x="3756" y="2205"/>
                            </a:lnTo>
                            <a:lnTo>
                              <a:pt x="3762" y="2236"/>
                            </a:lnTo>
                            <a:lnTo>
                              <a:pt x="3768" y="2268"/>
                            </a:lnTo>
                            <a:lnTo>
                              <a:pt x="3773" y="2301"/>
                            </a:lnTo>
                            <a:lnTo>
                              <a:pt x="3778" y="2333"/>
                            </a:lnTo>
                            <a:lnTo>
                              <a:pt x="3781" y="2366"/>
                            </a:lnTo>
                            <a:lnTo>
                              <a:pt x="3784" y="2399"/>
                            </a:lnTo>
                            <a:lnTo>
                              <a:pt x="3786" y="2432"/>
                            </a:lnTo>
                            <a:lnTo>
                              <a:pt x="3787" y="2466"/>
                            </a:lnTo>
                            <a:lnTo>
                              <a:pt x="3788" y="2500"/>
                            </a:lnTo>
                            <a:lnTo>
                              <a:pt x="3788" y="2500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</p:grpSp>
                <p:grpSp>
                  <p:nvGrpSpPr>
                    <p:cNvPr id="306" name="SAGD, Siemens, healthineers, evolve">
                      <a:extLst>
                        <a:ext uri="{FF2B5EF4-FFF2-40B4-BE49-F238E27FC236}">
                          <a16:creationId xmlns:a16="http://schemas.microsoft.com/office/drawing/2014/main" id="{125D0DC2-874E-4299-8165-D1AD924C36A8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gray">
                    <a:xfrm>
                      <a:off x="959326" y="4863990"/>
                      <a:ext cx="361963" cy="362730"/>
                      <a:chOff x="1188" y="1252"/>
                      <a:chExt cx="2268" cy="2268"/>
                    </a:xfrm>
                  </p:grpSpPr>
                  <p:sp>
                    <p:nvSpPr>
                      <p:cNvPr id="312" name="AutoShape 4">
                        <a:extLst>
                          <a:ext uri="{FF2B5EF4-FFF2-40B4-BE49-F238E27FC236}">
                            <a16:creationId xmlns:a16="http://schemas.microsoft.com/office/drawing/2014/main" id="{3656BCEE-689B-4B75-91B9-EA30D9FC7337}"/>
                          </a:ext>
                        </a:extLst>
                      </p:cNvPr>
                      <p:cNvSpPr>
                        <a:spLocks noChangeAspect="1" noChangeArrowheads="1" noTextEdit="1"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313" name="Freeform 6">
                        <a:extLst>
                          <a:ext uri="{FF2B5EF4-FFF2-40B4-BE49-F238E27FC236}">
                            <a16:creationId xmlns:a16="http://schemas.microsoft.com/office/drawing/2014/main" id="{E99D2974-1148-42C6-A790-421424D15458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  <a:close/>
                          </a:path>
                        </a:pathLst>
                      </a:custGeom>
                      <a:solidFill>
                        <a:srgbClr val="EC6602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314" name="Freeform 7">
                        <a:extLst>
                          <a:ext uri="{FF2B5EF4-FFF2-40B4-BE49-F238E27FC236}">
                            <a16:creationId xmlns:a16="http://schemas.microsoft.com/office/drawing/2014/main" id="{51A06981-A0A5-48C0-83B8-92A8483EC845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</a:path>
                        </a:pathLst>
                      </a:custGeom>
                      <a:solidFill>
                        <a:schemeClr val="accent5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315" name="Freeform 8">
                        <a:extLst>
                          <a:ext uri="{FF2B5EF4-FFF2-40B4-BE49-F238E27FC236}">
                            <a16:creationId xmlns:a16="http://schemas.microsoft.com/office/drawing/2014/main" id="{E2BBFCB1-9BE4-4B1B-9E59-0B5588F50811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gray">
                      <a:xfrm>
                        <a:off x="1510" y="1566"/>
                        <a:ext cx="1615" cy="165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319" y="2213"/>
                          </a:cxn>
                          <a:cxn ang="0">
                            <a:pos x="4796" y="1894"/>
                          </a:cxn>
                          <a:cxn ang="0">
                            <a:pos x="4876" y="1759"/>
                          </a:cxn>
                          <a:cxn ang="0">
                            <a:pos x="4526" y="1075"/>
                          </a:cxn>
                          <a:cxn ang="0">
                            <a:pos x="4005" y="1264"/>
                          </a:cxn>
                          <a:cxn ang="0">
                            <a:pos x="3815" y="1225"/>
                          </a:cxn>
                          <a:cxn ang="0">
                            <a:pos x="3367" y="807"/>
                          </a:cxn>
                          <a:cxn ang="0">
                            <a:pos x="3456" y="245"/>
                          </a:cxn>
                          <a:cxn ang="0">
                            <a:pos x="2745" y="3"/>
                          </a:cxn>
                          <a:cxn ang="0">
                            <a:pos x="2590" y="70"/>
                          </a:cxn>
                          <a:cxn ang="0">
                            <a:pos x="2416" y="615"/>
                          </a:cxn>
                          <a:cxn ang="0">
                            <a:pos x="1822" y="774"/>
                          </a:cxn>
                          <a:cxn ang="0">
                            <a:pos x="1644" y="700"/>
                          </a:cxn>
                          <a:cxn ang="0">
                            <a:pos x="1252" y="324"/>
                          </a:cxn>
                          <a:cxn ang="0">
                            <a:pos x="653" y="807"/>
                          </a:cxn>
                          <a:cxn ang="0">
                            <a:pos x="942" y="1274"/>
                          </a:cxn>
                          <a:cxn ang="0">
                            <a:pos x="960" y="1467"/>
                          </a:cxn>
                          <a:cxn ang="0">
                            <a:pos x="660" y="2003"/>
                          </a:cxn>
                          <a:cxn ang="0">
                            <a:pos x="90" y="2042"/>
                          </a:cxn>
                          <a:cxn ang="0">
                            <a:pos x="0" y="2797"/>
                          </a:cxn>
                          <a:cxn ang="0">
                            <a:pos x="86" y="2927"/>
                          </a:cxn>
                          <a:cxn ang="0">
                            <a:pos x="656" y="2972"/>
                          </a:cxn>
                          <a:cxn ang="0">
                            <a:pos x="952" y="3509"/>
                          </a:cxn>
                          <a:cxn ang="0">
                            <a:pos x="932" y="3702"/>
                          </a:cxn>
                          <a:cxn ang="0">
                            <a:pos x="640" y="4167"/>
                          </a:cxn>
                          <a:cxn ang="0">
                            <a:pos x="1235" y="4655"/>
                          </a:cxn>
                          <a:cxn ang="0">
                            <a:pos x="1630" y="4283"/>
                          </a:cxn>
                          <a:cxn ang="0">
                            <a:pos x="1809" y="4210"/>
                          </a:cxn>
                          <a:cxn ang="0">
                            <a:pos x="2403" y="4373"/>
                          </a:cxn>
                          <a:cxn ang="0">
                            <a:pos x="2574" y="4919"/>
                          </a:cxn>
                          <a:cxn ang="0">
                            <a:pos x="2728" y="4987"/>
                          </a:cxn>
                          <a:cxn ang="0">
                            <a:pos x="3441" y="4750"/>
                          </a:cxn>
                          <a:cxn ang="0">
                            <a:pos x="3356" y="4187"/>
                          </a:cxn>
                          <a:cxn ang="0">
                            <a:pos x="3806" y="3773"/>
                          </a:cxn>
                          <a:cxn ang="0">
                            <a:pos x="3997" y="3735"/>
                          </a:cxn>
                          <a:cxn ang="0">
                            <a:pos x="4516" y="3927"/>
                          </a:cxn>
                          <a:cxn ang="0">
                            <a:pos x="4871" y="3245"/>
                          </a:cxn>
                          <a:cxn ang="0">
                            <a:pos x="4421" y="2930"/>
                          </a:cxn>
                          <a:cxn ang="0">
                            <a:pos x="4317" y="2787"/>
                          </a:cxn>
                          <a:cxn ang="0">
                            <a:pos x="3788" y="2500"/>
                          </a:cxn>
                          <a:cxn ang="0">
                            <a:pos x="3728" y="2887"/>
                          </a:cxn>
                          <a:cxn ang="0">
                            <a:pos x="3545" y="3252"/>
                          </a:cxn>
                          <a:cxn ang="0">
                            <a:pos x="3261" y="3541"/>
                          </a:cxn>
                          <a:cxn ang="0">
                            <a:pos x="2899" y="3730"/>
                          </a:cxn>
                          <a:cxn ang="0">
                            <a:pos x="2481" y="3796"/>
                          </a:cxn>
                          <a:cxn ang="0">
                            <a:pos x="2093" y="3736"/>
                          </a:cxn>
                          <a:cxn ang="0">
                            <a:pos x="1728" y="3553"/>
                          </a:cxn>
                          <a:cxn ang="0">
                            <a:pos x="1439" y="3269"/>
                          </a:cxn>
                          <a:cxn ang="0">
                            <a:pos x="1250" y="2907"/>
                          </a:cxn>
                          <a:cxn ang="0">
                            <a:pos x="1184" y="2490"/>
                          </a:cxn>
                          <a:cxn ang="0">
                            <a:pos x="1244" y="2102"/>
                          </a:cxn>
                          <a:cxn ang="0">
                            <a:pos x="1427" y="1736"/>
                          </a:cxn>
                          <a:cxn ang="0">
                            <a:pos x="1711" y="1448"/>
                          </a:cxn>
                          <a:cxn ang="0">
                            <a:pos x="2073" y="1259"/>
                          </a:cxn>
                          <a:cxn ang="0">
                            <a:pos x="2492" y="1192"/>
                          </a:cxn>
                          <a:cxn ang="0">
                            <a:pos x="2878" y="1252"/>
                          </a:cxn>
                          <a:cxn ang="0">
                            <a:pos x="3244" y="1435"/>
                          </a:cxn>
                          <a:cxn ang="0">
                            <a:pos x="3532" y="1719"/>
                          </a:cxn>
                          <a:cxn ang="0">
                            <a:pos x="3721" y="2081"/>
                          </a:cxn>
                          <a:cxn ang="0">
                            <a:pos x="3788" y="2500"/>
                          </a:cxn>
                        </a:cxnLst>
                        <a:rect l="0" t="0" r="r" b="b"/>
                        <a:pathLst>
                          <a:path w="4876" h="4990">
                            <a:moveTo>
                              <a:pt x="4332" y="2502"/>
                            </a:moveTo>
                            <a:lnTo>
                              <a:pt x="4332" y="2502"/>
                            </a:lnTo>
                            <a:lnTo>
                              <a:pt x="4331" y="2455"/>
                            </a:lnTo>
                            <a:lnTo>
                              <a:pt x="4329" y="2412"/>
                            </a:lnTo>
                            <a:lnTo>
                              <a:pt x="4327" y="2373"/>
                            </a:lnTo>
                            <a:lnTo>
                              <a:pt x="4324" y="2340"/>
                            </a:lnTo>
                            <a:lnTo>
                              <a:pt x="4319" y="2291"/>
                            </a:lnTo>
                            <a:lnTo>
                              <a:pt x="4317" y="2273"/>
                            </a:lnTo>
                            <a:lnTo>
                              <a:pt x="4317" y="2273"/>
                            </a:lnTo>
                            <a:lnTo>
                              <a:pt x="4315" y="2258"/>
                            </a:lnTo>
                            <a:lnTo>
                              <a:pt x="4315" y="2243"/>
                            </a:lnTo>
                            <a:lnTo>
                              <a:pt x="4317" y="2228"/>
                            </a:lnTo>
                            <a:lnTo>
                              <a:pt x="4319" y="2213"/>
                            </a:lnTo>
                            <a:lnTo>
                              <a:pt x="4323" y="2199"/>
                            </a:lnTo>
                            <a:lnTo>
                              <a:pt x="4327" y="2184"/>
                            </a:lnTo>
                            <a:lnTo>
                              <a:pt x="4333" y="2170"/>
                            </a:lnTo>
                            <a:lnTo>
                              <a:pt x="4340" y="2156"/>
                            </a:lnTo>
                            <a:lnTo>
                              <a:pt x="4348" y="2142"/>
                            </a:lnTo>
                            <a:lnTo>
                              <a:pt x="4356" y="2130"/>
                            </a:lnTo>
                            <a:lnTo>
                              <a:pt x="4366" y="2117"/>
                            </a:lnTo>
                            <a:lnTo>
                              <a:pt x="4376" y="2106"/>
                            </a:lnTo>
                            <a:lnTo>
                              <a:pt x="4387" y="2096"/>
                            </a:lnTo>
                            <a:lnTo>
                              <a:pt x="4399" y="2087"/>
                            </a:lnTo>
                            <a:lnTo>
                              <a:pt x="4411" y="2078"/>
                            </a:lnTo>
                            <a:lnTo>
                              <a:pt x="4424" y="2071"/>
                            </a:lnTo>
                            <a:lnTo>
                              <a:pt x="4796" y="1894"/>
                            </a:lnTo>
                            <a:lnTo>
                              <a:pt x="4796" y="1894"/>
                            </a:lnTo>
                            <a:lnTo>
                              <a:pt x="4809" y="1887"/>
                            </a:lnTo>
                            <a:lnTo>
                              <a:pt x="4820" y="1879"/>
                            </a:lnTo>
                            <a:lnTo>
                              <a:pt x="4831" y="1870"/>
                            </a:lnTo>
                            <a:lnTo>
                              <a:pt x="4841" y="1860"/>
                            </a:lnTo>
                            <a:lnTo>
                              <a:pt x="4849" y="1849"/>
                            </a:lnTo>
                            <a:lnTo>
                              <a:pt x="4857" y="1838"/>
                            </a:lnTo>
                            <a:lnTo>
                              <a:pt x="4863" y="1826"/>
                            </a:lnTo>
                            <a:lnTo>
                              <a:pt x="4868" y="1813"/>
                            </a:lnTo>
                            <a:lnTo>
                              <a:pt x="4872" y="1800"/>
                            </a:lnTo>
                            <a:lnTo>
                              <a:pt x="4875" y="1787"/>
                            </a:lnTo>
                            <a:lnTo>
                              <a:pt x="4876" y="1773"/>
                            </a:lnTo>
                            <a:lnTo>
                              <a:pt x="4876" y="1759"/>
                            </a:lnTo>
                            <a:lnTo>
                              <a:pt x="4875" y="1746"/>
                            </a:lnTo>
                            <a:lnTo>
                              <a:pt x="4872" y="1732"/>
                            </a:lnTo>
                            <a:lnTo>
                              <a:pt x="4868" y="1718"/>
                            </a:lnTo>
                            <a:lnTo>
                              <a:pt x="4863" y="1705"/>
                            </a:lnTo>
                            <a:lnTo>
                              <a:pt x="4595" y="1142"/>
                            </a:lnTo>
                            <a:lnTo>
                              <a:pt x="4595" y="1142"/>
                            </a:lnTo>
                            <a:lnTo>
                              <a:pt x="4588" y="1130"/>
                            </a:lnTo>
                            <a:lnTo>
                              <a:pt x="4580" y="1118"/>
                            </a:lnTo>
                            <a:lnTo>
                              <a:pt x="4571" y="1107"/>
                            </a:lnTo>
                            <a:lnTo>
                              <a:pt x="4561" y="1097"/>
                            </a:lnTo>
                            <a:lnTo>
                              <a:pt x="4550" y="1089"/>
                            </a:lnTo>
                            <a:lnTo>
                              <a:pt x="4539" y="1081"/>
                            </a:lnTo>
                            <a:lnTo>
                              <a:pt x="4526" y="1075"/>
                            </a:lnTo>
                            <a:lnTo>
                              <a:pt x="4514" y="1070"/>
                            </a:lnTo>
                            <a:lnTo>
                              <a:pt x="4501" y="1066"/>
                            </a:lnTo>
                            <a:lnTo>
                              <a:pt x="4487" y="1063"/>
                            </a:lnTo>
                            <a:lnTo>
                              <a:pt x="4474" y="1062"/>
                            </a:lnTo>
                            <a:lnTo>
                              <a:pt x="4460" y="1062"/>
                            </a:lnTo>
                            <a:lnTo>
                              <a:pt x="4446" y="1063"/>
                            </a:lnTo>
                            <a:lnTo>
                              <a:pt x="4433" y="1066"/>
                            </a:lnTo>
                            <a:lnTo>
                              <a:pt x="4419" y="1070"/>
                            </a:lnTo>
                            <a:lnTo>
                              <a:pt x="4406" y="1075"/>
                            </a:lnTo>
                            <a:lnTo>
                              <a:pt x="4033" y="1253"/>
                            </a:lnTo>
                            <a:lnTo>
                              <a:pt x="4033" y="1253"/>
                            </a:lnTo>
                            <a:lnTo>
                              <a:pt x="4019" y="1259"/>
                            </a:lnTo>
                            <a:lnTo>
                              <a:pt x="4005" y="1264"/>
                            </a:lnTo>
                            <a:lnTo>
                              <a:pt x="3990" y="1267"/>
                            </a:lnTo>
                            <a:lnTo>
                              <a:pt x="3975" y="1269"/>
                            </a:lnTo>
                            <a:lnTo>
                              <a:pt x="3960" y="1271"/>
                            </a:lnTo>
                            <a:lnTo>
                              <a:pt x="3944" y="1271"/>
                            </a:lnTo>
                            <a:lnTo>
                              <a:pt x="3928" y="1270"/>
                            </a:lnTo>
                            <a:lnTo>
                              <a:pt x="3913" y="1267"/>
                            </a:lnTo>
                            <a:lnTo>
                              <a:pt x="3897" y="1264"/>
                            </a:lnTo>
                            <a:lnTo>
                              <a:pt x="3882" y="1260"/>
                            </a:lnTo>
                            <a:lnTo>
                              <a:pt x="3867" y="1255"/>
                            </a:lnTo>
                            <a:lnTo>
                              <a:pt x="3853" y="1249"/>
                            </a:lnTo>
                            <a:lnTo>
                              <a:pt x="3839" y="1242"/>
                            </a:lnTo>
                            <a:lnTo>
                              <a:pt x="3827" y="1234"/>
                            </a:lnTo>
                            <a:lnTo>
                              <a:pt x="3815" y="1225"/>
                            </a:lnTo>
                            <a:lnTo>
                              <a:pt x="3804" y="1215"/>
                            </a:lnTo>
                            <a:lnTo>
                              <a:pt x="3451" y="932"/>
                            </a:lnTo>
                            <a:lnTo>
                              <a:pt x="3451" y="932"/>
                            </a:lnTo>
                            <a:lnTo>
                              <a:pt x="3439" y="924"/>
                            </a:lnTo>
                            <a:lnTo>
                              <a:pt x="3428" y="914"/>
                            </a:lnTo>
                            <a:lnTo>
                              <a:pt x="3417" y="903"/>
                            </a:lnTo>
                            <a:lnTo>
                              <a:pt x="3407" y="891"/>
                            </a:lnTo>
                            <a:lnTo>
                              <a:pt x="3398" y="879"/>
                            </a:lnTo>
                            <a:lnTo>
                              <a:pt x="3390" y="865"/>
                            </a:lnTo>
                            <a:lnTo>
                              <a:pt x="3383" y="852"/>
                            </a:lnTo>
                            <a:lnTo>
                              <a:pt x="3376" y="837"/>
                            </a:lnTo>
                            <a:lnTo>
                              <a:pt x="3371" y="822"/>
                            </a:lnTo>
                            <a:lnTo>
                              <a:pt x="3367" y="807"/>
                            </a:lnTo>
                            <a:lnTo>
                              <a:pt x="3363" y="792"/>
                            </a:lnTo>
                            <a:lnTo>
                              <a:pt x="3361" y="777"/>
                            </a:lnTo>
                            <a:lnTo>
                              <a:pt x="3360" y="761"/>
                            </a:lnTo>
                            <a:lnTo>
                              <a:pt x="3360" y="746"/>
                            </a:lnTo>
                            <a:lnTo>
                              <a:pt x="3362" y="731"/>
                            </a:lnTo>
                            <a:lnTo>
                              <a:pt x="3364" y="717"/>
                            </a:lnTo>
                            <a:lnTo>
                              <a:pt x="3458" y="314"/>
                            </a:lnTo>
                            <a:lnTo>
                              <a:pt x="3458" y="314"/>
                            </a:lnTo>
                            <a:lnTo>
                              <a:pt x="3460" y="300"/>
                            </a:lnTo>
                            <a:lnTo>
                              <a:pt x="3461" y="286"/>
                            </a:lnTo>
                            <a:lnTo>
                              <a:pt x="3461" y="272"/>
                            </a:lnTo>
                            <a:lnTo>
                              <a:pt x="3459" y="258"/>
                            </a:lnTo>
                            <a:lnTo>
                              <a:pt x="3456" y="245"/>
                            </a:lnTo>
                            <a:lnTo>
                              <a:pt x="3452" y="232"/>
                            </a:lnTo>
                            <a:lnTo>
                              <a:pt x="3447" y="219"/>
                            </a:lnTo>
                            <a:lnTo>
                              <a:pt x="3440" y="207"/>
                            </a:lnTo>
                            <a:lnTo>
                              <a:pt x="3432" y="196"/>
                            </a:lnTo>
                            <a:lnTo>
                              <a:pt x="3423" y="186"/>
                            </a:lnTo>
                            <a:lnTo>
                              <a:pt x="3414" y="176"/>
                            </a:lnTo>
                            <a:lnTo>
                              <a:pt x="3403" y="168"/>
                            </a:lnTo>
                            <a:lnTo>
                              <a:pt x="3391" y="160"/>
                            </a:lnTo>
                            <a:lnTo>
                              <a:pt x="3379" y="153"/>
                            </a:lnTo>
                            <a:lnTo>
                              <a:pt x="3366" y="148"/>
                            </a:lnTo>
                            <a:lnTo>
                              <a:pt x="3352" y="144"/>
                            </a:lnTo>
                            <a:lnTo>
                              <a:pt x="2745" y="3"/>
                            </a:lnTo>
                            <a:lnTo>
                              <a:pt x="2745" y="3"/>
                            </a:lnTo>
                            <a:lnTo>
                              <a:pt x="2730" y="1"/>
                            </a:lnTo>
                            <a:lnTo>
                              <a:pt x="2716" y="0"/>
                            </a:lnTo>
                            <a:lnTo>
                              <a:pt x="2702" y="0"/>
                            </a:lnTo>
                            <a:lnTo>
                              <a:pt x="2688" y="2"/>
                            </a:lnTo>
                            <a:lnTo>
                              <a:pt x="2675" y="5"/>
                            </a:lnTo>
                            <a:lnTo>
                              <a:pt x="2662" y="9"/>
                            </a:lnTo>
                            <a:lnTo>
                              <a:pt x="2649" y="15"/>
                            </a:lnTo>
                            <a:lnTo>
                              <a:pt x="2638" y="21"/>
                            </a:lnTo>
                            <a:lnTo>
                              <a:pt x="2626" y="29"/>
                            </a:lnTo>
                            <a:lnTo>
                              <a:pt x="2616" y="38"/>
                            </a:lnTo>
                            <a:lnTo>
                              <a:pt x="2606" y="48"/>
                            </a:lnTo>
                            <a:lnTo>
                              <a:pt x="2598" y="58"/>
                            </a:lnTo>
                            <a:lnTo>
                              <a:pt x="2590" y="70"/>
                            </a:lnTo>
                            <a:lnTo>
                              <a:pt x="2584" y="82"/>
                            </a:lnTo>
                            <a:lnTo>
                              <a:pt x="2578" y="96"/>
                            </a:lnTo>
                            <a:lnTo>
                              <a:pt x="2574" y="110"/>
                            </a:lnTo>
                            <a:lnTo>
                              <a:pt x="2481" y="512"/>
                            </a:lnTo>
                            <a:lnTo>
                              <a:pt x="2481" y="512"/>
                            </a:lnTo>
                            <a:lnTo>
                              <a:pt x="2477" y="526"/>
                            </a:lnTo>
                            <a:lnTo>
                              <a:pt x="2472" y="540"/>
                            </a:lnTo>
                            <a:lnTo>
                              <a:pt x="2465" y="554"/>
                            </a:lnTo>
                            <a:lnTo>
                              <a:pt x="2457" y="567"/>
                            </a:lnTo>
                            <a:lnTo>
                              <a:pt x="2448" y="580"/>
                            </a:lnTo>
                            <a:lnTo>
                              <a:pt x="2438" y="592"/>
                            </a:lnTo>
                            <a:lnTo>
                              <a:pt x="2428" y="604"/>
                            </a:lnTo>
                            <a:lnTo>
                              <a:pt x="2416" y="615"/>
                            </a:lnTo>
                            <a:lnTo>
                              <a:pt x="2404" y="625"/>
                            </a:lnTo>
                            <a:lnTo>
                              <a:pt x="2392" y="634"/>
                            </a:lnTo>
                            <a:lnTo>
                              <a:pt x="2378" y="643"/>
                            </a:lnTo>
                            <a:lnTo>
                              <a:pt x="2365" y="650"/>
                            </a:lnTo>
                            <a:lnTo>
                              <a:pt x="2351" y="656"/>
                            </a:lnTo>
                            <a:lnTo>
                              <a:pt x="2336" y="661"/>
                            </a:lnTo>
                            <a:lnTo>
                              <a:pt x="2322" y="665"/>
                            </a:lnTo>
                            <a:lnTo>
                              <a:pt x="2308" y="668"/>
                            </a:lnTo>
                            <a:lnTo>
                              <a:pt x="1866" y="766"/>
                            </a:lnTo>
                            <a:lnTo>
                              <a:pt x="1866" y="766"/>
                            </a:lnTo>
                            <a:lnTo>
                              <a:pt x="1852" y="770"/>
                            </a:lnTo>
                            <a:lnTo>
                              <a:pt x="1837" y="772"/>
                            </a:lnTo>
                            <a:lnTo>
                              <a:pt x="1822" y="774"/>
                            </a:lnTo>
                            <a:lnTo>
                              <a:pt x="1807" y="774"/>
                            </a:lnTo>
                            <a:lnTo>
                              <a:pt x="1792" y="774"/>
                            </a:lnTo>
                            <a:lnTo>
                              <a:pt x="1776" y="772"/>
                            </a:lnTo>
                            <a:lnTo>
                              <a:pt x="1761" y="769"/>
                            </a:lnTo>
                            <a:lnTo>
                              <a:pt x="1745" y="765"/>
                            </a:lnTo>
                            <a:lnTo>
                              <a:pt x="1730" y="760"/>
                            </a:lnTo>
                            <a:lnTo>
                              <a:pt x="1716" y="754"/>
                            </a:lnTo>
                            <a:lnTo>
                              <a:pt x="1702" y="747"/>
                            </a:lnTo>
                            <a:lnTo>
                              <a:pt x="1689" y="739"/>
                            </a:lnTo>
                            <a:lnTo>
                              <a:pt x="1676" y="730"/>
                            </a:lnTo>
                            <a:lnTo>
                              <a:pt x="1664" y="721"/>
                            </a:lnTo>
                            <a:lnTo>
                              <a:pt x="1654" y="711"/>
                            </a:lnTo>
                            <a:lnTo>
                              <a:pt x="1644" y="700"/>
                            </a:lnTo>
                            <a:lnTo>
                              <a:pt x="1387" y="375"/>
                            </a:lnTo>
                            <a:lnTo>
                              <a:pt x="1387" y="375"/>
                            </a:lnTo>
                            <a:lnTo>
                              <a:pt x="1378" y="365"/>
                            </a:lnTo>
                            <a:lnTo>
                              <a:pt x="1368" y="355"/>
                            </a:lnTo>
                            <a:lnTo>
                              <a:pt x="1356" y="346"/>
                            </a:lnTo>
                            <a:lnTo>
                              <a:pt x="1345" y="339"/>
                            </a:lnTo>
                            <a:lnTo>
                              <a:pt x="1332" y="333"/>
                            </a:lnTo>
                            <a:lnTo>
                              <a:pt x="1319" y="328"/>
                            </a:lnTo>
                            <a:lnTo>
                              <a:pt x="1306" y="325"/>
                            </a:lnTo>
                            <a:lnTo>
                              <a:pt x="1293" y="323"/>
                            </a:lnTo>
                            <a:lnTo>
                              <a:pt x="1279" y="322"/>
                            </a:lnTo>
                            <a:lnTo>
                              <a:pt x="1265" y="322"/>
                            </a:lnTo>
                            <a:lnTo>
                              <a:pt x="1252" y="324"/>
                            </a:lnTo>
                            <a:lnTo>
                              <a:pt x="1238" y="327"/>
                            </a:lnTo>
                            <a:lnTo>
                              <a:pt x="1225" y="331"/>
                            </a:lnTo>
                            <a:lnTo>
                              <a:pt x="1213" y="337"/>
                            </a:lnTo>
                            <a:lnTo>
                              <a:pt x="1200" y="344"/>
                            </a:lnTo>
                            <a:lnTo>
                              <a:pt x="1188" y="352"/>
                            </a:lnTo>
                            <a:lnTo>
                              <a:pt x="700" y="739"/>
                            </a:lnTo>
                            <a:lnTo>
                              <a:pt x="700" y="739"/>
                            </a:lnTo>
                            <a:lnTo>
                              <a:pt x="689" y="748"/>
                            </a:lnTo>
                            <a:lnTo>
                              <a:pt x="679" y="759"/>
                            </a:lnTo>
                            <a:lnTo>
                              <a:pt x="671" y="770"/>
                            </a:lnTo>
                            <a:lnTo>
                              <a:pt x="664" y="782"/>
                            </a:lnTo>
                            <a:lnTo>
                              <a:pt x="658" y="794"/>
                            </a:lnTo>
                            <a:lnTo>
                              <a:pt x="653" y="807"/>
                            </a:lnTo>
                            <a:lnTo>
                              <a:pt x="649" y="820"/>
                            </a:lnTo>
                            <a:lnTo>
                              <a:pt x="647" y="834"/>
                            </a:lnTo>
                            <a:lnTo>
                              <a:pt x="646" y="847"/>
                            </a:lnTo>
                            <a:lnTo>
                              <a:pt x="647" y="861"/>
                            </a:lnTo>
                            <a:lnTo>
                              <a:pt x="648" y="874"/>
                            </a:lnTo>
                            <a:lnTo>
                              <a:pt x="651" y="888"/>
                            </a:lnTo>
                            <a:lnTo>
                              <a:pt x="656" y="901"/>
                            </a:lnTo>
                            <a:lnTo>
                              <a:pt x="661" y="914"/>
                            </a:lnTo>
                            <a:lnTo>
                              <a:pt x="668" y="926"/>
                            </a:lnTo>
                            <a:lnTo>
                              <a:pt x="677" y="938"/>
                            </a:lnTo>
                            <a:lnTo>
                              <a:pt x="933" y="1262"/>
                            </a:lnTo>
                            <a:lnTo>
                              <a:pt x="933" y="1262"/>
                            </a:lnTo>
                            <a:lnTo>
                              <a:pt x="942" y="1274"/>
                            </a:lnTo>
                            <a:lnTo>
                              <a:pt x="950" y="1287"/>
                            </a:lnTo>
                            <a:lnTo>
                              <a:pt x="956" y="1301"/>
                            </a:lnTo>
                            <a:lnTo>
                              <a:pt x="962" y="1315"/>
                            </a:lnTo>
                            <a:lnTo>
                              <a:pt x="966" y="1330"/>
                            </a:lnTo>
                            <a:lnTo>
                              <a:pt x="970" y="1345"/>
                            </a:lnTo>
                            <a:lnTo>
                              <a:pt x="972" y="1361"/>
                            </a:lnTo>
                            <a:lnTo>
                              <a:pt x="974" y="1376"/>
                            </a:lnTo>
                            <a:lnTo>
                              <a:pt x="974" y="1392"/>
                            </a:lnTo>
                            <a:lnTo>
                              <a:pt x="973" y="1408"/>
                            </a:lnTo>
                            <a:lnTo>
                              <a:pt x="971" y="1423"/>
                            </a:lnTo>
                            <a:lnTo>
                              <a:pt x="969" y="1438"/>
                            </a:lnTo>
                            <a:lnTo>
                              <a:pt x="965" y="1453"/>
                            </a:lnTo>
                            <a:lnTo>
                              <a:pt x="960" y="1467"/>
                            </a:lnTo>
                            <a:lnTo>
                              <a:pt x="954" y="1481"/>
                            </a:lnTo>
                            <a:lnTo>
                              <a:pt x="947" y="1494"/>
                            </a:lnTo>
                            <a:lnTo>
                              <a:pt x="749" y="1901"/>
                            </a:lnTo>
                            <a:lnTo>
                              <a:pt x="749" y="1901"/>
                            </a:lnTo>
                            <a:lnTo>
                              <a:pt x="744" y="1914"/>
                            </a:lnTo>
                            <a:lnTo>
                              <a:pt x="737" y="1927"/>
                            </a:lnTo>
                            <a:lnTo>
                              <a:pt x="728" y="1940"/>
                            </a:lnTo>
                            <a:lnTo>
                              <a:pt x="719" y="1952"/>
                            </a:lnTo>
                            <a:lnTo>
                              <a:pt x="709" y="1964"/>
                            </a:lnTo>
                            <a:lnTo>
                              <a:pt x="698" y="1975"/>
                            </a:lnTo>
                            <a:lnTo>
                              <a:pt x="686" y="1985"/>
                            </a:lnTo>
                            <a:lnTo>
                              <a:pt x="673" y="1994"/>
                            </a:lnTo>
                            <a:lnTo>
                              <a:pt x="660" y="2003"/>
                            </a:lnTo>
                            <a:lnTo>
                              <a:pt x="646" y="2010"/>
                            </a:lnTo>
                            <a:lnTo>
                              <a:pt x="632" y="2017"/>
                            </a:lnTo>
                            <a:lnTo>
                              <a:pt x="617" y="2023"/>
                            </a:lnTo>
                            <a:lnTo>
                              <a:pt x="603" y="2027"/>
                            </a:lnTo>
                            <a:lnTo>
                              <a:pt x="588" y="2030"/>
                            </a:lnTo>
                            <a:lnTo>
                              <a:pt x="573" y="2032"/>
                            </a:lnTo>
                            <a:lnTo>
                              <a:pt x="558" y="2033"/>
                            </a:lnTo>
                            <a:lnTo>
                              <a:pt x="145" y="2031"/>
                            </a:lnTo>
                            <a:lnTo>
                              <a:pt x="145" y="2031"/>
                            </a:lnTo>
                            <a:lnTo>
                              <a:pt x="130" y="2032"/>
                            </a:lnTo>
                            <a:lnTo>
                              <a:pt x="116" y="2034"/>
                            </a:lnTo>
                            <a:lnTo>
                              <a:pt x="103" y="2037"/>
                            </a:lnTo>
                            <a:lnTo>
                              <a:pt x="90" y="2042"/>
                            </a:lnTo>
                            <a:lnTo>
                              <a:pt x="77" y="2048"/>
                            </a:lnTo>
                            <a:lnTo>
                              <a:pt x="65" y="2055"/>
                            </a:lnTo>
                            <a:lnTo>
                              <a:pt x="55" y="2063"/>
                            </a:lnTo>
                            <a:lnTo>
                              <a:pt x="44" y="2072"/>
                            </a:lnTo>
                            <a:lnTo>
                              <a:pt x="35" y="2083"/>
                            </a:lnTo>
                            <a:lnTo>
                              <a:pt x="27" y="2093"/>
                            </a:lnTo>
                            <a:lnTo>
                              <a:pt x="20" y="2105"/>
                            </a:lnTo>
                            <a:lnTo>
                              <a:pt x="14" y="2117"/>
                            </a:lnTo>
                            <a:lnTo>
                              <a:pt x="9" y="2130"/>
                            </a:lnTo>
                            <a:lnTo>
                              <a:pt x="5" y="2144"/>
                            </a:lnTo>
                            <a:lnTo>
                              <a:pt x="3" y="2158"/>
                            </a:lnTo>
                            <a:lnTo>
                              <a:pt x="2" y="2172"/>
                            </a:lnTo>
                            <a:lnTo>
                              <a:pt x="0" y="2797"/>
                            </a:lnTo>
                            <a:lnTo>
                              <a:pt x="0" y="2797"/>
                            </a:lnTo>
                            <a:lnTo>
                              <a:pt x="1" y="2811"/>
                            </a:lnTo>
                            <a:lnTo>
                              <a:pt x="3" y="2825"/>
                            </a:lnTo>
                            <a:lnTo>
                              <a:pt x="6" y="2839"/>
                            </a:lnTo>
                            <a:lnTo>
                              <a:pt x="11" y="2852"/>
                            </a:lnTo>
                            <a:lnTo>
                              <a:pt x="17" y="2864"/>
                            </a:lnTo>
                            <a:lnTo>
                              <a:pt x="24" y="2876"/>
                            </a:lnTo>
                            <a:lnTo>
                              <a:pt x="32" y="2887"/>
                            </a:lnTo>
                            <a:lnTo>
                              <a:pt x="41" y="2897"/>
                            </a:lnTo>
                            <a:lnTo>
                              <a:pt x="51" y="2906"/>
                            </a:lnTo>
                            <a:lnTo>
                              <a:pt x="62" y="2914"/>
                            </a:lnTo>
                            <a:lnTo>
                              <a:pt x="74" y="2921"/>
                            </a:lnTo>
                            <a:lnTo>
                              <a:pt x="86" y="2927"/>
                            </a:lnTo>
                            <a:lnTo>
                              <a:pt x="99" y="2932"/>
                            </a:lnTo>
                            <a:lnTo>
                              <a:pt x="113" y="2936"/>
                            </a:lnTo>
                            <a:lnTo>
                              <a:pt x="127" y="2938"/>
                            </a:lnTo>
                            <a:lnTo>
                              <a:pt x="141" y="2939"/>
                            </a:lnTo>
                            <a:lnTo>
                              <a:pt x="555" y="2941"/>
                            </a:lnTo>
                            <a:lnTo>
                              <a:pt x="555" y="2941"/>
                            </a:lnTo>
                            <a:lnTo>
                              <a:pt x="570" y="2941"/>
                            </a:lnTo>
                            <a:lnTo>
                              <a:pt x="584" y="2944"/>
                            </a:lnTo>
                            <a:lnTo>
                              <a:pt x="599" y="2947"/>
                            </a:lnTo>
                            <a:lnTo>
                              <a:pt x="614" y="2951"/>
                            </a:lnTo>
                            <a:lnTo>
                              <a:pt x="628" y="2957"/>
                            </a:lnTo>
                            <a:lnTo>
                              <a:pt x="642" y="2964"/>
                            </a:lnTo>
                            <a:lnTo>
                              <a:pt x="656" y="2972"/>
                            </a:lnTo>
                            <a:lnTo>
                              <a:pt x="669" y="2980"/>
                            </a:lnTo>
                            <a:lnTo>
                              <a:pt x="682" y="2990"/>
                            </a:lnTo>
                            <a:lnTo>
                              <a:pt x="694" y="3000"/>
                            </a:lnTo>
                            <a:lnTo>
                              <a:pt x="705" y="3011"/>
                            </a:lnTo>
                            <a:lnTo>
                              <a:pt x="715" y="3023"/>
                            </a:lnTo>
                            <a:lnTo>
                              <a:pt x="724" y="3035"/>
                            </a:lnTo>
                            <a:lnTo>
                              <a:pt x="732" y="3048"/>
                            </a:lnTo>
                            <a:lnTo>
                              <a:pt x="739" y="3061"/>
                            </a:lnTo>
                            <a:lnTo>
                              <a:pt x="745" y="3075"/>
                            </a:lnTo>
                            <a:lnTo>
                              <a:pt x="939" y="3482"/>
                            </a:lnTo>
                            <a:lnTo>
                              <a:pt x="939" y="3482"/>
                            </a:lnTo>
                            <a:lnTo>
                              <a:pt x="946" y="3495"/>
                            </a:lnTo>
                            <a:lnTo>
                              <a:pt x="952" y="3509"/>
                            </a:lnTo>
                            <a:lnTo>
                              <a:pt x="956" y="3523"/>
                            </a:lnTo>
                            <a:lnTo>
                              <a:pt x="960" y="3538"/>
                            </a:lnTo>
                            <a:lnTo>
                              <a:pt x="963" y="3553"/>
                            </a:lnTo>
                            <a:lnTo>
                              <a:pt x="964" y="3569"/>
                            </a:lnTo>
                            <a:lnTo>
                              <a:pt x="965" y="3585"/>
                            </a:lnTo>
                            <a:lnTo>
                              <a:pt x="965" y="3600"/>
                            </a:lnTo>
                            <a:lnTo>
                              <a:pt x="963" y="3616"/>
                            </a:lnTo>
                            <a:lnTo>
                              <a:pt x="960" y="3632"/>
                            </a:lnTo>
                            <a:lnTo>
                              <a:pt x="957" y="3647"/>
                            </a:lnTo>
                            <a:lnTo>
                              <a:pt x="952" y="3661"/>
                            </a:lnTo>
                            <a:lnTo>
                              <a:pt x="947" y="3676"/>
                            </a:lnTo>
                            <a:lnTo>
                              <a:pt x="940" y="3689"/>
                            </a:lnTo>
                            <a:lnTo>
                              <a:pt x="932" y="3702"/>
                            </a:lnTo>
                            <a:lnTo>
                              <a:pt x="924" y="3714"/>
                            </a:lnTo>
                            <a:lnTo>
                              <a:pt x="664" y="4036"/>
                            </a:lnTo>
                            <a:lnTo>
                              <a:pt x="664" y="4036"/>
                            </a:lnTo>
                            <a:lnTo>
                              <a:pt x="656" y="4048"/>
                            </a:lnTo>
                            <a:lnTo>
                              <a:pt x="649" y="4060"/>
                            </a:lnTo>
                            <a:lnTo>
                              <a:pt x="643" y="4073"/>
                            </a:lnTo>
                            <a:lnTo>
                              <a:pt x="639" y="4086"/>
                            </a:lnTo>
                            <a:lnTo>
                              <a:pt x="636" y="4100"/>
                            </a:lnTo>
                            <a:lnTo>
                              <a:pt x="634" y="4113"/>
                            </a:lnTo>
                            <a:lnTo>
                              <a:pt x="633" y="4127"/>
                            </a:lnTo>
                            <a:lnTo>
                              <a:pt x="634" y="4141"/>
                            </a:lnTo>
                            <a:lnTo>
                              <a:pt x="636" y="4154"/>
                            </a:lnTo>
                            <a:lnTo>
                              <a:pt x="640" y="4167"/>
                            </a:lnTo>
                            <a:lnTo>
                              <a:pt x="644" y="4180"/>
                            </a:lnTo>
                            <a:lnTo>
                              <a:pt x="650" y="4192"/>
                            </a:lnTo>
                            <a:lnTo>
                              <a:pt x="657" y="4204"/>
                            </a:lnTo>
                            <a:lnTo>
                              <a:pt x="666" y="4216"/>
                            </a:lnTo>
                            <a:lnTo>
                              <a:pt x="675" y="4226"/>
                            </a:lnTo>
                            <a:lnTo>
                              <a:pt x="686" y="4236"/>
                            </a:lnTo>
                            <a:lnTo>
                              <a:pt x="1172" y="4626"/>
                            </a:lnTo>
                            <a:lnTo>
                              <a:pt x="1172" y="4626"/>
                            </a:lnTo>
                            <a:lnTo>
                              <a:pt x="1183" y="4634"/>
                            </a:lnTo>
                            <a:lnTo>
                              <a:pt x="1196" y="4642"/>
                            </a:lnTo>
                            <a:lnTo>
                              <a:pt x="1208" y="4647"/>
                            </a:lnTo>
                            <a:lnTo>
                              <a:pt x="1221" y="4652"/>
                            </a:lnTo>
                            <a:lnTo>
                              <a:pt x="1235" y="4655"/>
                            </a:lnTo>
                            <a:lnTo>
                              <a:pt x="1248" y="4657"/>
                            </a:lnTo>
                            <a:lnTo>
                              <a:pt x="1262" y="4657"/>
                            </a:lnTo>
                            <a:lnTo>
                              <a:pt x="1276" y="4656"/>
                            </a:lnTo>
                            <a:lnTo>
                              <a:pt x="1289" y="4654"/>
                            </a:lnTo>
                            <a:lnTo>
                              <a:pt x="1302" y="4651"/>
                            </a:lnTo>
                            <a:lnTo>
                              <a:pt x="1315" y="4646"/>
                            </a:lnTo>
                            <a:lnTo>
                              <a:pt x="1328" y="4640"/>
                            </a:lnTo>
                            <a:lnTo>
                              <a:pt x="1339" y="4633"/>
                            </a:lnTo>
                            <a:lnTo>
                              <a:pt x="1351" y="4625"/>
                            </a:lnTo>
                            <a:lnTo>
                              <a:pt x="1361" y="4615"/>
                            </a:lnTo>
                            <a:lnTo>
                              <a:pt x="1371" y="4604"/>
                            </a:lnTo>
                            <a:lnTo>
                              <a:pt x="1630" y="4283"/>
                            </a:lnTo>
                            <a:lnTo>
                              <a:pt x="1630" y="4283"/>
                            </a:lnTo>
                            <a:lnTo>
                              <a:pt x="1639" y="4272"/>
                            </a:lnTo>
                            <a:lnTo>
                              <a:pt x="1650" y="4262"/>
                            </a:lnTo>
                            <a:lnTo>
                              <a:pt x="1662" y="4252"/>
                            </a:lnTo>
                            <a:lnTo>
                              <a:pt x="1675" y="4244"/>
                            </a:lnTo>
                            <a:lnTo>
                              <a:pt x="1688" y="4236"/>
                            </a:lnTo>
                            <a:lnTo>
                              <a:pt x="1702" y="4229"/>
                            </a:lnTo>
                            <a:lnTo>
                              <a:pt x="1717" y="4223"/>
                            </a:lnTo>
                            <a:lnTo>
                              <a:pt x="1732" y="4219"/>
                            </a:lnTo>
                            <a:lnTo>
                              <a:pt x="1747" y="4215"/>
                            </a:lnTo>
                            <a:lnTo>
                              <a:pt x="1762" y="4212"/>
                            </a:lnTo>
                            <a:lnTo>
                              <a:pt x="1778" y="4210"/>
                            </a:lnTo>
                            <a:lnTo>
                              <a:pt x="1793" y="4210"/>
                            </a:lnTo>
                            <a:lnTo>
                              <a:pt x="1809" y="4210"/>
                            </a:lnTo>
                            <a:lnTo>
                              <a:pt x="1824" y="4212"/>
                            </a:lnTo>
                            <a:lnTo>
                              <a:pt x="1838" y="4215"/>
                            </a:lnTo>
                            <a:lnTo>
                              <a:pt x="1852" y="4219"/>
                            </a:lnTo>
                            <a:lnTo>
                              <a:pt x="2295" y="4319"/>
                            </a:lnTo>
                            <a:lnTo>
                              <a:pt x="2295" y="4319"/>
                            </a:lnTo>
                            <a:lnTo>
                              <a:pt x="2309" y="4322"/>
                            </a:lnTo>
                            <a:lnTo>
                              <a:pt x="2324" y="4326"/>
                            </a:lnTo>
                            <a:lnTo>
                              <a:pt x="2338" y="4331"/>
                            </a:lnTo>
                            <a:lnTo>
                              <a:pt x="2352" y="4337"/>
                            </a:lnTo>
                            <a:lnTo>
                              <a:pt x="2366" y="4345"/>
                            </a:lnTo>
                            <a:lnTo>
                              <a:pt x="2379" y="4353"/>
                            </a:lnTo>
                            <a:lnTo>
                              <a:pt x="2391" y="4363"/>
                            </a:lnTo>
                            <a:lnTo>
                              <a:pt x="2403" y="4373"/>
                            </a:lnTo>
                            <a:lnTo>
                              <a:pt x="2415" y="4384"/>
                            </a:lnTo>
                            <a:lnTo>
                              <a:pt x="2425" y="4396"/>
                            </a:lnTo>
                            <a:lnTo>
                              <a:pt x="2435" y="4408"/>
                            </a:lnTo>
                            <a:lnTo>
                              <a:pt x="2443" y="4421"/>
                            </a:lnTo>
                            <a:lnTo>
                              <a:pt x="2451" y="4434"/>
                            </a:lnTo>
                            <a:lnTo>
                              <a:pt x="2457" y="4448"/>
                            </a:lnTo>
                            <a:lnTo>
                              <a:pt x="2464" y="4462"/>
                            </a:lnTo>
                            <a:lnTo>
                              <a:pt x="2468" y="4476"/>
                            </a:lnTo>
                            <a:lnTo>
                              <a:pt x="2558" y="4880"/>
                            </a:lnTo>
                            <a:lnTo>
                              <a:pt x="2558" y="4880"/>
                            </a:lnTo>
                            <a:lnTo>
                              <a:pt x="2562" y="4894"/>
                            </a:lnTo>
                            <a:lnTo>
                              <a:pt x="2567" y="4907"/>
                            </a:lnTo>
                            <a:lnTo>
                              <a:pt x="2574" y="4919"/>
                            </a:lnTo>
                            <a:lnTo>
                              <a:pt x="2581" y="4931"/>
                            </a:lnTo>
                            <a:lnTo>
                              <a:pt x="2590" y="4942"/>
                            </a:lnTo>
                            <a:lnTo>
                              <a:pt x="2600" y="4952"/>
                            </a:lnTo>
                            <a:lnTo>
                              <a:pt x="2610" y="4960"/>
                            </a:lnTo>
                            <a:lnTo>
                              <a:pt x="2621" y="4968"/>
                            </a:lnTo>
                            <a:lnTo>
                              <a:pt x="2633" y="4975"/>
                            </a:lnTo>
                            <a:lnTo>
                              <a:pt x="2645" y="4981"/>
                            </a:lnTo>
                            <a:lnTo>
                              <a:pt x="2658" y="4985"/>
                            </a:lnTo>
                            <a:lnTo>
                              <a:pt x="2672" y="4988"/>
                            </a:lnTo>
                            <a:lnTo>
                              <a:pt x="2685" y="4990"/>
                            </a:lnTo>
                            <a:lnTo>
                              <a:pt x="2699" y="4990"/>
                            </a:lnTo>
                            <a:lnTo>
                              <a:pt x="2714" y="4989"/>
                            </a:lnTo>
                            <a:lnTo>
                              <a:pt x="2728" y="4987"/>
                            </a:lnTo>
                            <a:lnTo>
                              <a:pt x="3336" y="4850"/>
                            </a:lnTo>
                            <a:lnTo>
                              <a:pt x="3336" y="4850"/>
                            </a:lnTo>
                            <a:lnTo>
                              <a:pt x="3350" y="4846"/>
                            </a:lnTo>
                            <a:lnTo>
                              <a:pt x="3363" y="4841"/>
                            </a:lnTo>
                            <a:lnTo>
                              <a:pt x="3376" y="4835"/>
                            </a:lnTo>
                            <a:lnTo>
                              <a:pt x="3387" y="4827"/>
                            </a:lnTo>
                            <a:lnTo>
                              <a:pt x="3398" y="4819"/>
                            </a:lnTo>
                            <a:lnTo>
                              <a:pt x="3408" y="4809"/>
                            </a:lnTo>
                            <a:lnTo>
                              <a:pt x="3417" y="4799"/>
                            </a:lnTo>
                            <a:lnTo>
                              <a:pt x="3425" y="4787"/>
                            </a:lnTo>
                            <a:lnTo>
                              <a:pt x="3431" y="4776"/>
                            </a:lnTo>
                            <a:lnTo>
                              <a:pt x="3437" y="4763"/>
                            </a:lnTo>
                            <a:lnTo>
                              <a:pt x="3441" y="4750"/>
                            </a:lnTo>
                            <a:lnTo>
                              <a:pt x="3444" y="4737"/>
                            </a:lnTo>
                            <a:lnTo>
                              <a:pt x="3446" y="4723"/>
                            </a:lnTo>
                            <a:lnTo>
                              <a:pt x="3447" y="4709"/>
                            </a:lnTo>
                            <a:lnTo>
                              <a:pt x="3446" y="4695"/>
                            </a:lnTo>
                            <a:lnTo>
                              <a:pt x="3443" y="4681"/>
                            </a:lnTo>
                            <a:lnTo>
                              <a:pt x="3352" y="4278"/>
                            </a:lnTo>
                            <a:lnTo>
                              <a:pt x="3352" y="4278"/>
                            </a:lnTo>
                            <a:lnTo>
                              <a:pt x="3350" y="4263"/>
                            </a:lnTo>
                            <a:lnTo>
                              <a:pt x="3349" y="4248"/>
                            </a:lnTo>
                            <a:lnTo>
                              <a:pt x="3349" y="4233"/>
                            </a:lnTo>
                            <a:lnTo>
                              <a:pt x="3350" y="4218"/>
                            </a:lnTo>
                            <a:lnTo>
                              <a:pt x="3352" y="4203"/>
                            </a:lnTo>
                            <a:lnTo>
                              <a:pt x="3356" y="4187"/>
                            </a:lnTo>
                            <a:lnTo>
                              <a:pt x="3360" y="4172"/>
                            </a:lnTo>
                            <a:lnTo>
                              <a:pt x="3366" y="4158"/>
                            </a:lnTo>
                            <a:lnTo>
                              <a:pt x="3372" y="4143"/>
                            </a:lnTo>
                            <a:lnTo>
                              <a:pt x="3379" y="4129"/>
                            </a:lnTo>
                            <a:lnTo>
                              <a:pt x="3388" y="4116"/>
                            </a:lnTo>
                            <a:lnTo>
                              <a:pt x="3397" y="4103"/>
                            </a:lnTo>
                            <a:lnTo>
                              <a:pt x="3407" y="4092"/>
                            </a:lnTo>
                            <a:lnTo>
                              <a:pt x="3417" y="4081"/>
                            </a:lnTo>
                            <a:lnTo>
                              <a:pt x="3429" y="4071"/>
                            </a:lnTo>
                            <a:lnTo>
                              <a:pt x="3441" y="4063"/>
                            </a:lnTo>
                            <a:lnTo>
                              <a:pt x="3795" y="3783"/>
                            </a:lnTo>
                            <a:lnTo>
                              <a:pt x="3795" y="3783"/>
                            </a:lnTo>
                            <a:lnTo>
                              <a:pt x="3806" y="3773"/>
                            </a:lnTo>
                            <a:lnTo>
                              <a:pt x="3818" y="3764"/>
                            </a:lnTo>
                            <a:lnTo>
                              <a:pt x="3831" y="3756"/>
                            </a:lnTo>
                            <a:lnTo>
                              <a:pt x="3845" y="3749"/>
                            </a:lnTo>
                            <a:lnTo>
                              <a:pt x="3859" y="3743"/>
                            </a:lnTo>
                            <a:lnTo>
                              <a:pt x="3874" y="3738"/>
                            </a:lnTo>
                            <a:lnTo>
                              <a:pt x="3889" y="3734"/>
                            </a:lnTo>
                            <a:lnTo>
                              <a:pt x="3905" y="3731"/>
                            </a:lnTo>
                            <a:lnTo>
                              <a:pt x="3920" y="3729"/>
                            </a:lnTo>
                            <a:lnTo>
                              <a:pt x="3936" y="3728"/>
                            </a:lnTo>
                            <a:lnTo>
                              <a:pt x="3952" y="3728"/>
                            </a:lnTo>
                            <a:lnTo>
                              <a:pt x="3967" y="3730"/>
                            </a:lnTo>
                            <a:lnTo>
                              <a:pt x="3982" y="3732"/>
                            </a:lnTo>
                            <a:lnTo>
                              <a:pt x="3997" y="3735"/>
                            </a:lnTo>
                            <a:lnTo>
                              <a:pt x="4011" y="3740"/>
                            </a:lnTo>
                            <a:lnTo>
                              <a:pt x="4024" y="3746"/>
                            </a:lnTo>
                            <a:lnTo>
                              <a:pt x="4396" y="3926"/>
                            </a:lnTo>
                            <a:lnTo>
                              <a:pt x="4396" y="3926"/>
                            </a:lnTo>
                            <a:lnTo>
                              <a:pt x="4409" y="3932"/>
                            </a:lnTo>
                            <a:lnTo>
                              <a:pt x="4423" y="3936"/>
                            </a:lnTo>
                            <a:lnTo>
                              <a:pt x="4436" y="3939"/>
                            </a:lnTo>
                            <a:lnTo>
                              <a:pt x="4450" y="3940"/>
                            </a:lnTo>
                            <a:lnTo>
                              <a:pt x="4464" y="3940"/>
                            </a:lnTo>
                            <a:lnTo>
                              <a:pt x="4477" y="3939"/>
                            </a:lnTo>
                            <a:lnTo>
                              <a:pt x="4491" y="3936"/>
                            </a:lnTo>
                            <a:lnTo>
                              <a:pt x="4504" y="3932"/>
                            </a:lnTo>
                            <a:lnTo>
                              <a:pt x="4516" y="3927"/>
                            </a:lnTo>
                            <a:lnTo>
                              <a:pt x="4529" y="3921"/>
                            </a:lnTo>
                            <a:lnTo>
                              <a:pt x="4540" y="3914"/>
                            </a:lnTo>
                            <a:lnTo>
                              <a:pt x="4551" y="3905"/>
                            </a:lnTo>
                            <a:lnTo>
                              <a:pt x="4561" y="3896"/>
                            </a:lnTo>
                            <a:lnTo>
                              <a:pt x="4570" y="3885"/>
                            </a:lnTo>
                            <a:lnTo>
                              <a:pt x="4578" y="3873"/>
                            </a:lnTo>
                            <a:lnTo>
                              <a:pt x="4585" y="3860"/>
                            </a:lnTo>
                            <a:lnTo>
                              <a:pt x="4857" y="3300"/>
                            </a:lnTo>
                            <a:lnTo>
                              <a:pt x="4857" y="3300"/>
                            </a:lnTo>
                            <a:lnTo>
                              <a:pt x="4863" y="3286"/>
                            </a:lnTo>
                            <a:lnTo>
                              <a:pt x="4867" y="3273"/>
                            </a:lnTo>
                            <a:lnTo>
                              <a:pt x="4870" y="3259"/>
                            </a:lnTo>
                            <a:lnTo>
                              <a:pt x="4871" y="3245"/>
                            </a:lnTo>
                            <a:lnTo>
                              <a:pt x="4872" y="3231"/>
                            </a:lnTo>
                            <a:lnTo>
                              <a:pt x="4870" y="3218"/>
                            </a:lnTo>
                            <a:lnTo>
                              <a:pt x="4868" y="3204"/>
                            </a:lnTo>
                            <a:lnTo>
                              <a:pt x="4864" y="3191"/>
                            </a:lnTo>
                            <a:lnTo>
                              <a:pt x="4859" y="3179"/>
                            </a:lnTo>
                            <a:lnTo>
                              <a:pt x="4853" y="3167"/>
                            </a:lnTo>
                            <a:lnTo>
                              <a:pt x="4845" y="3155"/>
                            </a:lnTo>
                            <a:lnTo>
                              <a:pt x="4837" y="3144"/>
                            </a:lnTo>
                            <a:lnTo>
                              <a:pt x="4827" y="3134"/>
                            </a:lnTo>
                            <a:lnTo>
                              <a:pt x="4816" y="3125"/>
                            </a:lnTo>
                            <a:lnTo>
                              <a:pt x="4805" y="3117"/>
                            </a:lnTo>
                            <a:lnTo>
                              <a:pt x="4792" y="3110"/>
                            </a:lnTo>
                            <a:lnTo>
                              <a:pt x="4421" y="2930"/>
                            </a:lnTo>
                            <a:lnTo>
                              <a:pt x="4421" y="2930"/>
                            </a:lnTo>
                            <a:lnTo>
                              <a:pt x="4408" y="2923"/>
                            </a:lnTo>
                            <a:lnTo>
                              <a:pt x="4396" y="2915"/>
                            </a:lnTo>
                            <a:lnTo>
                              <a:pt x="4384" y="2905"/>
                            </a:lnTo>
                            <a:lnTo>
                              <a:pt x="4373" y="2895"/>
                            </a:lnTo>
                            <a:lnTo>
                              <a:pt x="4363" y="2884"/>
                            </a:lnTo>
                            <a:lnTo>
                              <a:pt x="4354" y="2872"/>
                            </a:lnTo>
                            <a:lnTo>
                              <a:pt x="4345" y="2859"/>
                            </a:lnTo>
                            <a:lnTo>
                              <a:pt x="4338" y="2845"/>
                            </a:lnTo>
                            <a:lnTo>
                              <a:pt x="4331" y="2831"/>
                            </a:lnTo>
                            <a:lnTo>
                              <a:pt x="4325" y="2817"/>
                            </a:lnTo>
                            <a:lnTo>
                              <a:pt x="4321" y="2802"/>
                            </a:lnTo>
                            <a:lnTo>
                              <a:pt x="4317" y="2787"/>
                            </a:lnTo>
                            <a:lnTo>
                              <a:pt x="4315" y="2772"/>
                            </a:lnTo>
                            <a:lnTo>
                              <a:pt x="4314" y="2758"/>
                            </a:lnTo>
                            <a:lnTo>
                              <a:pt x="4314" y="2743"/>
                            </a:lnTo>
                            <a:lnTo>
                              <a:pt x="4316" y="2728"/>
                            </a:lnTo>
                            <a:lnTo>
                              <a:pt x="4316" y="2728"/>
                            </a:lnTo>
                            <a:lnTo>
                              <a:pt x="4318" y="2710"/>
                            </a:lnTo>
                            <a:lnTo>
                              <a:pt x="4323" y="2662"/>
                            </a:lnTo>
                            <a:lnTo>
                              <a:pt x="4326" y="2629"/>
                            </a:lnTo>
                            <a:lnTo>
                              <a:pt x="4329" y="2590"/>
                            </a:lnTo>
                            <a:lnTo>
                              <a:pt x="4331" y="2548"/>
                            </a:lnTo>
                            <a:lnTo>
                              <a:pt x="4332" y="2502"/>
                            </a:lnTo>
                            <a:lnTo>
                              <a:pt x="4332" y="2502"/>
                            </a:lnTo>
                            <a:close/>
                            <a:moveTo>
                              <a:pt x="3788" y="2500"/>
                            </a:moveTo>
                            <a:lnTo>
                              <a:pt x="3788" y="2500"/>
                            </a:lnTo>
                            <a:lnTo>
                              <a:pt x="3787" y="2533"/>
                            </a:lnTo>
                            <a:lnTo>
                              <a:pt x="3786" y="2567"/>
                            </a:lnTo>
                            <a:lnTo>
                              <a:pt x="3784" y="2600"/>
                            </a:lnTo>
                            <a:lnTo>
                              <a:pt x="3780" y="2633"/>
                            </a:lnTo>
                            <a:lnTo>
                              <a:pt x="3777" y="2666"/>
                            </a:lnTo>
                            <a:lnTo>
                              <a:pt x="3772" y="2698"/>
                            </a:lnTo>
                            <a:lnTo>
                              <a:pt x="3767" y="2730"/>
                            </a:lnTo>
                            <a:lnTo>
                              <a:pt x="3760" y="2762"/>
                            </a:lnTo>
                            <a:lnTo>
                              <a:pt x="3753" y="2794"/>
                            </a:lnTo>
                            <a:lnTo>
                              <a:pt x="3746" y="2825"/>
                            </a:lnTo>
                            <a:lnTo>
                              <a:pt x="3737" y="2856"/>
                            </a:lnTo>
                            <a:lnTo>
                              <a:pt x="3728" y="2887"/>
                            </a:lnTo>
                            <a:lnTo>
                              <a:pt x="3718" y="2917"/>
                            </a:lnTo>
                            <a:lnTo>
                              <a:pt x="3707" y="2947"/>
                            </a:lnTo>
                            <a:lnTo>
                              <a:pt x="3696" y="2977"/>
                            </a:lnTo>
                            <a:lnTo>
                              <a:pt x="3684" y="3006"/>
                            </a:lnTo>
                            <a:lnTo>
                              <a:pt x="3671" y="3035"/>
                            </a:lnTo>
                            <a:lnTo>
                              <a:pt x="3657" y="3064"/>
                            </a:lnTo>
                            <a:lnTo>
                              <a:pt x="3643" y="3092"/>
                            </a:lnTo>
                            <a:lnTo>
                              <a:pt x="3628" y="3120"/>
                            </a:lnTo>
                            <a:lnTo>
                              <a:pt x="3613" y="3147"/>
                            </a:lnTo>
                            <a:lnTo>
                              <a:pt x="3597" y="3174"/>
                            </a:lnTo>
                            <a:lnTo>
                              <a:pt x="3580" y="3201"/>
                            </a:lnTo>
                            <a:lnTo>
                              <a:pt x="3563" y="3227"/>
                            </a:lnTo>
                            <a:lnTo>
                              <a:pt x="3545" y="3252"/>
                            </a:lnTo>
                            <a:lnTo>
                              <a:pt x="3526" y="3278"/>
                            </a:lnTo>
                            <a:lnTo>
                              <a:pt x="3507" y="3302"/>
                            </a:lnTo>
                            <a:lnTo>
                              <a:pt x="3487" y="3327"/>
                            </a:lnTo>
                            <a:lnTo>
                              <a:pt x="3467" y="3350"/>
                            </a:lnTo>
                            <a:lnTo>
                              <a:pt x="3446" y="3374"/>
                            </a:lnTo>
                            <a:lnTo>
                              <a:pt x="3425" y="3396"/>
                            </a:lnTo>
                            <a:lnTo>
                              <a:pt x="3403" y="3419"/>
                            </a:lnTo>
                            <a:lnTo>
                              <a:pt x="3381" y="3440"/>
                            </a:lnTo>
                            <a:lnTo>
                              <a:pt x="3358" y="3462"/>
                            </a:lnTo>
                            <a:lnTo>
                              <a:pt x="3334" y="3482"/>
                            </a:lnTo>
                            <a:lnTo>
                              <a:pt x="3310" y="3502"/>
                            </a:lnTo>
                            <a:lnTo>
                              <a:pt x="3286" y="3522"/>
                            </a:lnTo>
                            <a:lnTo>
                              <a:pt x="3261" y="3541"/>
                            </a:lnTo>
                            <a:lnTo>
                              <a:pt x="3236" y="3559"/>
                            </a:lnTo>
                            <a:lnTo>
                              <a:pt x="3210" y="3577"/>
                            </a:lnTo>
                            <a:lnTo>
                              <a:pt x="3184" y="3594"/>
                            </a:lnTo>
                            <a:lnTo>
                              <a:pt x="3157" y="3611"/>
                            </a:lnTo>
                            <a:lnTo>
                              <a:pt x="3130" y="3626"/>
                            </a:lnTo>
                            <a:lnTo>
                              <a:pt x="3102" y="3642"/>
                            </a:lnTo>
                            <a:lnTo>
                              <a:pt x="3074" y="3656"/>
                            </a:lnTo>
                            <a:lnTo>
                              <a:pt x="3046" y="3670"/>
                            </a:lnTo>
                            <a:lnTo>
                              <a:pt x="3017" y="3683"/>
                            </a:lnTo>
                            <a:lnTo>
                              <a:pt x="2988" y="3696"/>
                            </a:lnTo>
                            <a:lnTo>
                              <a:pt x="2959" y="3708"/>
                            </a:lnTo>
                            <a:lnTo>
                              <a:pt x="2929" y="3719"/>
                            </a:lnTo>
                            <a:lnTo>
                              <a:pt x="2899" y="3730"/>
                            </a:lnTo>
                            <a:lnTo>
                              <a:pt x="2868" y="3739"/>
                            </a:lnTo>
                            <a:lnTo>
                              <a:pt x="2838" y="3748"/>
                            </a:lnTo>
                            <a:lnTo>
                              <a:pt x="2807" y="3757"/>
                            </a:lnTo>
                            <a:lnTo>
                              <a:pt x="2775" y="3764"/>
                            </a:lnTo>
                            <a:lnTo>
                              <a:pt x="2744" y="3771"/>
                            </a:lnTo>
                            <a:lnTo>
                              <a:pt x="2712" y="3777"/>
                            </a:lnTo>
                            <a:lnTo>
                              <a:pt x="2679" y="3782"/>
                            </a:lnTo>
                            <a:lnTo>
                              <a:pt x="2647" y="3787"/>
                            </a:lnTo>
                            <a:lnTo>
                              <a:pt x="2614" y="3790"/>
                            </a:lnTo>
                            <a:lnTo>
                              <a:pt x="2581" y="3793"/>
                            </a:lnTo>
                            <a:lnTo>
                              <a:pt x="2548" y="3795"/>
                            </a:lnTo>
                            <a:lnTo>
                              <a:pt x="2515" y="3796"/>
                            </a:lnTo>
                            <a:lnTo>
                              <a:pt x="2481" y="3796"/>
                            </a:lnTo>
                            <a:lnTo>
                              <a:pt x="2481" y="3796"/>
                            </a:lnTo>
                            <a:lnTo>
                              <a:pt x="2446" y="3796"/>
                            </a:lnTo>
                            <a:lnTo>
                              <a:pt x="2413" y="3794"/>
                            </a:lnTo>
                            <a:lnTo>
                              <a:pt x="2380" y="3792"/>
                            </a:lnTo>
                            <a:lnTo>
                              <a:pt x="2347" y="3789"/>
                            </a:lnTo>
                            <a:lnTo>
                              <a:pt x="2314" y="3785"/>
                            </a:lnTo>
                            <a:lnTo>
                              <a:pt x="2282" y="3781"/>
                            </a:lnTo>
                            <a:lnTo>
                              <a:pt x="2250" y="3775"/>
                            </a:lnTo>
                            <a:lnTo>
                              <a:pt x="2218" y="3769"/>
                            </a:lnTo>
                            <a:lnTo>
                              <a:pt x="2186" y="3762"/>
                            </a:lnTo>
                            <a:lnTo>
                              <a:pt x="2155" y="3754"/>
                            </a:lnTo>
                            <a:lnTo>
                              <a:pt x="2124" y="3746"/>
                            </a:lnTo>
                            <a:lnTo>
                              <a:pt x="2093" y="3736"/>
                            </a:lnTo>
                            <a:lnTo>
                              <a:pt x="2063" y="3726"/>
                            </a:lnTo>
                            <a:lnTo>
                              <a:pt x="2033" y="3716"/>
                            </a:lnTo>
                            <a:lnTo>
                              <a:pt x="2003" y="3704"/>
                            </a:lnTo>
                            <a:lnTo>
                              <a:pt x="1974" y="3692"/>
                            </a:lnTo>
                            <a:lnTo>
                              <a:pt x="1945" y="3679"/>
                            </a:lnTo>
                            <a:lnTo>
                              <a:pt x="1916" y="3666"/>
                            </a:lnTo>
                            <a:lnTo>
                              <a:pt x="1888" y="3652"/>
                            </a:lnTo>
                            <a:lnTo>
                              <a:pt x="1860" y="3637"/>
                            </a:lnTo>
                            <a:lnTo>
                              <a:pt x="1833" y="3621"/>
                            </a:lnTo>
                            <a:lnTo>
                              <a:pt x="1806" y="3605"/>
                            </a:lnTo>
                            <a:lnTo>
                              <a:pt x="1779" y="3589"/>
                            </a:lnTo>
                            <a:lnTo>
                              <a:pt x="1753" y="3571"/>
                            </a:lnTo>
                            <a:lnTo>
                              <a:pt x="1728" y="3553"/>
                            </a:lnTo>
                            <a:lnTo>
                              <a:pt x="1702" y="3535"/>
                            </a:lnTo>
                            <a:lnTo>
                              <a:pt x="1678" y="3516"/>
                            </a:lnTo>
                            <a:lnTo>
                              <a:pt x="1653" y="3496"/>
                            </a:lnTo>
                            <a:lnTo>
                              <a:pt x="1630" y="3476"/>
                            </a:lnTo>
                            <a:lnTo>
                              <a:pt x="1606" y="3455"/>
                            </a:lnTo>
                            <a:lnTo>
                              <a:pt x="1584" y="3433"/>
                            </a:lnTo>
                            <a:lnTo>
                              <a:pt x="1561" y="3412"/>
                            </a:lnTo>
                            <a:lnTo>
                              <a:pt x="1540" y="3389"/>
                            </a:lnTo>
                            <a:lnTo>
                              <a:pt x="1518" y="3366"/>
                            </a:lnTo>
                            <a:lnTo>
                              <a:pt x="1498" y="3343"/>
                            </a:lnTo>
                            <a:lnTo>
                              <a:pt x="1478" y="3319"/>
                            </a:lnTo>
                            <a:lnTo>
                              <a:pt x="1458" y="3294"/>
                            </a:lnTo>
                            <a:lnTo>
                              <a:pt x="1439" y="3269"/>
                            </a:lnTo>
                            <a:lnTo>
                              <a:pt x="1421" y="3244"/>
                            </a:lnTo>
                            <a:lnTo>
                              <a:pt x="1403" y="3218"/>
                            </a:lnTo>
                            <a:lnTo>
                              <a:pt x="1386" y="3192"/>
                            </a:lnTo>
                            <a:lnTo>
                              <a:pt x="1370" y="3165"/>
                            </a:lnTo>
                            <a:lnTo>
                              <a:pt x="1354" y="3138"/>
                            </a:lnTo>
                            <a:lnTo>
                              <a:pt x="1338" y="3111"/>
                            </a:lnTo>
                            <a:lnTo>
                              <a:pt x="1324" y="3083"/>
                            </a:lnTo>
                            <a:lnTo>
                              <a:pt x="1310" y="3054"/>
                            </a:lnTo>
                            <a:lnTo>
                              <a:pt x="1297" y="3026"/>
                            </a:lnTo>
                            <a:lnTo>
                              <a:pt x="1284" y="2997"/>
                            </a:lnTo>
                            <a:lnTo>
                              <a:pt x="1272" y="2967"/>
                            </a:lnTo>
                            <a:lnTo>
                              <a:pt x="1261" y="2937"/>
                            </a:lnTo>
                            <a:lnTo>
                              <a:pt x="1250" y="2907"/>
                            </a:lnTo>
                            <a:lnTo>
                              <a:pt x="1241" y="2877"/>
                            </a:lnTo>
                            <a:lnTo>
                              <a:pt x="1232" y="2846"/>
                            </a:lnTo>
                            <a:lnTo>
                              <a:pt x="1223" y="2815"/>
                            </a:lnTo>
                            <a:lnTo>
                              <a:pt x="1216" y="2784"/>
                            </a:lnTo>
                            <a:lnTo>
                              <a:pt x="1209" y="2752"/>
                            </a:lnTo>
                            <a:lnTo>
                              <a:pt x="1203" y="2720"/>
                            </a:lnTo>
                            <a:lnTo>
                              <a:pt x="1198" y="2688"/>
                            </a:lnTo>
                            <a:lnTo>
                              <a:pt x="1194" y="2655"/>
                            </a:lnTo>
                            <a:lnTo>
                              <a:pt x="1190" y="2623"/>
                            </a:lnTo>
                            <a:lnTo>
                              <a:pt x="1187" y="2590"/>
                            </a:lnTo>
                            <a:lnTo>
                              <a:pt x="1185" y="2557"/>
                            </a:lnTo>
                            <a:lnTo>
                              <a:pt x="1184" y="2523"/>
                            </a:lnTo>
                            <a:lnTo>
                              <a:pt x="1184" y="2490"/>
                            </a:lnTo>
                            <a:lnTo>
                              <a:pt x="1184" y="2490"/>
                            </a:lnTo>
                            <a:lnTo>
                              <a:pt x="1184" y="2455"/>
                            </a:lnTo>
                            <a:lnTo>
                              <a:pt x="1186" y="2422"/>
                            </a:lnTo>
                            <a:lnTo>
                              <a:pt x="1188" y="2388"/>
                            </a:lnTo>
                            <a:lnTo>
                              <a:pt x="1191" y="2356"/>
                            </a:lnTo>
                            <a:lnTo>
                              <a:pt x="1195" y="2323"/>
                            </a:lnTo>
                            <a:lnTo>
                              <a:pt x="1199" y="2290"/>
                            </a:lnTo>
                            <a:lnTo>
                              <a:pt x="1205" y="2258"/>
                            </a:lnTo>
                            <a:lnTo>
                              <a:pt x="1211" y="2226"/>
                            </a:lnTo>
                            <a:lnTo>
                              <a:pt x="1218" y="2195"/>
                            </a:lnTo>
                            <a:lnTo>
                              <a:pt x="1226" y="2163"/>
                            </a:lnTo>
                            <a:lnTo>
                              <a:pt x="1234" y="2132"/>
                            </a:lnTo>
                            <a:lnTo>
                              <a:pt x="1244" y="2102"/>
                            </a:lnTo>
                            <a:lnTo>
                              <a:pt x="1254" y="2071"/>
                            </a:lnTo>
                            <a:lnTo>
                              <a:pt x="1264" y="2041"/>
                            </a:lnTo>
                            <a:lnTo>
                              <a:pt x="1276" y="2012"/>
                            </a:lnTo>
                            <a:lnTo>
                              <a:pt x="1288" y="1982"/>
                            </a:lnTo>
                            <a:lnTo>
                              <a:pt x="1301" y="1953"/>
                            </a:lnTo>
                            <a:lnTo>
                              <a:pt x="1314" y="1925"/>
                            </a:lnTo>
                            <a:lnTo>
                              <a:pt x="1328" y="1897"/>
                            </a:lnTo>
                            <a:lnTo>
                              <a:pt x="1343" y="1869"/>
                            </a:lnTo>
                            <a:lnTo>
                              <a:pt x="1359" y="1841"/>
                            </a:lnTo>
                            <a:lnTo>
                              <a:pt x="1375" y="1814"/>
                            </a:lnTo>
                            <a:lnTo>
                              <a:pt x="1391" y="1788"/>
                            </a:lnTo>
                            <a:lnTo>
                              <a:pt x="1409" y="1762"/>
                            </a:lnTo>
                            <a:lnTo>
                              <a:pt x="1427" y="1736"/>
                            </a:lnTo>
                            <a:lnTo>
                              <a:pt x="1445" y="1711"/>
                            </a:lnTo>
                            <a:lnTo>
                              <a:pt x="1464" y="1686"/>
                            </a:lnTo>
                            <a:lnTo>
                              <a:pt x="1484" y="1662"/>
                            </a:lnTo>
                            <a:lnTo>
                              <a:pt x="1504" y="1638"/>
                            </a:lnTo>
                            <a:lnTo>
                              <a:pt x="1525" y="1615"/>
                            </a:lnTo>
                            <a:lnTo>
                              <a:pt x="1547" y="1592"/>
                            </a:lnTo>
                            <a:lnTo>
                              <a:pt x="1569" y="1570"/>
                            </a:lnTo>
                            <a:lnTo>
                              <a:pt x="1591" y="1548"/>
                            </a:lnTo>
                            <a:lnTo>
                              <a:pt x="1614" y="1527"/>
                            </a:lnTo>
                            <a:lnTo>
                              <a:pt x="1637" y="1506"/>
                            </a:lnTo>
                            <a:lnTo>
                              <a:pt x="1661" y="1486"/>
                            </a:lnTo>
                            <a:lnTo>
                              <a:pt x="1686" y="1467"/>
                            </a:lnTo>
                            <a:lnTo>
                              <a:pt x="1711" y="1448"/>
                            </a:lnTo>
                            <a:lnTo>
                              <a:pt x="1736" y="1429"/>
                            </a:lnTo>
                            <a:lnTo>
                              <a:pt x="1762" y="1412"/>
                            </a:lnTo>
                            <a:lnTo>
                              <a:pt x="1788" y="1395"/>
                            </a:lnTo>
                            <a:lnTo>
                              <a:pt x="1815" y="1378"/>
                            </a:lnTo>
                            <a:lnTo>
                              <a:pt x="1842" y="1362"/>
                            </a:lnTo>
                            <a:lnTo>
                              <a:pt x="1869" y="1347"/>
                            </a:lnTo>
                            <a:lnTo>
                              <a:pt x="1897" y="1332"/>
                            </a:lnTo>
                            <a:lnTo>
                              <a:pt x="1926" y="1318"/>
                            </a:lnTo>
                            <a:lnTo>
                              <a:pt x="1954" y="1305"/>
                            </a:lnTo>
                            <a:lnTo>
                              <a:pt x="1983" y="1293"/>
                            </a:lnTo>
                            <a:lnTo>
                              <a:pt x="2013" y="1281"/>
                            </a:lnTo>
                            <a:lnTo>
                              <a:pt x="2043" y="1270"/>
                            </a:lnTo>
                            <a:lnTo>
                              <a:pt x="2073" y="1259"/>
                            </a:lnTo>
                            <a:lnTo>
                              <a:pt x="2103" y="1249"/>
                            </a:lnTo>
                            <a:lnTo>
                              <a:pt x="2134" y="1240"/>
                            </a:lnTo>
                            <a:lnTo>
                              <a:pt x="2165" y="1232"/>
                            </a:lnTo>
                            <a:lnTo>
                              <a:pt x="2196" y="1225"/>
                            </a:lnTo>
                            <a:lnTo>
                              <a:pt x="2228" y="1218"/>
                            </a:lnTo>
                            <a:lnTo>
                              <a:pt x="2260" y="1212"/>
                            </a:lnTo>
                            <a:lnTo>
                              <a:pt x="2292" y="1207"/>
                            </a:lnTo>
                            <a:lnTo>
                              <a:pt x="2325" y="1202"/>
                            </a:lnTo>
                            <a:lnTo>
                              <a:pt x="2357" y="1199"/>
                            </a:lnTo>
                            <a:lnTo>
                              <a:pt x="2390" y="1196"/>
                            </a:lnTo>
                            <a:lnTo>
                              <a:pt x="2424" y="1194"/>
                            </a:lnTo>
                            <a:lnTo>
                              <a:pt x="2457" y="1193"/>
                            </a:lnTo>
                            <a:lnTo>
                              <a:pt x="2492" y="1192"/>
                            </a:lnTo>
                            <a:lnTo>
                              <a:pt x="2492" y="1192"/>
                            </a:lnTo>
                            <a:lnTo>
                              <a:pt x="2525" y="1193"/>
                            </a:lnTo>
                            <a:lnTo>
                              <a:pt x="2558" y="1194"/>
                            </a:lnTo>
                            <a:lnTo>
                              <a:pt x="2592" y="1197"/>
                            </a:lnTo>
                            <a:lnTo>
                              <a:pt x="2625" y="1200"/>
                            </a:lnTo>
                            <a:lnTo>
                              <a:pt x="2657" y="1204"/>
                            </a:lnTo>
                            <a:lnTo>
                              <a:pt x="2690" y="1208"/>
                            </a:lnTo>
                            <a:lnTo>
                              <a:pt x="2722" y="1214"/>
                            </a:lnTo>
                            <a:lnTo>
                              <a:pt x="2754" y="1220"/>
                            </a:lnTo>
                            <a:lnTo>
                              <a:pt x="2785" y="1227"/>
                            </a:lnTo>
                            <a:lnTo>
                              <a:pt x="2817" y="1235"/>
                            </a:lnTo>
                            <a:lnTo>
                              <a:pt x="2848" y="1243"/>
                            </a:lnTo>
                            <a:lnTo>
                              <a:pt x="2878" y="1252"/>
                            </a:lnTo>
                            <a:lnTo>
                              <a:pt x="2909" y="1262"/>
                            </a:lnTo>
                            <a:lnTo>
                              <a:pt x="2939" y="1273"/>
                            </a:lnTo>
                            <a:lnTo>
                              <a:pt x="2968" y="1285"/>
                            </a:lnTo>
                            <a:lnTo>
                              <a:pt x="2998" y="1297"/>
                            </a:lnTo>
                            <a:lnTo>
                              <a:pt x="3027" y="1309"/>
                            </a:lnTo>
                            <a:lnTo>
                              <a:pt x="3055" y="1323"/>
                            </a:lnTo>
                            <a:lnTo>
                              <a:pt x="3083" y="1337"/>
                            </a:lnTo>
                            <a:lnTo>
                              <a:pt x="3111" y="1352"/>
                            </a:lnTo>
                            <a:lnTo>
                              <a:pt x="3139" y="1367"/>
                            </a:lnTo>
                            <a:lnTo>
                              <a:pt x="3166" y="1383"/>
                            </a:lnTo>
                            <a:lnTo>
                              <a:pt x="3192" y="1400"/>
                            </a:lnTo>
                            <a:lnTo>
                              <a:pt x="3218" y="1418"/>
                            </a:lnTo>
                            <a:lnTo>
                              <a:pt x="3244" y="1435"/>
                            </a:lnTo>
                            <a:lnTo>
                              <a:pt x="3269" y="1454"/>
                            </a:lnTo>
                            <a:lnTo>
                              <a:pt x="3294" y="1473"/>
                            </a:lnTo>
                            <a:lnTo>
                              <a:pt x="3318" y="1493"/>
                            </a:lnTo>
                            <a:lnTo>
                              <a:pt x="3342" y="1513"/>
                            </a:lnTo>
                            <a:lnTo>
                              <a:pt x="3365" y="1534"/>
                            </a:lnTo>
                            <a:lnTo>
                              <a:pt x="3388" y="1555"/>
                            </a:lnTo>
                            <a:lnTo>
                              <a:pt x="3410" y="1577"/>
                            </a:lnTo>
                            <a:lnTo>
                              <a:pt x="3432" y="1600"/>
                            </a:lnTo>
                            <a:lnTo>
                              <a:pt x="3453" y="1623"/>
                            </a:lnTo>
                            <a:lnTo>
                              <a:pt x="3474" y="1646"/>
                            </a:lnTo>
                            <a:lnTo>
                              <a:pt x="3494" y="1670"/>
                            </a:lnTo>
                            <a:lnTo>
                              <a:pt x="3513" y="1694"/>
                            </a:lnTo>
                            <a:lnTo>
                              <a:pt x="3532" y="1719"/>
                            </a:lnTo>
                            <a:lnTo>
                              <a:pt x="3551" y="1745"/>
                            </a:lnTo>
                            <a:lnTo>
                              <a:pt x="3568" y="1770"/>
                            </a:lnTo>
                            <a:lnTo>
                              <a:pt x="3585" y="1797"/>
                            </a:lnTo>
                            <a:lnTo>
                              <a:pt x="3602" y="1823"/>
                            </a:lnTo>
                            <a:lnTo>
                              <a:pt x="3618" y="1850"/>
                            </a:lnTo>
                            <a:lnTo>
                              <a:pt x="3633" y="1878"/>
                            </a:lnTo>
                            <a:lnTo>
                              <a:pt x="3648" y="1906"/>
                            </a:lnTo>
                            <a:lnTo>
                              <a:pt x="3662" y="1934"/>
                            </a:lnTo>
                            <a:lnTo>
                              <a:pt x="3675" y="1963"/>
                            </a:lnTo>
                            <a:lnTo>
                              <a:pt x="3687" y="1992"/>
                            </a:lnTo>
                            <a:lnTo>
                              <a:pt x="3699" y="2021"/>
                            </a:lnTo>
                            <a:lnTo>
                              <a:pt x="3711" y="2051"/>
                            </a:lnTo>
                            <a:lnTo>
                              <a:pt x="3721" y="2081"/>
                            </a:lnTo>
                            <a:lnTo>
                              <a:pt x="3731" y="2112"/>
                            </a:lnTo>
                            <a:lnTo>
                              <a:pt x="3740" y="2142"/>
                            </a:lnTo>
                            <a:lnTo>
                              <a:pt x="3748" y="2173"/>
                            </a:lnTo>
                            <a:lnTo>
                              <a:pt x="3756" y="2205"/>
                            </a:lnTo>
                            <a:lnTo>
                              <a:pt x="3762" y="2236"/>
                            </a:lnTo>
                            <a:lnTo>
                              <a:pt x="3768" y="2268"/>
                            </a:lnTo>
                            <a:lnTo>
                              <a:pt x="3773" y="2301"/>
                            </a:lnTo>
                            <a:lnTo>
                              <a:pt x="3778" y="2333"/>
                            </a:lnTo>
                            <a:lnTo>
                              <a:pt x="3781" y="2366"/>
                            </a:lnTo>
                            <a:lnTo>
                              <a:pt x="3784" y="2399"/>
                            </a:lnTo>
                            <a:lnTo>
                              <a:pt x="3786" y="2432"/>
                            </a:lnTo>
                            <a:lnTo>
                              <a:pt x="3787" y="2466"/>
                            </a:lnTo>
                            <a:lnTo>
                              <a:pt x="3788" y="2500"/>
                            </a:lnTo>
                            <a:lnTo>
                              <a:pt x="3788" y="2500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</p:grpSp>
                <p:grpSp>
                  <p:nvGrpSpPr>
                    <p:cNvPr id="307" name="SAGD, Siemens, healthineers, evolve">
                      <a:extLst>
                        <a:ext uri="{FF2B5EF4-FFF2-40B4-BE49-F238E27FC236}">
                          <a16:creationId xmlns:a16="http://schemas.microsoft.com/office/drawing/2014/main" id="{603117CA-879D-4758-9D7C-487B87B3A57F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gray">
                    <a:xfrm>
                      <a:off x="1357289" y="4863990"/>
                      <a:ext cx="361963" cy="362730"/>
                      <a:chOff x="1188" y="1252"/>
                      <a:chExt cx="2268" cy="2268"/>
                    </a:xfrm>
                  </p:grpSpPr>
                  <p:sp>
                    <p:nvSpPr>
                      <p:cNvPr id="308" name="AutoShape 4">
                        <a:extLst>
                          <a:ext uri="{FF2B5EF4-FFF2-40B4-BE49-F238E27FC236}">
                            <a16:creationId xmlns:a16="http://schemas.microsoft.com/office/drawing/2014/main" id="{962F8E84-A628-493D-9AA5-5663338E0991}"/>
                          </a:ext>
                        </a:extLst>
                      </p:cNvPr>
                      <p:cNvSpPr>
                        <a:spLocks noChangeAspect="1" noChangeArrowheads="1" noTextEdit="1"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309" name="Freeform 6">
                        <a:extLst>
                          <a:ext uri="{FF2B5EF4-FFF2-40B4-BE49-F238E27FC236}">
                            <a16:creationId xmlns:a16="http://schemas.microsoft.com/office/drawing/2014/main" id="{D6B49B9A-AF8A-41E1-88D7-BCD3673CA0D5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  <a:close/>
                          </a:path>
                        </a:pathLst>
                      </a:custGeom>
                      <a:solidFill>
                        <a:schemeClr val="tx1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310" name="Freeform 7">
                        <a:extLst>
                          <a:ext uri="{FF2B5EF4-FFF2-40B4-BE49-F238E27FC236}">
                            <a16:creationId xmlns:a16="http://schemas.microsoft.com/office/drawing/2014/main" id="{F190983A-348B-4761-839A-62934A95A809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1188" y="1252"/>
                        <a:ext cx="2268" cy="226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317" y="6179"/>
                          </a:cxn>
                          <a:cxn ang="0">
                            <a:pos x="11224" y="6813"/>
                          </a:cxn>
                          <a:cxn ang="0">
                            <a:pos x="11064" y="7423"/>
                          </a:cxn>
                          <a:cxn ang="0">
                            <a:pos x="10839" y="8004"/>
                          </a:cxn>
                          <a:cxn ang="0">
                            <a:pos x="10554" y="8552"/>
                          </a:cxn>
                          <a:cxn ang="0">
                            <a:pos x="10213" y="9063"/>
                          </a:cxn>
                          <a:cxn ang="0">
                            <a:pos x="9821" y="9533"/>
                          </a:cxn>
                          <a:cxn ang="0">
                            <a:pos x="9380" y="9958"/>
                          </a:cxn>
                          <a:cxn ang="0">
                            <a:pos x="8896" y="10333"/>
                          </a:cxn>
                          <a:cxn ang="0">
                            <a:pos x="8373" y="10656"/>
                          </a:cxn>
                          <a:cxn ang="0">
                            <a:pos x="7813" y="10921"/>
                          </a:cxn>
                          <a:cxn ang="0">
                            <a:pos x="7222" y="11125"/>
                          </a:cxn>
                          <a:cxn ang="0">
                            <a:pos x="6604" y="11264"/>
                          </a:cxn>
                          <a:cxn ang="0">
                            <a:pos x="5962" y="11333"/>
                          </a:cxn>
                          <a:cxn ang="0">
                            <a:pos x="5378" y="11333"/>
                          </a:cxn>
                          <a:cxn ang="0">
                            <a:pos x="4736" y="11264"/>
                          </a:cxn>
                          <a:cxn ang="0">
                            <a:pos x="4117" y="11125"/>
                          </a:cxn>
                          <a:cxn ang="0">
                            <a:pos x="3526" y="10921"/>
                          </a:cxn>
                          <a:cxn ang="0">
                            <a:pos x="2967" y="10656"/>
                          </a:cxn>
                          <a:cxn ang="0">
                            <a:pos x="2443" y="10333"/>
                          </a:cxn>
                          <a:cxn ang="0">
                            <a:pos x="1959" y="9958"/>
                          </a:cxn>
                          <a:cxn ang="0">
                            <a:pos x="1519" y="9533"/>
                          </a:cxn>
                          <a:cxn ang="0">
                            <a:pos x="1126" y="9063"/>
                          </a:cxn>
                          <a:cxn ang="0">
                            <a:pos x="785" y="8552"/>
                          </a:cxn>
                          <a:cxn ang="0">
                            <a:pos x="501" y="8004"/>
                          </a:cxn>
                          <a:cxn ang="0">
                            <a:pos x="276" y="7423"/>
                          </a:cxn>
                          <a:cxn ang="0">
                            <a:pos x="115" y="6813"/>
                          </a:cxn>
                          <a:cxn ang="0">
                            <a:pos x="22" y="6179"/>
                          </a:cxn>
                          <a:cxn ang="0">
                            <a:pos x="0" y="5596"/>
                          </a:cxn>
                          <a:cxn ang="0">
                            <a:pos x="45" y="4948"/>
                          </a:cxn>
                          <a:cxn ang="0">
                            <a:pos x="161" y="4321"/>
                          </a:cxn>
                          <a:cxn ang="0">
                            <a:pos x="344" y="3720"/>
                          </a:cxn>
                          <a:cxn ang="0">
                            <a:pos x="589" y="3150"/>
                          </a:cxn>
                          <a:cxn ang="0">
                            <a:pos x="893" y="2614"/>
                          </a:cxn>
                          <a:cxn ang="0">
                            <a:pos x="1251" y="2116"/>
                          </a:cxn>
                          <a:cxn ang="0">
                            <a:pos x="1660" y="1661"/>
                          </a:cxn>
                          <a:cxn ang="0">
                            <a:pos x="2116" y="1252"/>
                          </a:cxn>
                          <a:cxn ang="0">
                            <a:pos x="2613" y="893"/>
                          </a:cxn>
                          <a:cxn ang="0">
                            <a:pos x="3150" y="589"/>
                          </a:cxn>
                          <a:cxn ang="0">
                            <a:pos x="3720" y="344"/>
                          </a:cxn>
                          <a:cxn ang="0">
                            <a:pos x="4320" y="162"/>
                          </a:cxn>
                          <a:cxn ang="0">
                            <a:pos x="4947" y="46"/>
                          </a:cxn>
                          <a:cxn ang="0">
                            <a:pos x="5596" y="1"/>
                          </a:cxn>
                          <a:cxn ang="0">
                            <a:pos x="6178" y="23"/>
                          </a:cxn>
                          <a:cxn ang="0">
                            <a:pos x="6813" y="115"/>
                          </a:cxn>
                          <a:cxn ang="0">
                            <a:pos x="7423" y="276"/>
                          </a:cxn>
                          <a:cxn ang="0">
                            <a:pos x="8003" y="501"/>
                          </a:cxn>
                          <a:cxn ang="0">
                            <a:pos x="8551" y="786"/>
                          </a:cxn>
                          <a:cxn ang="0">
                            <a:pos x="9062" y="1126"/>
                          </a:cxn>
                          <a:cxn ang="0">
                            <a:pos x="9532" y="1519"/>
                          </a:cxn>
                          <a:cxn ang="0">
                            <a:pos x="9957" y="1959"/>
                          </a:cxn>
                          <a:cxn ang="0">
                            <a:pos x="10333" y="2443"/>
                          </a:cxn>
                          <a:cxn ang="0">
                            <a:pos x="10655" y="2967"/>
                          </a:cxn>
                          <a:cxn ang="0">
                            <a:pos x="10921" y="3527"/>
                          </a:cxn>
                          <a:cxn ang="0">
                            <a:pos x="11124" y="4118"/>
                          </a:cxn>
                          <a:cxn ang="0">
                            <a:pos x="11263" y="4736"/>
                          </a:cxn>
                          <a:cxn ang="0">
                            <a:pos x="11332" y="5378"/>
                          </a:cxn>
                        </a:cxnLst>
                        <a:rect l="0" t="0" r="r" b="b"/>
                        <a:pathLst>
                          <a:path w="11340" h="11340">
                            <a:moveTo>
                              <a:pt x="11340" y="5671"/>
                            </a:moveTo>
                            <a:lnTo>
                              <a:pt x="11340" y="5671"/>
                            </a:lnTo>
                            <a:lnTo>
                              <a:pt x="11339" y="5744"/>
                            </a:lnTo>
                            <a:lnTo>
                              <a:pt x="11338" y="5817"/>
                            </a:lnTo>
                            <a:lnTo>
                              <a:pt x="11335" y="5890"/>
                            </a:lnTo>
                            <a:lnTo>
                              <a:pt x="11332" y="5962"/>
                            </a:lnTo>
                            <a:lnTo>
                              <a:pt x="11328" y="6035"/>
                            </a:lnTo>
                            <a:lnTo>
                              <a:pt x="11323" y="6107"/>
                            </a:lnTo>
                            <a:lnTo>
                              <a:pt x="11317" y="6179"/>
                            </a:lnTo>
                            <a:lnTo>
                              <a:pt x="11310" y="6250"/>
                            </a:lnTo>
                            <a:lnTo>
                              <a:pt x="11303" y="6322"/>
                            </a:lnTo>
                            <a:lnTo>
                              <a:pt x="11294" y="6393"/>
                            </a:lnTo>
                            <a:lnTo>
                              <a:pt x="11285" y="6464"/>
                            </a:lnTo>
                            <a:lnTo>
                              <a:pt x="11274" y="6534"/>
                            </a:lnTo>
                            <a:lnTo>
                              <a:pt x="11263" y="6604"/>
                            </a:lnTo>
                            <a:lnTo>
                              <a:pt x="11251" y="6674"/>
                            </a:lnTo>
                            <a:lnTo>
                              <a:pt x="11238" y="6744"/>
                            </a:lnTo>
                            <a:lnTo>
                              <a:pt x="11224" y="6813"/>
                            </a:lnTo>
                            <a:lnTo>
                              <a:pt x="11210" y="6882"/>
                            </a:lnTo>
                            <a:lnTo>
                              <a:pt x="11194" y="6951"/>
                            </a:lnTo>
                            <a:lnTo>
                              <a:pt x="11178" y="7019"/>
                            </a:lnTo>
                            <a:lnTo>
                              <a:pt x="11161" y="7088"/>
                            </a:lnTo>
                            <a:lnTo>
                              <a:pt x="11143" y="7155"/>
                            </a:lnTo>
                            <a:lnTo>
                              <a:pt x="11124" y="7223"/>
                            </a:lnTo>
                            <a:lnTo>
                              <a:pt x="11105" y="7290"/>
                            </a:lnTo>
                            <a:lnTo>
                              <a:pt x="11085" y="7357"/>
                            </a:lnTo>
                            <a:lnTo>
                              <a:pt x="11064" y="7423"/>
                            </a:lnTo>
                            <a:lnTo>
                              <a:pt x="11042" y="7489"/>
                            </a:lnTo>
                            <a:lnTo>
                              <a:pt x="11019" y="7555"/>
                            </a:lnTo>
                            <a:lnTo>
                              <a:pt x="10996" y="7620"/>
                            </a:lnTo>
                            <a:lnTo>
                              <a:pt x="10971" y="7685"/>
                            </a:lnTo>
                            <a:lnTo>
                              <a:pt x="10946" y="7749"/>
                            </a:lnTo>
                            <a:lnTo>
                              <a:pt x="10921" y="7814"/>
                            </a:lnTo>
                            <a:lnTo>
                              <a:pt x="10894" y="7877"/>
                            </a:lnTo>
                            <a:lnTo>
                              <a:pt x="10867" y="7941"/>
                            </a:lnTo>
                            <a:lnTo>
                              <a:pt x="10839" y="8004"/>
                            </a:lnTo>
                            <a:lnTo>
                              <a:pt x="10810" y="8066"/>
                            </a:lnTo>
                            <a:lnTo>
                              <a:pt x="10780" y="8129"/>
                            </a:lnTo>
                            <a:lnTo>
                              <a:pt x="10750" y="8190"/>
                            </a:lnTo>
                            <a:lnTo>
                              <a:pt x="10719" y="8252"/>
                            </a:lnTo>
                            <a:lnTo>
                              <a:pt x="10688" y="8313"/>
                            </a:lnTo>
                            <a:lnTo>
                              <a:pt x="10655" y="8373"/>
                            </a:lnTo>
                            <a:lnTo>
                              <a:pt x="10622" y="8433"/>
                            </a:lnTo>
                            <a:lnTo>
                              <a:pt x="10588" y="8493"/>
                            </a:lnTo>
                            <a:lnTo>
                              <a:pt x="10554" y="8552"/>
                            </a:lnTo>
                            <a:lnTo>
                              <a:pt x="10519" y="8610"/>
                            </a:lnTo>
                            <a:lnTo>
                              <a:pt x="10483" y="8669"/>
                            </a:lnTo>
                            <a:lnTo>
                              <a:pt x="10446" y="8726"/>
                            </a:lnTo>
                            <a:lnTo>
                              <a:pt x="10409" y="8784"/>
                            </a:lnTo>
                            <a:lnTo>
                              <a:pt x="10371" y="8840"/>
                            </a:lnTo>
                            <a:lnTo>
                              <a:pt x="10333" y="8897"/>
                            </a:lnTo>
                            <a:lnTo>
                              <a:pt x="10294" y="8953"/>
                            </a:lnTo>
                            <a:lnTo>
                              <a:pt x="10254" y="9008"/>
                            </a:lnTo>
                            <a:lnTo>
                              <a:pt x="10213" y="9063"/>
                            </a:lnTo>
                            <a:lnTo>
                              <a:pt x="10172" y="9117"/>
                            </a:lnTo>
                            <a:lnTo>
                              <a:pt x="10130" y="9171"/>
                            </a:lnTo>
                            <a:lnTo>
                              <a:pt x="10088" y="9224"/>
                            </a:lnTo>
                            <a:lnTo>
                              <a:pt x="10045" y="9277"/>
                            </a:lnTo>
                            <a:lnTo>
                              <a:pt x="10001" y="9329"/>
                            </a:lnTo>
                            <a:lnTo>
                              <a:pt x="9957" y="9381"/>
                            </a:lnTo>
                            <a:lnTo>
                              <a:pt x="9912" y="9432"/>
                            </a:lnTo>
                            <a:lnTo>
                              <a:pt x="9867" y="9483"/>
                            </a:lnTo>
                            <a:lnTo>
                              <a:pt x="9821" y="9533"/>
                            </a:lnTo>
                            <a:lnTo>
                              <a:pt x="9774" y="9582"/>
                            </a:lnTo>
                            <a:lnTo>
                              <a:pt x="9727" y="9631"/>
                            </a:lnTo>
                            <a:lnTo>
                              <a:pt x="9679" y="9680"/>
                            </a:lnTo>
                            <a:lnTo>
                              <a:pt x="9631" y="9727"/>
                            </a:lnTo>
                            <a:lnTo>
                              <a:pt x="9582" y="9775"/>
                            </a:lnTo>
                            <a:lnTo>
                              <a:pt x="9532" y="9821"/>
                            </a:lnTo>
                            <a:lnTo>
                              <a:pt x="9482" y="9867"/>
                            </a:lnTo>
                            <a:lnTo>
                              <a:pt x="9432" y="9913"/>
                            </a:lnTo>
                            <a:lnTo>
                              <a:pt x="9380" y="9958"/>
                            </a:lnTo>
                            <a:lnTo>
                              <a:pt x="9329" y="10002"/>
                            </a:lnTo>
                            <a:lnTo>
                              <a:pt x="9277" y="10046"/>
                            </a:lnTo>
                            <a:lnTo>
                              <a:pt x="9224" y="10089"/>
                            </a:lnTo>
                            <a:lnTo>
                              <a:pt x="9170" y="10131"/>
                            </a:lnTo>
                            <a:lnTo>
                              <a:pt x="9117" y="10173"/>
                            </a:lnTo>
                            <a:lnTo>
                              <a:pt x="9062" y="10214"/>
                            </a:lnTo>
                            <a:lnTo>
                              <a:pt x="9008" y="10254"/>
                            </a:lnTo>
                            <a:lnTo>
                              <a:pt x="8952" y="10294"/>
                            </a:lnTo>
                            <a:lnTo>
                              <a:pt x="8896" y="10333"/>
                            </a:lnTo>
                            <a:lnTo>
                              <a:pt x="8840" y="10372"/>
                            </a:lnTo>
                            <a:lnTo>
                              <a:pt x="8783" y="10410"/>
                            </a:lnTo>
                            <a:lnTo>
                              <a:pt x="8726" y="10447"/>
                            </a:lnTo>
                            <a:lnTo>
                              <a:pt x="8668" y="10484"/>
                            </a:lnTo>
                            <a:lnTo>
                              <a:pt x="8610" y="10519"/>
                            </a:lnTo>
                            <a:lnTo>
                              <a:pt x="8551" y="10555"/>
                            </a:lnTo>
                            <a:lnTo>
                              <a:pt x="8492" y="10589"/>
                            </a:lnTo>
                            <a:lnTo>
                              <a:pt x="8433" y="10623"/>
                            </a:lnTo>
                            <a:lnTo>
                              <a:pt x="8373" y="10656"/>
                            </a:lnTo>
                            <a:lnTo>
                              <a:pt x="8312" y="10688"/>
                            </a:lnTo>
                            <a:lnTo>
                              <a:pt x="8251" y="10720"/>
                            </a:lnTo>
                            <a:lnTo>
                              <a:pt x="8190" y="10751"/>
                            </a:lnTo>
                            <a:lnTo>
                              <a:pt x="8128" y="10781"/>
                            </a:lnTo>
                            <a:lnTo>
                              <a:pt x="8066" y="10811"/>
                            </a:lnTo>
                            <a:lnTo>
                              <a:pt x="8003" y="10839"/>
                            </a:lnTo>
                            <a:lnTo>
                              <a:pt x="7940" y="10867"/>
                            </a:lnTo>
                            <a:lnTo>
                              <a:pt x="7877" y="10895"/>
                            </a:lnTo>
                            <a:lnTo>
                              <a:pt x="7813" y="10921"/>
                            </a:lnTo>
                            <a:lnTo>
                              <a:pt x="7749" y="10947"/>
                            </a:lnTo>
                            <a:lnTo>
                              <a:pt x="7685" y="10972"/>
                            </a:lnTo>
                            <a:lnTo>
                              <a:pt x="7620" y="10996"/>
                            </a:lnTo>
                            <a:lnTo>
                              <a:pt x="7554" y="11020"/>
                            </a:lnTo>
                            <a:lnTo>
                              <a:pt x="7489" y="11042"/>
                            </a:lnTo>
                            <a:lnTo>
                              <a:pt x="7423" y="11064"/>
                            </a:lnTo>
                            <a:lnTo>
                              <a:pt x="7356" y="11085"/>
                            </a:lnTo>
                            <a:lnTo>
                              <a:pt x="7289" y="11106"/>
                            </a:lnTo>
                            <a:lnTo>
                              <a:pt x="7222" y="11125"/>
                            </a:lnTo>
                            <a:lnTo>
                              <a:pt x="7155" y="11144"/>
                            </a:lnTo>
                            <a:lnTo>
                              <a:pt x="7087" y="11162"/>
                            </a:lnTo>
                            <a:lnTo>
                              <a:pt x="7019" y="11179"/>
                            </a:lnTo>
                            <a:lnTo>
                              <a:pt x="6951" y="11195"/>
                            </a:lnTo>
                            <a:lnTo>
                              <a:pt x="6882" y="11210"/>
                            </a:lnTo>
                            <a:lnTo>
                              <a:pt x="6813" y="11225"/>
                            </a:lnTo>
                            <a:lnTo>
                              <a:pt x="6744" y="11239"/>
                            </a:lnTo>
                            <a:lnTo>
                              <a:pt x="6674" y="11252"/>
                            </a:lnTo>
                            <a:lnTo>
                              <a:pt x="6604" y="11264"/>
                            </a:lnTo>
                            <a:lnTo>
                              <a:pt x="6534" y="11275"/>
                            </a:lnTo>
                            <a:lnTo>
                              <a:pt x="6463" y="11285"/>
                            </a:lnTo>
                            <a:lnTo>
                              <a:pt x="6392" y="11295"/>
                            </a:lnTo>
                            <a:lnTo>
                              <a:pt x="6321" y="11303"/>
                            </a:lnTo>
                            <a:lnTo>
                              <a:pt x="6250" y="11311"/>
                            </a:lnTo>
                            <a:lnTo>
                              <a:pt x="6178" y="11318"/>
                            </a:lnTo>
                            <a:lnTo>
                              <a:pt x="6107" y="11324"/>
                            </a:lnTo>
                            <a:lnTo>
                              <a:pt x="6034" y="11329"/>
                            </a:lnTo>
                            <a:lnTo>
                              <a:pt x="5962" y="11333"/>
                            </a:lnTo>
                            <a:lnTo>
                              <a:pt x="5890" y="11336"/>
                            </a:lnTo>
                            <a:lnTo>
                              <a:pt x="5817" y="11338"/>
                            </a:lnTo>
                            <a:lnTo>
                              <a:pt x="5744" y="11340"/>
                            </a:lnTo>
                            <a:lnTo>
                              <a:pt x="5669" y="11340"/>
                            </a:lnTo>
                            <a:lnTo>
                              <a:pt x="5669" y="11340"/>
                            </a:lnTo>
                            <a:lnTo>
                              <a:pt x="5596" y="11340"/>
                            </a:lnTo>
                            <a:lnTo>
                              <a:pt x="5523" y="11338"/>
                            </a:lnTo>
                            <a:lnTo>
                              <a:pt x="5450" y="11336"/>
                            </a:lnTo>
                            <a:lnTo>
                              <a:pt x="5378" y="11333"/>
                            </a:lnTo>
                            <a:lnTo>
                              <a:pt x="5305" y="11329"/>
                            </a:lnTo>
                            <a:lnTo>
                              <a:pt x="5233" y="11324"/>
                            </a:lnTo>
                            <a:lnTo>
                              <a:pt x="5161" y="11318"/>
                            </a:lnTo>
                            <a:lnTo>
                              <a:pt x="5090" y="11311"/>
                            </a:lnTo>
                            <a:lnTo>
                              <a:pt x="5018" y="11303"/>
                            </a:lnTo>
                            <a:lnTo>
                              <a:pt x="4947" y="11295"/>
                            </a:lnTo>
                            <a:lnTo>
                              <a:pt x="4876" y="11285"/>
                            </a:lnTo>
                            <a:lnTo>
                              <a:pt x="4806" y="11275"/>
                            </a:lnTo>
                            <a:lnTo>
                              <a:pt x="4736" y="11264"/>
                            </a:lnTo>
                            <a:lnTo>
                              <a:pt x="4666" y="11252"/>
                            </a:lnTo>
                            <a:lnTo>
                              <a:pt x="4596" y="11239"/>
                            </a:lnTo>
                            <a:lnTo>
                              <a:pt x="4527" y="11225"/>
                            </a:lnTo>
                            <a:lnTo>
                              <a:pt x="4458" y="11210"/>
                            </a:lnTo>
                            <a:lnTo>
                              <a:pt x="4389" y="11195"/>
                            </a:lnTo>
                            <a:lnTo>
                              <a:pt x="4320" y="11179"/>
                            </a:lnTo>
                            <a:lnTo>
                              <a:pt x="4252" y="11162"/>
                            </a:lnTo>
                            <a:lnTo>
                              <a:pt x="4185" y="11144"/>
                            </a:lnTo>
                            <a:lnTo>
                              <a:pt x="4117" y="11125"/>
                            </a:lnTo>
                            <a:lnTo>
                              <a:pt x="4050" y="11106"/>
                            </a:lnTo>
                            <a:lnTo>
                              <a:pt x="3983" y="11085"/>
                            </a:lnTo>
                            <a:lnTo>
                              <a:pt x="3917" y="11064"/>
                            </a:lnTo>
                            <a:lnTo>
                              <a:pt x="3851" y="11042"/>
                            </a:lnTo>
                            <a:lnTo>
                              <a:pt x="3785" y="11020"/>
                            </a:lnTo>
                            <a:lnTo>
                              <a:pt x="3720" y="10996"/>
                            </a:lnTo>
                            <a:lnTo>
                              <a:pt x="3655" y="10972"/>
                            </a:lnTo>
                            <a:lnTo>
                              <a:pt x="3590" y="10947"/>
                            </a:lnTo>
                            <a:lnTo>
                              <a:pt x="3526" y="10921"/>
                            </a:lnTo>
                            <a:lnTo>
                              <a:pt x="3462" y="10895"/>
                            </a:lnTo>
                            <a:lnTo>
                              <a:pt x="3399" y="10867"/>
                            </a:lnTo>
                            <a:lnTo>
                              <a:pt x="3336" y="10839"/>
                            </a:lnTo>
                            <a:lnTo>
                              <a:pt x="3273" y="10811"/>
                            </a:lnTo>
                            <a:lnTo>
                              <a:pt x="3211" y="10781"/>
                            </a:lnTo>
                            <a:lnTo>
                              <a:pt x="3150" y="10751"/>
                            </a:lnTo>
                            <a:lnTo>
                              <a:pt x="3088" y="10720"/>
                            </a:lnTo>
                            <a:lnTo>
                              <a:pt x="3027" y="10688"/>
                            </a:lnTo>
                            <a:lnTo>
                              <a:pt x="2967" y="10656"/>
                            </a:lnTo>
                            <a:lnTo>
                              <a:pt x="2907" y="10623"/>
                            </a:lnTo>
                            <a:lnTo>
                              <a:pt x="2847" y="10589"/>
                            </a:lnTo>
                            <a:lnTo>
                              <a:pt x="2788" y="10555"/>
                            </a:lnTo>
                            <a:lnTo>
                              <a:pt x="2729" y="10519"/>
                            </a:lnTo>
                            <a:lnTo>
                              <a:pt x="2671" y="10484"/>
                            </a:lnTo>
                            <a:lnTo>
                              <a:pt x="2613" y="10447"/>
                            </a:lnTo>
                            <a:lnTo>
                              <a:pt x="2556" y="10410"/>
                            </a:lnTo>
                            <a:lnTo>
                              <a:pt x="2499" y="10372"/>
                            </a:lnTo>
                            <a:lnTo>
                              <a:pt x="2443" y="10333"/>
                            </a:lnTo>
                            <a:lnTo>
                              <a:pt x="2387" y="10294"/>
                            </a:lnTo>
                            <a:lnTo>
                              <a:pt x="2332" y="10254"/>
                            </a:lnTo>
                            <a:lnTo>
                              <a:pt x="2277" y="10214"/>
                            </a:lnTo>
                            <a:lnTo>
                              <a:pt x="2223" y="10173"/>
                            </a:lnTo>
                            <a:lnTo>
                              <a:pt x="2169" y="10131"/>
                            </a:lnTo>
                            <a:lnTo>
                              <a:pt x="2116" y="10089"/>
                            </a:lnTo>
                            <a:lnTo>
                              <a:pt x="2063" y="10046"/>
                            </a:lnTo>
                            <a:lnTo>
                              <a:pt x="2011" y="10002"/>
                            </a:lnTo>
                            <a:lnTo>
                              <a:pt x="1959" y="9958"/>
                            </a:lnTo>
                            <a:lnTo>
                              <a:pt x="1908" y="9913"/>
                            </a:lnTo>
                            <a:lnTo>
                              <a:pt x="1857" y="9867"/>
                            </a:lnTo>
                            <a:lnTo>
                              <a:pt x="1807" y="9821"/>
                            </a:lnTo>
                            <a:lnTo>
                              <a:pt x="1758" y="9775"/>
                            </a:lnTo>
                            <a:lnTo>
                              <a:pt x="1709" y="9727"/>
                            </a:lnTo>
                            <a:lnTo>
                              <a:pt x="1660" y="9680"/>
                            </a:lnTo>
                            <a:lnTo>
                              <a:pt x="1613" y="9631"/>
                            </a:lnTo>
                            <a:lnTo>
                              <a:pt x="1565" y="9582"/>
                            </a:lnTo>
                            <a:lnTo>
                              <a:pt x="1519" y="9533"/>
                            </a:lnTo>
                            <a:lnTo>
                              <a:pt x="1473" y="9483"/>
                            </a:lnTo>
                            <a:lnTo>
                              <a:pt x="1427" y="9432"/>
                            </a:lnTo>
                            <a:lnTo>
                              <a:pt x="1382" y="9381"/>
                            </a:lnTo>
                            <a:lnTo>
                              <a:pt x="1338" y="9329"/>
                            </a:lnTo>
                            <a:lnTo>
                              <a:pt x="1294" y="9277"/>
                            </a:lnTo>
                            <a:lnTo>
                              <a:pt x="1251" y="9224"/>
                            </a:lnTo>
                            <a:lnTo>
                              <a:pt x="1209" y="9171"/>
                            </a:lnTo>
                            <a:lnTo>
                              <a:pt x="1167" y="9117"/>
                            </a:lnTo>
                            <a:lnTo>
                              <a:pt x="1126" y="9063"/>
                            </a:lnTo>
                            <a:lnTo>
                              <a:pt x="1086" y="9008"/>
                            </a:lnTo>
                            <a:lnTo>
                              <a:pt x="1046" y="8953"/>
                            </a:lnTo>
                            <a:lnTo>
                              <a:pt x="1007" y="8897"/>
                            </a:lnTo>
                            <a:lnTo>
                              <a:pt x="968" y="8840"/>
                            </a:lnTo>
                            <a:lnTo>
                              <a:pt x="930" y="8784"/>
                            </a:lnTo>
                            <a:lnTo>
                              <a:pt x="893" y="8726"/>
                            </a:lnTo>
                            <a:lnTo>
                              <a:pt x="856" y="8669"/>
                            </a:lnTo>
                            <a:lnTo>
                              <a:pt x="821" y="8610"/>
                            </a:lnTo>
                            <a:lnTo>
                              <a:pt x="785" y="8552"/>
                            </a:lnTo>
                            <a:lnTo>
                              <a:pt x="751" y="8493"/>
                            </a:lnTo>
                            <a:lnTo>
                              <a:pt x="717" y="8433"/>
                            </a:lnTo>
                            <a:lnTo>
                              <a:pt x="684" y="8373"/>
                            </a:lnTo>
                            <a:lnTo>
                              <a:pt x="652" y="8313"/>
                            </a:lnTo>
                            <a:lnTo>
                              <a:pt x="620" y="8252"/>
                            </a:lnTo>
                            <a:lnTo>
                              <a:pt x="589" y="8190"/>
                            </a:lnTo>
                            <a:lnTo>
                              <a:pt x="559" y="8129"/>
                            </a:lnTo>
                            <a:lnTo>
                              <a:pt x="529" y="8066"/>
                            </a:lnTo>
                            <a:lnTo>
                              <a:pt x="501" y="8004"/>
                            </a:lnTo>
                            <a:lnTo>
                              <a:pt x="473" y="7941"/>
                            </a:lnTo>
                            <a:lnTo>
                              <a:pt x="445" y="7877"/>
                            </a:lnTo>
                            <a:lnTo>
                              <a:pt x="419" y="7814"/>
                            </a:lnTo>
                            <a:lnTo>
                              <a:pt x="393" y="7749"/>
                            </a:lnTo>
                            <a:lnTo>
                              <a:pt x="368" y="7685"/>
                            </a:lnTo>
                            <a:lnTo>
                              <a:pt x="344" y="7620"/>
                            </a:lnTo>
                            <a:lnTo>
                              <a:pt x="320" y="7555"/>
                            </a:lnTo>
                            <a:lnTo>
                              <a:pt x="298" y="7489"/>
                            </a:lnTo>
                            <a:lnTo>
                              <a:pt x="276" y="7423"/>
                            </a:lnTo>
                            <a:lnTo>
                              <a:pt x="255" y="7357"/>
                            </a:lnTo>
                            <a:lnTo>
                              <a:pt x="234" y="7290"/>
                            </a:lnTo>
                            <a:lnTo>
                              <a:pt x="215" y="7223"/>
                            </a:lnTo>
                            <a:lnTo>
                              <a:pt x="196" y="7155"/>
                            </a:lnTo>
                            <a:lnTo>
                              <a:pt x="178" y="7088"/>
                            </a:lnTo>
                            <a:lnTo>
                              <a:pt x="161" y="7019"/>
                            </a:lnTo>
                            <a:lnTo>
                              <a:pt x="145" y="6951"/>
                            </a:lnTo>
                            <a:lnTo>
                              <a:pt x="130" y="6882"/>
                            </a:lnTo>
                            <a:lnTo>
                              <a:pt x="115" y="6813"/>
                            </a:lnTo>
                            <a:lnTo>
                              <a:pt x="101" y="6744"/>
                            </a:lnTo>
                            <a:lnTo>
                              <a:pt x="88" y="6674"/>
                            </a:lnTo>
                            <a:lnTo>
                              <a:pt x="76" y="6604"/>
                            </a:lnTo>
                            <a:lnTo>
                              <a:pt x="65" y="6534"/>
                            </a:lnTo>
                            <a:lnTo>
                              <a:pt x="55" y="6464"/>
                            </a:lnTo>
                            <a:lnTo>
                              <a:pt x="45" y="6393"/>
                            </a:lnTo>
                            <a:lnTo>
                              <a:pt x="37" y="6322"/>
                            </a:lnTo>
                            <a:lnTo>
                              <a:pt x="29" y="6250"/>
                            </a:lnTo>
                            <a:lnTo>
                              <a:pt x="22" y="6179"/>
                            </a:lnTo>
                            <a:lnTo>
                              <a:pt x="16" y="6107"/>
                            </a:lnTo>
                            <a:lnTo>
                              <a:pt x="11" y="6035"/>
                            </a:lnTo>
                            <a:lnTo>
                              <a:pt x="7" y="5962"/>
                            </a:lnTo>
                            <a:lnTo>
                              <a:pt x="4" y="5890"/>
                            </a:lnTo>
                            <a:lnTo>
                              <a:pt x="2" y="5817"/>
                            </a:lnTo>
                            <a:lnTo>
                              <a:pt x="0" y="5744"/>
                            </a:lnTo>
                            <a:lnTo>
                              <a:pt x="0" y="5671"/>
                            </a:lnTo>
                            <a:lnTo>
                              <a:pt x="0" y="5671"/>
                            </a:lnTo>
                            <a:lnTo>
                              <a:pt x="0" y="5596"/>
                            </a:lnTo>
                            <a:lnTo>
                              <a:pt x="2" y="5523"/>
                            </a:lnTo>
                            <a:lnTo>
                              <a:pt x="4" y="5451"/>
                            </a:lnTo>
                            <a:lnTo>
                              <a:pt x="7" y="5378"/>
                            </a:lnTo>
                            <a:lnTo>
                              <a:pt x="11" y="5306"/>
                            </a:lnTo>
                            <a:lnTo>
                              <a:pt x="16" y="5233"/>
                            </a:lnTo>
                            <a:lnTo>
                              <a:pt x="22" y="5162"/>
                            </a:lnTo>
                            <a:lnTo>
                              <a:pt x="29" y="5090"/>
                            </a:lnTo>
                            <a:lnTo>
                              <a:pt x="37" y="5019"/>
                            </a:lnTo>
                            <a:lnTo>
                              <a:pt x="45" y="4948"/>
                            </a:lnTo>
                            <a:lnTo>
                              <a:pt x="55" y="4877"/>
                            </a:lnTo>
                            <a:lnTo>
                              <a:pt x="65" y="4806"/>
                            </a:lnTo>
                            <a:lnTo>
                              <a:pt x="76" y="4736"/>
                            </a:lnTo>
                            <a:lnTo>
                              <a:pt x="88" y="4666"/>
                            </a:lnTo>
                            <a:lnTo>
                              <a:pt x="101" y="4596"/>
                            </a:lnTo>
                            <a:lnTo>
                              <a:pt x="115" y="4527"/>
                            </a:lnTo>
                            <a:lnTo>
                              <a:pt x="130" y="4458"/>
                            </a:lnTo>
                            <a:lnTo>
                              <a:pt x="145" y="4389"/>
                            </a:lnTo>
                            <a:lnTo>
                              <a:pt x="161" y="4321"/>
                            </a:lnTo>
                            <a:lnTo>
                              <a:pt x="178" y="4253"/>
                            </a:lnTo>
                            <a:lnTo>
                              <a:pt x="196" y="4185"/>
                            </a:lnTo>
                            <a:lnTo>
                              <a:pt x="215" y="4118"/>
                            </a:lnTo>
                            <a:lnTo>
                              <a:pt x="234" y="4050"/>
                            </a:lnTo>
                            <a:lnTo>
                              <a:pt x="255" y="3984"/>
                            </a:lnTo>
                            <a:lnTo>
                              <a:pt x="276" y="3917"/>
                            </a:lnTo>
                            <a:lnTo>
                              <a:pt x="298" y="3851"/>
                            </a:lnTo>
                            <a:lnTo>
                              <a:pt x="320" y="3786"/>
                            </a:lnTo>
                            <a:lnTo>
                              <a:pt x="344" y="3720"/>
                            </a:lnTo>
                            <a:lnTo>
                              <a:pt x="368" y="3655"/>
                            </a:lnTo>
                            <a:lnTo>
                              <a:pt x="393" y="3591"/>
                            </a:lnTo>
                            <a:lnTo>
                              <a:pt x="419" y="3527"/>
                            </a:lnTo>
                            <a:lnTo>
                              <a:pt x="445" y="3463"/>
                            </a:lnTo>
                            <a:lnTo>
                              <a:pt x="473" y="3399"/>
                            </a:lnTo>
                            <a:lnTo>
                              <a:pt x="501" y="3336"/>
                            </a:lnTo>
                            <a:lnTo>
                              <a:pt x="529" y="3274"/>
                            </a:lnTo>
                            <a:lnTo>
                              <a:pt x="559" y="3212"/>
                            </a:lnTo>
                            <a:lnTo>
                              <a:pt x="589" y="3150"/>
                            </a:lnTo>
                            <a:lnTo>
                              <a:pt x="620" y="3089"/>
                            </a:lnTo>
                            <a:lnTo>
                              <a:pt x="652" y="3028"/>
                            </a:lnTo>
                            <a:lnTo>
                              <a:pt x="684" y="2967"/>
                            </a:lnTo>
                            <a:lnTo>
                              <a:pt x="717" y="2907"/>
                            </a:lnTo>
                            <a:lnTo>
                              <a:pt x="751" y="2848"/>
                            </a:lnTo>
                            <a:lnTo>
                              <a:pt x="785" y="2788"/>
                            </a:lnTo>
                            <a:lnTo>
                              <a:pt x="821" y="2730"/>
                            </a:lnTo>
                            <a:lnTo>
                              <a:pt x="856" y="2672"/>
                            </a:lnTo>
                            <a:lnTo>
                              <a:pt x="893" y="2614"/>
                            </a:lnTo>
                            <a:lnTo>
                              <a:pt x="930" y="2557"/>
                            </a:lnTo>
                            <a:lnTo>
                              <a:pt x="968" y="2500"/>
                            </a:lnTo>
                            <a:lnTo>
                              <a:pt x="1007" y="2443"/>
                            </a:lnTo>
                            <a:lnTo>
                              <a:pt x="1046" y="2388"/>
                            </a:lnTo>
                            <a:lnTo>
                              <a:pt x="1086" y="2332"/>
                            </a:lnTo>
                            <a:lnTo>
                              <a:pt x="1126" y="2277"/>
                            </a:lnTo>
                            <a:lnTo>
                              <a:pt x="1167" y="2223"/>
                            </a:lnTo>
                            <a:lnTo>
                              <a:pt x="1209" y="2169"/>
                            </a:lnTo>
                            <a:lnTo>
                              <a:pt x="1251" y="2116"/>
                            </a:lnTo>
                            <a:lnTo>
                              <a:pt x="1294" y="2063"/>
                            </a:lnTo>
                            <a:lnTo>
                              <a:pt x="1338" y="2011"/>
                            </a:lnTo>
                            <a:lnTo>
                              <a:pt x="1382" y="1959"/>
                            </a:lnTo>
                            <a:lnTo>
                              <a:pt x="1427" y="1908"/>
                            </a:lnTo>
                            <a:lnTo>
                              <a:pt x="1473" y="1858"/>
                            </a:lnTo>
                            <a:lnTo>
                              <a:pt x="1519" y="1807"/>
                            </a:lnTo>
                            <a:lnTo>
                              <a:pt x="1565" y="1758"/>
                            </a:lnTo>
                            <a:lnTo>
                              <a:pt x="1613" y="1709"/>
                            </a:lnTo>
                            <a:lnTo>
                              <a:pt x="1660" y="1661"/>
                            </a:lnTo>
                            <a:lnTo>
                              <a:pt x="1709" y="1613"/>
                            </a:lnTo>
                            <a:lnTo>
                              <a:pt x="1758" y="1566"/>
                            </a:lnTo>
                            <a:lnTo>
                              <a:pt x="1807" y="1519"/>
                            </a:lnTo>
                            <a:lnTo>
                              <a:pt x="1857" y="1473"/>
                            </a:lnTo>
                            <a:lnTo>
                              <a:pt x="1908" y="1427"/>
                            </a:lnTo>
                            <a:lnTo>
                              <a:pt x="1959" y="1383"/>
                            </a:lnTo>
                            <a:lnTo>
                              <a:pt x="2011" y="1338"/>
                            </a:lnTo>
                            <a:lnTo>
                              <a:pt x="2063" y="1295"/>
                            </a:lnTo>
                            <a:lnTo>
                              <a:pt x="2116" y="1252"/>
                            </a:lnTo>
                            <a:lnTo>
                              <a:pt x="2169" y="1209"/>
                            </a:lnTo>
                            <a:lnTo>
                              <a:pt x="2223" y="1168"/>
                            </a:lnTo>
                            <a:lnTo>
                              <a:pt x="2277" y="1126"/>
                            </a:lnTo>
                            <a:lnTo>
                              <a:pt x="2332" y="1086"/>
                            </a:lnTo>
                            <a:lnTo>
                              <a:pt x="2387" y="1046"/>
                            </a:lnTo>
                            <a:lnTo>
                              <a:pt x="2443" y="1007"/>
                            </a:lnTo>
                            <a:lnTo>
                              <a:pt x="2499" y="968"/>
                            </a:lnTo>
                            <a:lnTo>
                              <a:pt x="2556" y="930"/>
                            </a:lnTo>
                            <a:lnTo>
                              <a:pt x="2613" y="893"/>
                            </a:lnTo>
                            <a:lnTo>
                              <a:pt x="2671" y="857"/>
                            </a:lnTo>
                            <a:lnTo>
                              <a:pt x="2729" y="821"/>
                            </a:lnTo>
                            <a:lnTo>
                              <a:pt x="2788" y="786"/>
                            </a:lnTo>
                            <a:lnTo>
                              <a:pt x="2847" y="751"/>
                            </a:lnTo>
                            <a:lnTo>
                              <a:pt x="2907" y="717"/>
                            </a:lnTo>
                            <a:lnTo>
                              <a:pt x="2967" y="684"/>
                            </a:lnTo>
                            <a:lnTo>
                              <a:pt x="3027" y="652"/>
                            </a:lnTo>
                            <a:lnTo>
                              <a:pt x="3088" y="620"/>
                            </a:lnTo>
                            <a:lnTo>
                              <a:pt x="3150" y="589"/>
                            </a:lnTo>
                            <a:lnTo>
                              <a:pt x="3211" y="559"/>
                            </a:lnTo>
                            <a:lnTo>
                              <a:pt x="3273" y="530"/>
                            </a:lnTo>
                            <a:lnTo>
                              <a:pt x="3336" y="501"/>
                            </a:lnTo>
                            <a:lnTo>
                              <a:pt x="3399" y="473"/>
                            </a:lnTo>
                            <a:lnTo>
                              <a:pt x="3462" y="446"/>
                            </a:lnTo>
                            <a:lnTo>
                              <a:pt x="3526" y="419"/>
                            </a:lnTo>
                            <a:lnTo>
                              <a:pt x="3590" y="393"/>
                            </a:lnTo>
                            <a:lnTo>
                              <a:pt x="3655" y="368"/>
                            </a:lnTo>
                            <a:lnTo>
                              <a:pt x="3720" y="344"/>
                            </a:lnTo>
                            <a:lnTo>
                              <a:pt x="3785" y="321"/>
                            </a:lnTo>
                            <a:lnTo>
                              <a:pt x="3851" y="298"/>
                            </a:lnTo>
                            <a:lnTo>
                              <a:pt x="3917" y="276"/>
                            </a:lnTo>
                            <a:lnTo>
                              <a:pt x="3983" y="255"/>
                            </a:lnTo>
                            <a:lnTo>
                              <a:pt x="4050" y="235"/>
                            </a:lnTo>
                            <a:lnTo>
                              <a:pt x="4117" y="215"/>
                            </a:lnTo>
                            <a:lnTo>
                              <a:pt x="4185" y="197"/>
                            </a:lnTo>
                            <a:lnTo>
                              <a:pt x="4252" y="179"/>
                            </a:lnTo>
                            <a:lnTo>
                              <a:pt x="4320" y="162"/>
                            </a:lnTo>
                            <a:lnTo>
                              <a:pt x="4389" y="145"/>
                            </a:lnTo>
                            <a:lnTo>
                              <a:pt x="4458" y="130"/>
                            </a:lnTo>
                            <a:lnTo>
                              <a:pt x="4527" y="115"/>
                            </a:lnTo>
                            <a:lnTo>
                              <a:pt x="4596" y="102"/>
                            </a:lnTo>
                            <a:lnTo>
                              <a:pt x="4666" y="89"/>
                            </a:lnTo>
                            <a:lnTo>
                              <a:pt x="4736" y="77"/>
                            </a:lnTo>
                            <a:lnTo>
                              <a:pt x="4806" y="65"/>
                            </a:lnTo>
                            <a:lnTo>
                              <a:pt x="4876" y="55"/>
                            </a:lnTo>
                            <a:lnTo>
                              <a:pt x="4947" y="46"/>
                            </a:lnTo>
                            <a:lnTo>
                              <a:pt x="5018" y="37"/>
                            </a:lnTo>
                            <a:lnTo>
                              <a:pt x="5090" y="29"/>
                            </a:lnTo>
                            <a:lnTo>
                              <a:pt x="5161" y="23"/>
                            </a:lnTo>
                            <a:lnTo>
                              <a:pt x="5233" y="17"/>
                            </a:lnTo>
                            <a:lnTo>
                              <a:pt x="5305" y="12"/>
                            </a:lnTo>
                            <a:lnTo>
                              <a:pt x="5378" y="8"/>
                            </a:lnTo>
                            <a:lnTo>
                              <a:pt x="5450" y="4"/>
                            </a:lnTo>
                            <a:lnTo>
                              <a:pt x="5523" y="2"/>
                            </a:lnTo>
                            <a:lnTo>
                              <a:pt x="5596" y="1"/>
                            </a:lnTo>
                            <a:lnTo>
                              <a:pt x="5669" y="0"/>
                            </a:lnTo>
                            <a:lnTo>
                              <a:pt x="5669" y="0"/>
                            </a:lnTo>
                            <a:lnTo>
                              <a:pt x="5744" y="1"/>
                            </a:lnTo>
                            <a:lnTo>
                              <a:pt x="5817" y="2"/>
                            </a:lnTo>
                            <a:lnTo>
                              <a:pt x="5890" y="4"/>
                            </a:lnTo>
                            <a:lnTo>
                              <a:pt x="5962" y="8"/>
                            </a:lnTo>
                            <a:lnTo>
                              <a:pt x="6034" y="12"/>
                            </a:lnTo>
                            <a:lnTo>
                              <a:pt x="6107" y="17"/>
                            </a:lnTo>
                            <a:lnTo>
                              <a:pt x="6178" y="23"/>
                            </a:lnTo>
                            <a:lnTo>
                              <a:pt x="6250" y="29"/>
                            </a:lnTo>
                            <a:lnTo>
                              <a:pt x="6321" y="37"/>
                            </a:lnTo>
                            <a:lnTo>
                              <a:pt x="6392" y="46"/>
                            </a:lnTo>
                            <a:lnTo>
                              <a:pt x="6463" y="55"/>
                            </a:lnTo>
                            <a:lnTo>
                              <a:pt x="6534" y="65"/>
                            </a:lnTo>
                            <a:lnTo>
                              <a:pt x="6604" y="77"/>
                            </a:lnTo>
                            <a:lnTo>
                              <a:pt x="6674" y="89"/>
                            </a:lnTo>
                            <a:lnTo>
                              <a:pt x="6744" y="102"/>
                            </a:lnTo>
                            <a:lnTo>
                              <a:pt x="6813" y="115"/>
                            </a:lnTo>
                            <a:lnTo>
                              <a:pt x="6882" y="130"/>
                            </a:lnTo>
                            <a:lnTo>
                              <a:pt x="6951" y="145"/>
                            </a:lnTo>
                            <a:lnTo>
                              <a:pt x="7019" y="162"/>
                            </a:lnTo>
                            <a:lnTo>
                              <a:pt x="7087" y="179"/>
                            </a:lnTo>
                            <a:lnTo>
                              <a:pt x="7155" y="197"/>
                            </a:lnTo>
                            <a:lnTo>
                              <a:pt x="7222" y="215"/>
                            </a:lnTo>
                            <a:lnTo>
                              <a:pt x="7289" y="235"/>
                            </a:lnTo>
                            <a:lnTo>
                              <a:pt x="7356" y="255"/>
                            </a:lnTo>
                            <a:lnTo>
                              <a:pt x="7423" y="276"/>
                            </a:lnTo>
                            <a:lnTo>
                              <a:pt x="7489" y="298"/>
                            </a:lnTo>
                            <a:lnTo>
                              <a:pt x="7554" y="321"/>
                            </a:lnTo>
                            <a:lnTo>
                              <a:pt x="7620" y="344"/>
                            </a:lnTo>
                            <a:lnTo>
                              <a:pt x="7685" y="368"/>
                            </a:lnTo>
                            <a:lnTo>
                              <a:pt x="7749" y="393"/>
                            </a:lnTo>
                            <a:lnTo>
                              <a:pt x="7813" y="419"/>
                            </a:lnTo>
                            <a:lnTo>
                              <a:pt x="7877" y="446"/>
                            </a:lnTo>
                            <a:lnTo>
                              <a:pt x="7940" y="473"/>
                            </a:lnTo>
                            <a:lnTo>
                              <a:pt x="8003" y="501"/>
                            </a:lnTo>
                            <a:lnTo>
                              <a:pt x="8066" y="530"/>
                            </a:lnTo>
                            <a:lnTo>
                              <a:pt x="8128" y="559"/>
                            </a:lnTo>
                            <a:lnTo>
                              <a:pt x="8190" y="589"/>
                            </a:lnTo>
                            <a:lnTo>
                              <a:pt x="8251" y="620"/>
                            </a:lnTo>
                            <a:lnTo>
                              <a:pt x="8312" y="652"/>
                            </a:lnTo>
                            <a:lnTo>
                              <a:pt x="8373" y="684"/>
                            </a:lnTo>
                            <a:lnTo>
                              <a:pt x="8433" y="717"/>
                            </a:lnTo>
                            <a:lnTo>
                              <a:pt x="8492" y="751"/>
                            </a:lnTo>
                            <a:lnTo>
                              <a:pt x="8551" y="786"/>
                            </a:lnTo>
                            <a:lnTo>
                              <a:pt x="8610" y="821"/>
                            </a:lnTo>
                            <a:lnTo>
                              <a:pt x="8668" y="857"/>
                            </a:lnTo>
                            <a:lnTo>
                              <a:pt x="8726" y="893"/>
                            </a:lnTo>
                            <a:lnTo>
                              <a:pt x="8783" y="930"/>
                            </a:lnTo>
                            <a:lnTo>
                              <a:pt x="8840" y="968"/>
                            </a:lnTo>
                            <a:lnTo>
                              <a:pt x="8896" y="1007"/>
                            </a:lnTo>
                            <a:lnTo>
                              <a:pt x="8952" y="1046"/>
                            </a:lnTo>
                            <a:lnTo>
                              <a:pt x="9008" y="1086"/>
                            </a:lnTo>
                            <a:lnTo>
                              <a:pt x="9062" y="1126"/>
                            </a:lnTo>
                            <a:lnTo>
                              <a:pt x="9117" y="1168"/>
                            </a:lnTo>
                            <a:lnTo>
                              <a:pt x="9170" y="1209"/>
                            </a:lnTo>
                            <a:lnTo>
                              <a:pt x="9224" y="1252"/>
                            </a:lnTo>
                            <a:lnTo>
                              <a:pt x="9277" y="1295"/>
                            </a:lnTo>
                            <a:lnTo>
                              <a:pt x="9329" y="1338"/>
                            </a:lnTo>
                            <a:lnTo>
                              <a:pt x="9380" y="1383"/>
                            </a:lnTo>
                            <a:lnTo>
                              <a:pt x="9432" y="1427"/>
                            </a:lnTo>
                            <a:lnTo>
                              <a:pt x="9482" y="1473"/>
                            </a:lnTo>
                            <a:lnTo>
                              <a:pt x="9532" y="1519"/>
                            </a:lnTo>
                            <a:lnTo>
                              <a:pt x="9582" y="1566"/>
                            </a:lnTo>
                            <a:lnTo>
                              <a:pt x="9631" y="1613"/>
                            </a:lnTo>
                            <a:lnTo>
                              <a:pt x="9679" y="1661"/>
                            </a:lnTo>
                            <a:lnTo>
                              <a:pt x="9727" y="1709"/>
                            </a:lnTo>
                            <a:lnTo>
                              <a:pt x="9774" y="1758"/>
                            </a:lnTo>
                            <a:lnTo>
                              <a:pt x="9821" y="1807"/>
                            </a:lnTo>
                            <a:lnTo>
                              <a:pt x="9867" y="1858"/>
                            </a:lnTo>
                            <a:lnTo>
                              <a:pt x="9912" y="1908"/>
                            </a:lnTo>
                            <a:lnTo>
                              <a:pt x="9957" y="1959"/>
                            </a:lnTo>
                            <a:lnTo>
                              <a:pt x="10001" y="2011"/>
                            </a:lnTo>
                            <a:lnTo>
                              <a:pt x="10045" y="2063"/>
                            </a:lnTo>
                            <a:lnTo>
                              <a:pt x="10088" y="2116"/>
                            </a:lnTo>
                            <a:lnTo>
                              <a:pt x="10130" y="2169"/>
                            </a:lnTo>
                            <a:lnTo>
                              <a:pt x="10172" y="2223"/>
                            </a:lnTo>
                            <a:lnTo>
                              <a:pt x="10213" y="2277"/>
                            </a:lnTo>
                            <a:lnTo>
                              <a:pt x="10254" y="2332"/>
                            </a:lnTo>
                            <a:lnTo>
                              <a:pt x="10294" y="2388"/>
                            </a:lnTo>
                            <a:lnTo>
                              <a:pt x="10333" y="2443"/>
                            </a:lnTo>
                            <a:lnTo>
                              <a:pt x="10371" y="2500"/>
                            </a:lnTo>
                            <a:lnTo>
                              <a:pt x="10409" y="2557"/>
                            </a:lnTo>
                            <a:lnTo>
                              <a:pt x="10446" y="2614"/>
                            </a:lnTo>
                            <a:lnTo>
                              <a:pt x="10483" y="2672"/>
                            </a:lnTo>
                            <a:lnTo>
                              <a:pt x="10519" y="2730"/>
                            </a:lnTo>
                            <a:lnTo>
                              <a:pt x="10554" y="2788"/>
                            </a:lnTo>
                            <a:lnTo>
                              <a:pt x="10588" y="2848"/>
                            </a:lnTo>
                            <a:lnTo>
                              <a:pt x="10622" y="2907"/>
                            </a:lnTo>
                            <a:lnTo>
                              <a:pt x="10655" y="2967"/>
                            </a:lnTo>
                            <a:lnTo>
                              <a:pt x="10688" y="3028"/>
                            </a:lnTo>
                            <a:lnTo>
                              <a:pt x="10719" y="3089"/>
                            </a:lnTo>
                            <a:lnTo>
                              <a:pt x="10750" y="3150"/>
                            </a:lnTo>
                            <a:lnTo>
                              <a:pt x="10780" y="3212"/>
                            </a:lnTo>
                            <a:lnTo>
                              <a:pt x="10810" y="3274"/>
                            </a:lnTo>
                            <a:lnTo>
                              <a:pt x="10839" y="3336"/>
                            </a:lnTo>
                            <a:lnTo>
                              <a:pt x="10867" y="3399"/>
                            </a:lnTo>
                            <a:lnTo>
                              <a:pt x="10894" y="3463"/>
                            </a:lnTo>
                            <a:lnTo>
                              <a:pt x="10921" y="3527"/>
                            </a:lnTo>
                            <a:lnTo>
                              <a:pt x="10946" y="3591"/>
                            </a:lnTo>
                            <a:lnTo>
                              <a:pt x="10971" y="3655"/>
                            </a:lnTo>
                            <a:lnTo>
                              <a:pt x="10996" y="3720"/>
                            </a:lnTo>
                            <a:lnTo>
                              <a:pt x="11019" y="3786"/>
                            </a:lnTo>
                            <a:lnTo>
                              <a:pt x="11042" y="3851"/>
                            </a:lnTo>
                            <a:lnTo>
                              <a:pt x="11064" y="3917"/>
                            </a:lnTo>
                            <a:lnTo>
                              <a:pt x="11085" y="3984"/>
                            </a:lnTo>
                            <a:lnTo>
                              <a:pt x="11105" y="4050"/>
                            </a:lnTo>
                            <a:lnTo>
                              <a:pt x="11124" y="4118"/>
                            </a:lnTo>
                            <a:lnTo>
                              <a:pt x="11143" y="4185"/>
                            </a:lnTo>
                            <a:lnTo>
                              <a:pt x="11161" y="4253"/>
                            </a:lnTo>
                            <a:lnTo>
                              <a:pt x="11178" y="4321"/>
                            </a:lnTo>
                            <a:lnTo>
                              <a:pt x="11194" y="4389"/>
                            </a:lnTo>
                            <a:lnTo>
                              <a:pt x="11210" y="4458"/>
                            </a:lnTo>
                            <a:lnTo>
                              <a:pt x="11224" y="4527"/>
                            </a:lnTo>
                            <a:lnTo>
                              <a:pt x="11238" y="4596"/>
                            </a:lnTo>
                            <a:lnTo>
                              <a:pt x="11251" y="4666"/>
                            </a:lnTo>
                            <a:lnTo>
                              <a:pt x="11263" y="4736"/>
                            </a:lnTo>
                            <a:lnTo>
                              <a:pt x="11274" y="4806"/>
                            </a:lnTo>
                            <a:lnTo>
                              <a:pt x="11285" y="4877"/>
                            </a:lnTo>
                            <a:lnTo>
                              <a:pt x="11294" y="4948"/>
                            </a:lnTo>
                            <a:lnTo>
                              <a:pt x="11303" y="5019"/>
                            </a:lnTo>
                            <a:lnTo>
                              <a:pt x="11310" y="5090"/>
                            </a:lnTo>
                            <a:lnTo>
                              <a:pt x="11317" y="5162"/>
                            </a:lnTo>
                            <a:lnTo>
                              <a:pt x="11323" y="5233"/>
                            </a:lnTo>
                            <a:lnTo>
                              <a:pt x="11328" y="5306"/>
                            </a:lnTo>
                            <a:lnTo>
                              <a:pt x="11332" y="5378"/>
                            </a:lnTo>
                            <a:lnTo>
                              <a:pt x="11335" y="5451"/>
                            </a:lnTo>
                            <a:lnTo>
                              <a:pt x="11338" y="5523"/>
                            </a:lnTo>
                            <a:lnTo>
                              <a:pt x="11339" y="5596"/>
                            </a:lnTo>
                            <a:lnTo>
                              <a:pt x="11340" y="5671"/>
                            </a:lnTo>
                          </a:path>
                        </a:pathLst>
                      </a:custGeom>
                      <a:noFill/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  <p:sp>
                    <p:nvSpPr>
                      <p:cNvPr id="311" name="Freeform 8">
                        <a:extLst>
                          <a:ext uri="{FF2B5EF4-FFF2-40B4-BE49-F238E27FC236}">
                            <a16:creationId xmlns:a16="http://schemas.microsoft.com/office/drawing/2014/main" id="{9192DBDE-C8F3-4D17-8D1A-08A561CCB2E0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gray">
                      <a:xfrm>
                        <a:off x="1510" y="1566"/>
                        <a:ext cx="1615" cy="165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319" y="2213"/>
                          </a:cxn>
                          <a:cxn ang="0">
                            <a:pos x="4796" y="1894"/>
                          </a:cxn>
                          <a:cxn ang="0">
                            <a:pos x="4876" y="1759"/>
                          </a:cxn>
                          <a:cxn ang="0">
                            <a:pos x="4526" y="1075"/>
                          </a:cxn>
                          <a:cxn ang="0">
                            <a:pos x="4005" y="1264"/>
                          </a:cxn>
                          <a:cxn ang="0">
                            <a:pos x="3815" y="1225"/>
                          </a:cxn>
                          <a:cxn ang="0">
                            <a:pos x="3367" y="807"/>
                          </a:cxn>
                          <a:cxn ang="0">
                            <a:pos x="3456" y="245"/>
                          </a:cxn>
                          <a:cxn ang="0">
                            <a:pos x="2745" y="3"/>
                          </a:cxn>
                          <a:cxn ang="0">
                            <a:pos x="2590" y="70"/>
                          </a:cxn>
                          <a:cxn ang="0">
                            <a:pos x="2416" y="615"/>
                          </a:cxn>
                          <a:cxn ang="0">
                            <a:pos x="1822" y="774"/>
                          </a:cxn>
                          <a:cxn ang="0">
                            <a:pos x="1644" y="700"/>
                          </a:cxn>
                          <a:cxn ang="0">
                            <a:pos x="1252" y="324"/>
                          </a:cxn>
                          <a:cxn ang="0">
                            <a:pos x="653" y="807"/>
                          </a:cxn>
                          <a:cxn ang="0">
                            <a:pos x="942" y="1274"/>
                          </a:cxn>
                          <a:cxn ang="0">
                            <a:pos x="960" y="1467"/>
                          </a:cxn>
                          <a:cxn ang="0">
                            <a:pos x="660" y="2003"/>
                          </a:cxn>
                          <a:cxn ang="0">
                            <a:pos x="90" y="2042"/>
                          </a:cxn>
                          <a:cxn ang="0">
                            <a:pos x="0" y="2797"/>
                          </a:cxn>
                          <a:cxn ang="0">
                            <a:pos x="86" y="2927"/>
                          </a:cxn>
                          <a:cxn ang="0">
                            <a:pos x="656" y="2972"/>
                          </a:cxn>
                          <a:cxn ang="0">
                            <a:pos x="952" y="3509"/>
                          </a:cxn>
                          <a:cxn ang="0">
                            <a:pos x="932" y="3702"/>
                          </a:cxn>
                          <a:cxn ang="0">
                            <a:pos x="640" y="4167"/>
                          </a:cxn>
                          <a:cxn ang="0">
                            <a:pos x="1235" y="4655"/>
                          </a:cxn>
                          <a:cxn ang="0">
                            <a:pos x="1630" y="4283"/>
                          </a:cxn>
                          <a:cxn ang="0">
                            <a:pos x="1809" y="4210"/>
                          </a:cxn>
                          <a:cxn ang="0">
                            <a:pos x="2403" y="4373"/>
                          </a:cxn>
                          <a:cxn ang="0">
                            <a:pos x="2574" y="4919"/>
                          </a:cxn>
                          <a:cxn ang="0">
                            <a:pos x="2728" y="4987"/>
                          </a:cxn>
                          <a:cxn ang="0">
                            <a:pos x="3441" y="4750"/>
                          </a:cxn>
                          <a:cxn ang="0">
                            <a:pos x="3356" y="4187"/>
                          </a:cxn>
                          <a:cxn ang="0">
                            <a:pos x="3806" y="3773"/>
                          </a:cxn>
                          <a:cxn ang="0">
                            <a:pos x="3997" y="3735"/>
                          </a:cxn>
                          <a:cxn ang="0">
                            <a:pos x="4516" y="3927"/>
                          </a:cxn>
                          <a:cxn ang="0">
                            <a:pos x="4871" y="3245"/>
                          </a:cxn>
                          <a:cxn ang="0">
                            <a:pos x="4421" y="2930"/>
                          </a:cxn>
                          <a:cxn ang="0">
                            <a:pos x="4317" y="2787"/>
                          </a:cxn>
                          <a:cxn ang="0">
                            <a:pos x="3788" y="2500"/>
                          </a:cxn>
                          <a:cxn ang="0">
                            <a:pos x="3728" y="2887"/>
                          </a:cxn>
                          <a:cxn ang="0">
                            <a:pos x="3545" y="3252"/>
                          </a:cxn>
                          <a:cxn ang="0">
                            <a:pos x="3261" y="3541"/>
                          </a:cxn>
                          <a:cxn ang="0">
                            <a:pos x="2899" y="3730"/>
                          </a:cxn>
                          <a:cxn ang="0">
                            <a:pos x="2481" y="3796"/>
                          </a:cxn>
                          <a:cxn ang="0">
                            <a:pos x="2093" y="3736"/>
                          </a:cxn>
                          <a:cxn ang="0">
                            <a:pos x="1728" y="3553"/>
                          </a:cxn>
                          <a:cxn ang="0">
                            <a:pos x="1439" y="3269"/>
                          </a:cxn>
                          <a:cxn ang="0">
                            <a:pos x="1250" y="2907"/>
                          </a:cxn>
                          <a:cxn ang="0">
                            <a:pos x="1184" y="2490"/>
                          </a:cxn>
                          <a:cxn ang="0">
                            <a:pos x="1244" y="2102"/>
                          </a:cxn>
                          <a:cxn ang="0">
                            <a:pos x="1427" y="1736"/>
                          </a:cxn>
                          <a:cxn ang="0">
                            <a:pos x="1711" y="1448"/>
                          </a:cxn>
                          <a:cxn ang="0">
                            <a:pos x="2073" y="1259"/>
                          </a:cxn>
                          <a:cxn ang="0">
                            <a:pos x="2492" y="1192"/>
                          </a:cxn>
                          <a:cxn ang="0">
                            <a:pos x="2878" y="1252"/>
                          </a:cxn>
                          <a:cxn ang="0">
                            <a:pos x="3244" y="1435"/>
                          </a:cxn>
                          <a:cxn ang="0">
                            <a:pos x="3532" y="1719"/>
                          </a:cxn>
                          <a:cxn ang="0">
                            <a:pos x="3721" y="2081"/>
                          </a:cxn>
                          <a:cxn ang="0">
                            <a:pos x="3788" y="2500"/>
                          </a:cxn>
                        </a:cxnLst>
                        <a:rect l="0" t="0" r="r" b="b"/>
                        <a:pathLst>
                          <a:path w="4876" h="4990">
                            <a:moveTo>
                              <a:pt x="4332" y="2502"/>
                            </a:moveTo>
                            <a:lnTo>
                              <a:pt x="4332" y="2502"/>
                            </a:lnTo>
                            <a:lnTo>
                              <a:pt x="4331" y="2455"/>
                            </a:lnTo>
                            <a:lnTo>
                              <a:pt x="4329" y="2412"/>
                            </a:lnTo>
                            <a:lnTo>
                              <a:pt x="4327" y="2373"/>
                            </a:lnTo>
                            <a:lnTo>
                              <a:pt x="4324" y="2340"/>
                            </a:lnTo>
                            <a:lnTo>
                              <a:pt x="4319" y="2291"/>
                            </a:lnTo>
                            <a:lnTo>
                              <a:pt x="4317" y="2273"/>
                            </a:lnTo>
                            <a:lnTo>
                              <a:pt x="4317" y="2273"/>
                            </a:lnTo>
                            <a:lnTo>
                              <a:pt x="4315" y="2258"/>
                            </a:lnTo>
                            <a:lnTo>
                              <a:pt x="4315" y="2243"/>
                            </a:lnTo>
                            <a:lnTo>
                              <a:pt x="4317" y="2228"/>
                            </a:lnTo>
                            <a:lnTo>
                              <a:pt x="4319" y="2213"/>
                            </a:lnTo>
                            <a:lnTo>
                              <a:pt x="4323" y="2199"/>
                            </a:lnTo>
                            <a:lnTo>
                              <a:pt x="4327" y="2184"/>
                            </a:lnTo>
                            <a:lnTo>
                              <a:pt x="4333" y="2170"/>
                            </a:lnTo>
                            <a:lnTo>
                              <a:pt x="4340" y="2156"/>
                            </a:lnTo>
                            <a:lnTo>
                              <a:pt x="4348" y="2142"/>
                            </a:lnTo>
                            <a:lnTo>
                              <a:pt x="4356" y="2130"/>
                            </a:lnTo>
                            <a:lnTo>
                              <a:pt x="4366" y="2117"/>
                            </a:lnTo>
                            <a:lnTo>
                              <a:pt x="4376" y="2106"/>
                            </a:lnTo>
                            <a:lnTo>
                              <a:pt x="4387" y="2096"/>
                            </a:lnTo>
                            <a:lnTo>
                              <a:pt x="4399" y="2087"/>
                            </a:lnTo>
                            <a:lnTo>
                              <a:pt x="4411" y="2078"/>
                            </a:lnTo>
                            <a:lnTo>
                              <a:pt x="4424" y="2071"/>
                            </a:lnTo>
                            <a:lnTo>
                              <a:pt x="4796" y="1894"/>
                            </a:lnTo>
                            <a:lnTo>
                              <a:pt x="4796" y="1894"/>
                            </a:lnTo>
                            <a:lnTo>
                              <a:pt x="4809" y="1887"/>
                            </a:lnTo>
                            <a:lnTo>
                              <a:pt x="4820" y="1879"/>
                            </a:lnTo>
                            <a:lnTo>
                              <a:pt x="4831" y="1870"/>
                            </a:lnTo>
                            <a:lnTo>
                              <a:pt x="4841" y="1860"/>
                            </a:lnTo>
                            <a:lnTo>
                              <a:pt x="4849" y="1849"/>
                            </a:lnTo>
                            <a:lnTo>
                              <a:pt x="4857" y="1838"/>
                            </a:lnTo>
                            <a:lnTo>
                              <a:pt x="4863" y="1826"/>
                            </a:lnTo>
                            <a:lnTo>
                              <a:pt x="4868" y="1813"/>
                            </a:lnTo>
                            <a:lnTo>
                              <a:pt x="4872" y="1800"/>
                            </a:lnTo>
                            <a:lnTo>
                              <a:pt x="4875" y="1787"/>
                            </a:lnTo>
                            <a:lnTo>
                              <a:pt x="4876" y="1773"/>
                            </a:lnTo>
                            <a:lnTo>
                              <a:pt x="4876" y="1759"/>
                            </a:lnTo>
                            <a:lnTo>
                              <a:pt x="4875" y="1746"/>
                            </a:lnTo>
                            <a:lnTo>
                              <a:pt x="4872" y="1732"/>
                            </a:lnTo>
                            <a:lnTo>
                              <a:pt x="4868" y="1718"/>
                            </a:lnTo>
                            <a:lnTo>
                              <a:pt x="4863" y="1705"/>
                            </a:lnTo>
                            <a:lnTo>
                              <a:pt x="4595" y="1142"/>
                            </a:lnTo>
                            <a:lnTo>
                              <a:pt x="4595" y="1142"/>
                            </a:lnTo>
                            <a:lnTo>
                              <a:pt x="4588" y="1130"/>
                            </a:lnTo>
                            <a:lnTo>
                              <a:pt x="4580" y="1118"/>
                            </a:lnTo>
                            <a:lnTo>
                              <a:pt x="4571" y="1107"/>
                            </a:lnTo>
                            <a:lnTo>
                              <a:pt x="4561" y="1097"/>
                            </a:lnTo>
                            <a:lnTo>
                              <a:pt x="4550" y="1089"/>
                            </a:lnTo>
                            <a:lnTo>
                              <a:pt x="4539" y="1081"/>
                            </a:lnTo>
                            <a:lnTo>
                              <a:pt x="4526" y="1075"/>
                            </a:lnTo>
                            <a:lnTo>
                              <a:pt x="4514" y="1070"/>
                            </a:lnTo>
                            <a:lnTo>
                              <a:pt x="4501" y="1066"/>
                            </a:lnTo>
                            <a:lnTo>
                              <a:pt x="4487" y="1063"/>
                            </a:lnTo>
                            <a:lnTo>
                              <a:pt x="4474" y="1062"/>
                            </a:lnTo>
                            <a:lnTo>
                              <a:pt x="4460" y="1062"/>
                            </a:lnTo>
                            <a:lnTo>
                              <a:pt x="4446" y="1063"/>
                            </a:lnTo>
                            <a:lnTo>
                              <a:pt x="4433" y="1066"/>
                            </a:lnTo>
                            <a:lnTo>
                              <a:pt x="4419" y="1070"/>
                            </a:lnTo>
                            <a:lnTo>
                              <a:pt x="4406" y="1075"/>
                            </a:lnTo>
                            <a:lnTo>
                              <a:pt x="4033" y="1253"/>
                            </a:lnTo>
                            <a:lnTo>
                              <a:pt x="4033" y="1253"/>
                            </a:lnTo>
                            <a:lnTo>
                              <a:pt x="4019" y="1259"/>
                            </a:lnTo>
                            <a:lnTo>
                              <a:pt x="4005" y="1264"/>
                            </a:lnTo>
                            <a:lnTo>
                              <a:pt x="3990" y="1267"/>
                            </a:lnTo>
                            <a:lnTo>
                              <a:pt x="3975" y="1269"/>
                            </a:lnTo>
                            <a:lnTo>
                              <a:pt x="3960" y="1271"/>
                            </a:lnTo>
                            <a:lnTo>
                              <a:pt x="3944" y="1271"/>
                            </a:lnTo>
                            <a:lnTo>
                              <a:pt x="3928" y="1270"/>
                            </a:lnTo>
                            <a:lnTo>
                              <a:pt x="3913" y="1267"/>
                            </a:lnTo>
                            <a:lnTo>
                              <a:pt x="3897" y="1264"/>
                            </a:lnTo>
                            <a:lnTo>
                              <a:pt x="3882" y="1260"/>
                            </a:lnTo>
                            <a:lnTo>
                              <a:pt x="3867" y="1255"/>
                            </a:lnTo>
                            <a:lnTo>
                              <a:pt x="3853" y="1249"/>
                            </a:lnTo>
                            <a:lnTo>
                              <a:pt x="3839" y="1242"/>
                            </a:lnTo>
                            <a:lnTo>
                              <a:pt x="3827" y="1234"/>
                            </a:lnTo>
                            <a:lnTo>
                              <a:pt x="3815" y="1225"/>
                            </a:lnTo>
                            <a:lnTo>
                              <a:pt x="3804" y="1215"/>
                            </a:lnTo>
                            <a:lnTo>
                              <a:pt x="3451" y="932"/>
                            </a:lnTo>
                            <a:lnTo>
                              <a:pt x="3451" y="932"/>
                            </a:lnTo>
                            <a:lnTo>
                              <a:pt x="3439" y="924"/>
                            </a:lnTo>
                            <a:lnTo>
                              <a:pt x="3428" y="914"/>
                            </a:lnTo>
                            <a:lnTo>
                              <a:pt x="3417" y="903"/>
                            </a:lnTo>
                            <a:lnTo>
                              <a:pt x="3407" y="891"/>
                            </a:lnTo>
                            <a:lnTo>
                              <a:pt x="3398" y="879"/>
                            </a:lnTo>
                            <a:lnTo>
                              <a:pt x="3390" y="865"/>
                            </a:lnTo>
                            <a:lnTo>
                              <a:pt x="3383" y="852"/>
                            </a:lnTo>
                            <a:lnTo>
                              <a:pt x="3376" y="837"/>
                            </a:lnTo>
                            <a:lnTo>
                              <a:pt x="3371" y="822"/>
                            </a:lnTo>
                            <a:lnTo>
                              <a:pt x="3367" y="807"/>
                            </a:lnTo>
                            <a:lnTo>
                              <a:pt x="3363" y="792"/>
                            </a:lnTo>
                            <a:lnTo>
                              <a:pt x="3361" y="777"/>
                            </a:lnTo>
                            <a:lnTo>
                              <a:pt x="3360" y="761"/>
                            </a:lnTo>
                            <a:lnTo>
                              <a:pt x="3360" y="746"/>
                            </a:lnTo>
                            <a:lnTo>
                              <a:pt x="3362" y="731"/>
                            </a:lnTo>
                            <a:lnTo>
                              <a:pt x="3364" y="717"/>
                            </a:lnTo>
                            <a:lnTo>
                              <a:pt x="3458" y="314"/>
                            </a:lnTo>
                            <a:lnTo>
                              <a:pt x="3458" y="314"/>
                            </a:lnTo>
                            <a:lnTo>
                              <a:pt x="3460" y="300"/>
                            </a:lnTo>
                            <a:lnTo>
                              <a:pt x="3461" y="286"/>
                            </a:lnTo>
                            <a:lnTo>
                              <a:pt x="3461" y="272"/>
                            </a:lnTo>
                            <a:lnTo>
                              <a:pt x="3459" y="258"/>
                            </a:lnTo>
                            <a:lnTo>
                              <a:pt x="3456" y="245"/>
                            </a:lnTo>
                            <a:lnTo>
                              <a:pt x="3452" y="232"/>
                            </a:lnTo>
                            <a:lnTo>
                              <a:pt x="3447" y="219"/>
                            </a:lnTo>
                            <a:lnTo>
                              <a:pt x="3440" y="207"/>
                            </a:lnTo>
                            <a:lnTo>
                              <a:pt x="3432" y="196"/>
                            </a:lnTo>
                            <a:lnTo>
                              <a:pt x="3423" y="186"/>
                            </a:lnTo>
                            <a:lnTo>
                              <a:pt x="3414" y="176"/>
                            </a:lnTo>
                            <a:lnTo>
                              <a:pt x="3403" y="168"/>
                            </a:lnTo>
                            <a:lnTo>
                              <a:pt x="3391" y="160"/>
                            </a:lnTo>
                            <a:lnTo>
                              <a:pt x="3379" y="153"/>
                            </a:lnTo>
                            <a:lnTo>
                              <a:pt x="3366" y="148"/>
                            </a:lnTo>
                            <a:lnTo>
                              <a:pt x="3352" y="144"/>
                            </a:lnTo>
                            <a:lnTo>
                              <a:pt x="2745" y="3"/>
                            </a:lnTo>
                            <a:lnTo>
                              <a:pt x="2745" y="3"/>
                            </a:lnTo>
                            <a:lnTo>
                              <a:pt x="2730" y="1"/>
                            </a:lnTo>
                            <a:lnTo>
                              <a:pt x="2716" y="0"/>
                            </a:lnTo>
                            <a:lnTo>
                              <a:pt x="2702" y="0"/>
                            </a:lnTo>
                            <a:lnTo>
                              <a:pt x="2688" y="2"/>
                            </a:lnTo>
                            <a:lnTo>
                              <a:pt x="2675" y="5"/>
                            </a:lnTo>
                            <a:lnTo>
                              <a:pt x="2662" y="9"/>
                            </a:lnTo>
                            <a:lnTo>
                              <a:pt x="2649" y="15"/>
                            </a:lnTo>
                            <a:lnTo>
                              <a:pt x="2638" y="21"/>
                            </a:lnTo>
                            <a:lnTo>
                              <a:pt x="2626" y="29"/>
                            </a:lnTo>
                            <a:lnTo>
                              <a:pt x="2616" y="38"/>
                            </a:lnTo>
                            <a:lnTo>
                              <a:pt x="2606" y="48"/>
                            </a:lnTo>
                            <a:lnTo>
                              <a:pt x="2598" y="58"/>
                            </a:lnTo>
                            <a:lnTo>
                              <a:pt x="2590" y="70"/>
                            </a:lnTo>
                            <a:lnTo>
                              <a:pt x="2584" y="82"/>
                            </a:lnTo>
                            <a:lnTo>
                              <a:pt x="2578" y="96"/>
                            </a:lnTo>
                            <a:lnTo>
                              <a:pt x="2574" y="110"/>
                            </a:lnTo>
                            <a:lnTo>
                              <a:pt x="2481" y="512"/>
                            </a:lnTo>
                            <a:lnTo>
                              <a:pt x="2481" y="512"/>
                            </a:lnTo>
                            <a:lnTo>
                              <a:pt x="2477" y="526"/>
                            </a:lnTo>
                            <a:lnTo>
                              <a:pt x="2472" y="540"/>
                            </a:lnTo>
                            <a:lnTo>
                              <a:pt x="2465" y="554"/>
                            </a:lnTo>
                            <a:lnTo>
                              <a:pt x="2457" y="567"/>
                            </a:lnTo>
                            <a:lnTo>
                              <a:pt x="2448" y="580"/>
                            </a:lnTo>
                            <a:lnTo>
                              <a:pt x="2438" y="592"/>
                            </a:lnTo>
                            <a:lnTo>
                              <a:pt x="2428" y="604"/>
                            </a:lnTo>
                            <a:lnTo>
                              <a:pt x="2416" y="615"/>
                            </a:lnTo>
                            <a:lnTo>
                              <a:pt x="2404" y="625"/>
                            </a:lnTo>
                            <a:lnTo>
                              <a:pt x="2392" y="634"/>
                            </a:lnTo>
                            <a:lnTo>
                              <a:pt x="2378" y="643"/>
                            </a:lnTo>
                            <a:lnTo>
                              <a:pt x="2365" y="650"/>
                            </a:lnTo>
                            <a:lnTo>
                              <a:pt x="2351" y="656"/>
                            </a:lnTo>
                            <a:lnTo>
                              <a:pt x="2336" y="661"/>
                            </a:lnTo>
                            <a:lnTo>
                              <a:pt x="2322" y="665"/>
                            </a:lnTo>
                            <a:lnTo>
                              <a:pt x="2308" y="668"/>
                            </a:lnTo>
                            <a:lnTo>
                              <a:pt x="1866" y="766"/>
                            </a:lnTo>
                            <a:lnTo>
                              <a:pt x="1866" y="766"/>
                            </a:lnTo>
                            <a:lnTo>
                              <a:pt x="1852" y="770"/>
                            </a:lnTo>
                            <a:lnTo>
                              <a:pt x="1837" y="772"/>
                            </a:lnTo>
                            <a:lnTo>
                              <a:pt x="1822" y="774"/>
                            </a:lnTo>
                            <a:lnTo>
                              <a:pt x="1807" y="774"/>
                            </a:lnTo>
                            <a:lnTo>
                              <a:pt x="1792" y="774"/>
                            </a:lnTo>
                            <a:lnTo>
                              <a:pt x="1776" y="772"/>
                            </a:lnTo>
                            <a:lnTo>
                              <a:pt x="1761" y="769"/>
                            </a:lnTo>
                            <a:lnTo>
                              <a:pt x="1745" y="765"/>
                            </a:lnTo>
                            <a:lnTo>
                              <a:pt x="1730" y="760"/>
                            </a:lnTo>
                            <a:lnTo>
                              <a:pt x="1716" y="754"/>
                            </a:lnTo>
                            <a:lnTo>
                              <a:pt x="1702" y="747"/>
                            </a:lnTo>
                            <a:lnTo>
                              <a:pt x="1689" y="739"/>
                            </a:lnTo>
                            <a:lnTo>
                              <a:pt x="1676" y="730"/>
                            </a:lnTo>
                            <a:lnTo>
                              <a:pt x="1664" y="721"/>
                            </a:lnTo>
                            <a:lnTo>
                              <a:pt x="1654" y="711"/>
                            </a:lnTo>
                            <a:lnTo>
                              <a:pt x="1644" y="700"/>
                            </a:lnTo>
                            <a:lnTo>
                              <a:pt x="1387" y="375"/>
                            </a:lnTo>
                            <a:lnTo>
                              <a:pt x="1387" y="375"/>
                            </a:lnTo>
                            <a:lnTo>
                              <a:pt x="1378" y="365"/>
                            </a:lnTo>
                            <a:lnTo>
                              <a:pt x="1368" y="355"/>
                            </a:lnTo>
                            <a:lnTo>
                              <a:pt x="1356" y="346"/>
                            </a:lnTo>
                            <a:lnTo>
                              <a:pt x="1345" y="339"/>
                            </a:lnTo>
                            <a:lnTo>
                              <a:pt x="1332" y="333"/>
                            </a:lnTo>
                            <a:lnTo>
                              <a:pt x="1319" y="328"/>
                            </a:lnTo>
                            <a:lnTo>
                              <a:pt x="1306" y="325"/>
                            </a:lnTo>
                            <a:lnTo>
                              <a:pt x="1293" y="323"/>
                            </a:lnTo>
                            <a:lnTo>
                              <a:pt x="1279" y="322"/>
                            </a:lnTo>
                            <a:lnTo>
                              <a:pt x="1265" y="322"/>
                            </a:lnTo>
                            <a:lnTo>
                              <a:pt x="1252" y="324"/>
                            </a:lnTo>
                            <a:lnTo>
                              <a:pt x="1238" y="327"/>
                            </a:lnTo>
                            <a:lnTo>
                              <a:pt x="1225" y="331"/>
                            </a:lnTo>
                            <a:lnTo>
                              <a:pt x="1213" y="337"/>
                            </a:lnTo>
                            <a:lnTo>
                              <a:pt x="1200" y="344"/>
                            </a:lnTo>
                            <a:lnTo>
                              <a:pt x="1188" y="352"/>
                            </a:lnTo>
                            <a:lnTo>
                              <a:pt x="700" y="739"/>
                            </a:lnTo>
                            <a:lnTo>
                              <a:pt x="700" y="739"/>
                            </a:lnTo>
                            <a:lnTo>
                              <a:pt x="689" y="748"/>
                            </a:lnTo>
                            <a:lnTo>
                              <a:pt x="679" y="759"/>
                            </a:lnTo>
                            <a:lnTo>
                              <a:pt x="671" y="770"/>
                            </a:lnTo>
                            <a:lnTo>
                              <a:pt x="664" y="782"/>
                            </a:lnTo>
                            <a:lnTo>
                              <a:pt x="658" y="794"/>
                            </a:lnTo>
                            <a:lnTo>
                              <a:pt x="653" y="807"/>
                            </a:lnTo>
                            <a:lnTo>
                              <a:pt x="649" y="820"/>
                            </a:lnTo>
                            <a:lnTo>
                              <a:pt x="647" y="834"/>
                            </a:lnTo>
                            <a:lnTo>
                              <a:pt x="646" y="847"/>
                            </a:lnTo>
                            <a:lnTo>
                              <a:pt x="647" y="861"/>
                            </a:lnTo>
                            <a:lnTo>
                              <a:pt x="648" y="874"/>
                            </a:lnTo>
                            <a:lnTo>
                              <a:pt x="651" y="888"/>
                            </a:lnTo>
                            <a:lnTo>
                              <a:pt x="656" y="901"/>
                            </a:lnTo>
                            <a:lnTo>
                              <a:pt x="661" y="914"/>
                            </a:lnTo>
                            <a:lnTo>
                              <a:pt x="668" y="926"/>
                            </a:lnTo>
                            <a:lnTo>
                              <a:pt x="677" y="938"/>
                            </a:lnTo>
                            <a:lnTo>
                              <a:pt x="933" y="1262"/>
                            </a:lnTo>
                            <a:lnTo>
                              <a:pt x="933" y="1262"/>
                            </a:lnTo>
                            <a:lnTo>
                              <a:pt x="942" y="1274"/>
                            </a:lnTo>
                            <a:lnTo>
                              <a:pt x="950" y="1287"/>
                            </a:lnTo>
                            <a:lnTo>
                              <a:pt x="956" y="1301"/>
                            </a:lnTo>
                            <a:lnTo>
                              <a:pt x="962" y="1315"/>
                            </a:lnTo>
                            <a:lnTo>
                              <a:pt x="966" y="1330"/>
                            </a:lnTo>
                            <a:lnTo>
                              <a:pt x="970" y="1345"/>
                            </a:lnTo>
                            <a:lnTo>
                              <a:pt x="972" y="1361"/>
                            </a:lnTo>
                            <a:lnTo>
                              <a:pt x="974" y="1376"/>
                            </a:lnTo>
                            <a:lnTo>
                              <a:pt x="974" y="1392"/>
                            </a:lnTo>
                            <a:lnTo>
                              <a:pt x="973" y="1408"/>
                            </a:lnTo>
                            <a:lnTo>
                              <a:pt x="971" y="1423"/>
                            </a:lnTo>
                            <a:lnTo>
                              <a:pt x="969" y="1438"/>
                            </a:lnTo>
                            <a:lnTo>
                              <a:pt x="965" y="1453"/>
                            </a:lnTo>
                            <a:lnTo>
                              <a:pt x="960" y="1467"/>
                            </a:lnTo>
                            <a:lnTo>
                              <a:pt x="954" y="1481"/>
                            </a:lnTo>
                            <a:lnTo>
                              <a:pt x="947" y="1494"/>
                            </a:lnTo>
                            <a:lnTo>
                              <a:pt x="749" y="1901"/>
                            </a:lnTo>
                            <a:lnTo>
                              <a:pt x="749" y="1901"/>
                            </a:lnTo>
                            <a:lnTo>
                              <a:pt x="744" y="1914"/>
                            </a:lnTo>
                            <a:lnTo>
                              <a:pt x="737" y="1927"/>
                            </a:lnTo>
                            <a:lnTo>
                              <a:pt x="728" y="1940"/>
                            </a:lnTo>
                            <a:lnTo>
                              <a:pt x="719" y="1952"/>
                            </a:lnTo>
                            <a:lnTo>
                              <a:pt x="709" y="1964"/>
                            </a:lnTo>
                            <a:lnTo>
                              <a:pt x="698" y="1975"/>
                            </a:lnTo>
                            <a:lnTo>
                              <a:pt x="686" y="1985"/>
                            </a:lnTo>
                            <a:lnTo>
                              <a:pt x="673" y="1994"/>
                            </a:lnTo>
                            <a:lnTo>
                              <a:pt x="660" y="2003"/>
                            </a:lnTo>
                            <a:lnTo>
                              <a:pt x="646" y="2010"/>
                            </a:lnTo>
                            <a:lnTo>
                              <a:pt x="632" y="2017"/>
                            </a:lnTo>
                            <a:lnTo>
                              <a:pt x="617" y="2023"/>
                            </a:lnTo>
                            <a:lnTo>
                              <a:pt x="603" y="2027"/>
                            </a:lnTo>
                            <a:lnTo>
                              <a:pt x="588" y="2030"/>
                            </a:lnTo>
                            <a:lnTo>
                              <a:pt x="573" y="2032"/>
                            </a:lnTo>
                            <a:lnTo>
                              <a:pt x="558" y="2033"/>
                            </a:lnTo>
                            <a:lnTo>
                              <a:pt x="145" y="2031"/>
                            </a:lnTo>
                            <a:lnTo>
                              <a:pt x="145" y="2031"/>
                            </a:lnTo>
                            <a:lnTo>
                              <a:pt x="130" y="2032"/>
                            </a:lnTo>
                            <a:lnTo>
                              <a:pt x="116" y="2034"/>
                            </a:lnTo>
                            <a:lnTo>
                              <a:pt x="103" y="2037"/>
                            </a:lnTo>
                            <a:lnTo>
                              <a:pt x="90" y="2042"/>
                            </a:lnTo>
                            <a:lnTo>
                              <a:pt x="77" y="2048"/>
                            </a:lnTo>
                            <a:lnTo>
                              <a:pt x="65" y="2055"/>
                            </a:lnTo>
                            <a:lnTo>
                              <a:pt x="55" y="2063"/>
                            </a:lnTo>
                            <a:lnTo>
                              <a:pt x="44" y="2072"/>
                            </a:lnTo>
                            <a:lnTo>
                              <a:pt x="35" y="2083"/>
                            </a:lnTo>
                            <a:lnTo>
                              <a:pt x="27" y="2093"/>
                            </a:lnTo>
                            <a:lnTo>
                              <a:pt x="20" y="2105"/>
                            </a:lnTo>
                            <a:lnTo>
                              <a:pt x="14" y="2117"/>
                            </a:lnTo>
                            <a:lnTo>
                              <a:pt x="9" y="2130"/>
                            </a:lnTo>
                            <a:lnTo>
                              <a:pt x="5" y="2144"/>
                            </a:lnTo>
                            <a:lnTo>
                              <a:pt x="3" y="2158"/>
                            </a:lnTo>
                            <a:lnTo>
                              <a:pt x="2" y="2172"/>
                            </a:lnTo>
                            <a:lnTo>
                              <a:pt x="0" y="2797"/>
                            </a:lnTo>
                            <a:lnTo>
                              <a:pt x="0" y="2797"/>
                            </a:lnTo>
                            <a:lnTo>
                              <a:pt x="1" y="2811"/>
                            </a:lnTo>
                            <a:lnTo>
                              <a:pt x="3" y="2825"/>
                            </a:lnTo>
                            <a:lnTo>
                              <a:pt x="6" y="2839"/>
                            </a:lnTo>
                            <a:lnTo>
                              <a:pt x="11" y="2852"/>
                            </a:lnTo>
                            <a:lnTo>
                              <a:pt x="17" y="2864"/>
                            </a:lnTo>
                            <a:lnTo>
                              <a:pt x="24" y="2876"/>
                            </a:lnTo>
                            <a:lnTo>
                              <a:pt x="32" y="2887"/>
                            </a:lnTo>
                            <a:lnTo>
                              <a:pt x="41" y="2897"/>
                            </a:lnTo>
                            <a:lnTo>
                              <a:pt x="51" y="2906"/>
                            </a:lnTo>
                            <a:lnTo>
                              <a:pt x="62" y="2914"/>
                            </a:lnTo>
                            <a:lnTo>
                              <a:pt x="74" y="2921"/>
                            </a:lnTo>
                            <a:lnTo>
                              <a:pt x="86" y="2927"/>
                            </a:lnTo>
                            <a:lnTo>
                              <a:pt x="99" y="2932"/>
                            </a:lnTo>
                            <a:lnTo>
                              <a:pt x="113" y="2936"/>
                            </a:lnTo>
                            <a:lnTo>
                              <a:pt x="127" y="2938"/>
                            </a:lnTo>
                            <a:lnTo>
                              <a:pt x="141" y="2939"/>
                            </a:lnTo>
                            <a:lnTo>
                              <a:pt x="555" y="2941"/>
                            </a:lnTo>
                            <a:lnTo>
                              <a:pt x="555" y="2941"/>
                            </a:lnTo>
                            <a:lnTo>
                              <a:pt x="570" y="2941"/>
                            </a:lnTo>
                            <a:lnTo>
                              <a:pt x="584" y="2944"/>
                            </a:lnTo>
                            <a:lnTo>
                              <a:pt x="599" y="2947"/>
                            </a:lnTo>
                            <a:lnTo>
                              <a:pt x="614" y="2951"/>
                            </a:lnTo>
                            <a:lnTo>
                              <a:pt x="628" y="2957"/>
                            </a:lnTo>
                            <a:lnTo>
                              <a:pt x="642" y="2964"/>
                            </a:lnTo>
                            <a:lnTo>
                              <a:pt x="656" y="2972"/>
                            </a:lnTo>
                            <a:lnTo>
                              <a:pt x="669" y="2980"/>
                            </a:lnTo>
                            <a:lnTo>
                              <a:pt x="682" y="2990"/>
                            </a:lnTo>
                            <a:lnTo>
                              <a:pt x="694" y="3000"/>
                            </a:lnTo>
                            <a:lnTo>
                              <a:pt x="705" y="3011"/>
                            </a:lnTo>
                            <a:lnTo>
                              <a:pt x="715" y="3023"/>
                            </a:lnTo>
                            <a:lnTo>
                              <a:pt x="724" y="3035"/>
                            </a:lnTo>
                            <a:lnTo>
                              <a:pt x="732" y="3048"/>
                            </a:lnTo>
                            <a:lnTo>
                              <a:pt x="739" y="3061"/>
                            </a:lnTo>
                            <a:lnTo>
                              <a:pt x="745" y="3075"/>
                            </a:lnTo>
                            <a:lnTo>
                              <a:pt x="939" y="3482"/>
                            </a:lnTo>
                            <a:lnTo>
                              <a:pt x="939" y="3482"/>
                            </a:lnTo>
                            <a:lnTo>
                              <a:pt x="946" y="3495"/>
                            </a:lnTo>
                            <a:lnTo>
                              <a:pt x="952" y="3509"/>
                            </a:lnTo>
                            <a:lnTo>
                              <a:pt x="956" y="3523"/>
                            </a:lnTo>
                            <a:lnTo>
                              <a:pt x="960" y="3538"/>
                            </a:lnTo>
                            <a:lnTo>
                              <a:pt x="963" y="3553"/>
                            </a:lnTo>
                            <a:lnTo>
                              <a:pt x="964" y="3569"/>
                            </a:lnTo>
                            <a:lnTo>
                              <a:pt x="965" y="3585"/>
                            </a:lnTo>
                            <a:lnTo>
                              <a:pt x="965" y="3600"/>
                            </a:lnTo>
                            <a:lnTo>
                              <a:pt x="963" y="3616"/>
                            </a:lnTo>
                            <a:lnTo>
                              <a:pt x="960" y="3632"/>
                            </a:lnTo>
                            <a:lnTo>
                              <a:pt x="957" y="3647"/>
                            </a:lnTo>
                            <a:lnTo>
                              <a:pt x="952" y="3661"/>
                            </a:lnTo>
                            <a:lnTo>
                              <a:pt x="947" y="3676"/>
                            </a:lnTo>
                            <a:lnTo>
                              <a:pt x="940" y="3689"/>
                            </a:lnTo>
                            <a:lnTo>
                              <a:pt x="932" y="3702"/>
                            </a:lnTo>
                            <a:lnTo>
                              <a:pt x="924" y="3714"/>
                            </a:lnTo>
                            <a:lnTo>
                              <a:pt x="664" y="4036"/>
                            </a:lnTo>
                            <a:lnTo>
                              <a:pt x="664" y="4036"/>
                            </a:lnTo>
                            <a:lnTo>
                              <a:pt x="656" y="4048"/>
                            </a:lnTo>
                            <a:lnTo>
                              <a:pt x="649" y="4060"/>
                            </a:lnTo>
                            <a:lnTo>
                              <a:pt x="643" y="4073"/>
                            </a:lnTo>
                            <a:lnTo>
                              <a:pt x="639" y="4086"/>
                            </a:lnTo>
                            <a:lnTo>
                              <a:pt x="636" y="4100"/>
                            </a:lnTo>
                            <a:lnTo>
                              <a:pt x="634" y="4113"/>
                            </a:lnTo>
                            <a:lnTo>
                              <a:pt x="633" y="4127"/>
                            </a:lnTo>
                            <a:lnTo>
                              <a:pt x="634" y="4141"/>
                            </a:lnTo>
                            <a:lnTo>
                              <a:pt x="636" y="4154"/>
                            </a:lnTo>
                            <a:lnTo>
                              <a:pt x="640" y="4167"/>
                            </a:lnTo>
                            <a:lnTo>
                              <a:pt x="644" y="4180"/>
                            </a:lnTo>
                            <a:lnTo>
                              <a:pt x="650" y="4192"/>
                            </a:lnTo>
                            <a:lnTo>
                              <a:pt x="657" y="4204"/>
                            </a:lnTo>
                            <a:lnTo>
                              <a:pt x="666" y="4216"/>
                            </a:lnTo>
                            <a:lnTo>
                              <a:pt x="675" y="4226"/>
                            </a:lnTo>
                            <a:lnTo>
                              <a:pt x="686" y="4236"/>
                            </a:lnTo>
                            <a:lnTo>
                              <a:pt x="1172" y="4626"/>
                            </a:lnTo>
                            <a:lnTo>
                              <a:pt x="1172" y="4626"/>
                            </a:lnTo>
                            <a:lnTo>
                              <a:pt x="1183" y="4634"/>
                            </a:lnTo>
                            <a:lnTo>
                              <a:pt x="1196" y="4642"/>
                            </a:lnTo>
                            <a:lnTo>
                              <a:pt x="1208" y="4647"/>
                            </a:lnTo>
                            <a:lnTo>
                              <a:pt x="1221" y="4652"/>
                            </a:lnTo>
                            <a:lnTo>
                              <a:pt x="1235" y="4655"/>
                            </a:lnTo>
                            <a:lnTo>
                              <a:pt x="1248" y="4657"/>
                            </a:lnTo>
                            <a:lnTo>
                              <a:pt x="1262" y="4657"/>
                            </a:lnTo>
                            <a:lnTo>
                              <a:pt x="1276" y="4656"/>
                            </a:lnTo>
                            <a:lnTo>
                              <a:pt x="1289" y="4654"/>
                            </a:lnTo>
                            <a:lnTo>
                              <a:pt x="1302" y="4651"/>
                            </a:lnTo>
                            <a:lnTo>
                              <a:pt x="1315" y="4646"/>
                            </a:lnTo>
                            <a:lnTo>
                              <a:pt x="1328" y="4640"/>
                            </a:lnTo>
                            <a:lnTo>
                              <a:pt x="1339" y="4633"/>
                            </a:lnTo>
                            <a:lnTo>
                              <a:pt x="1351" y="4625"/>
                            </a:lnTo>
                            <a:lnTo>
                              <a:pt x="1361" y="4615"/>
                            </a:lnTo>
                            <a:lnTo>
                              <a:pt x="1371" y="4604"/>
                            </a:lnTo>
                            <a:lnTo>
                              <a:pt x="1630" y="4283"/>
                            </a:lnTo>
                            <a:lnTo>
                              <a:pt x="1630" y="4283"/>
                            </a:lnTo>
                            <a:lnTo>
                              <a:pt x="1639" y="4272"/>
                            </a:lnTo>
                            <a:lnTo>
                              <a:pt x="1650" y="4262"/>
                            </a:lnTo>
                            <a:lnTo>
                              <a:pt x="1662" y="4252"/>
                            </a:lnTo>
                            <a:lnTo>
                              <a:pt x="1675" y="4244"/>
                            </a:lnTo>
                            <a:lnTo>
                              <a:pt x="1688" y="4236"/>
                            </a:lnTo>
                            <a:lnTo>
                              <a:pt x="1702" y="4229"/>
                            </a:lnTo>
                            <a:lnTo>
                              <a:pt x="1717" y="4223"/>
                            </a:lnTo>
                            <a:lnTo>
                              <a:pt x="1732" y="4219"/>
                            </a:lnTo>
                            <a:lnTo>
                              <a:pt x="1747" y="4215"/>
                            </a:lnTo>
                            <a:lnTo>
                              <a:pt x="1762" y="4212"/>
                            </a:lnTo>
                            <a:lnTo>
                              <a:pt x="1778" y="4210"/>
                            </a:lnTo>
                            <a:lnTo>
                              <a:pt x="1793" y="4210"/>
                            </a:lnTo>
                            <a:lnTo>
                              <a:pt x="1809" y="4210"/>
                            </a:lnTo>
                            <a:lnTo>
                              <a:pt x="1824" y="4212"/>
                            </a:lnTo>
                            <a:lnTo>
                              <a:pt x="1838" y="4215"/>
                            </a:lnTo>
                            <a:lnTo>
                              <a:pt x="1852" y="4219"/>
                            </a:lnTo>
                            <a:lnTo>
                              <a:pt x="2295" y="4319"/>
                            </a:lnTo>
                            <a:lnTo>
                              <a:pt x="2295" y="4319"/>
                            </a:lnTo>
                            <a:lnTo>
                              <a:pt x="2309" y="4322"/>
                            </a:lnTo>
                            <a:lnTo>
                              <a:pt x="2324" y="4326"/>
                            </a:lnTo>
                            <a:lnTo>
                              <a:pt x="2338" y="4331"/>
                            </a:lnTo>
                            <a:lnTo>
                              <a:pt x="2352" y="4337"/>
                            </a:lnTo>
                            <a:lnTo>
                              <a:pt x="2366" y="4345"/>
                            </a:lnTo>
                            <a:lnTo>
                              <a:pt x="2379" y="4353"/>
                            </a:lnTo>
                            <a:lnTo>
                              <a:pt x="2391" y="4363"/>
                            </a:lnTo>
                            <a:lnTo>
                              <a:pt x="2403" y="4373"/>
                            </a:lnTo>
                            <a:lnTo>
                              <a:pt x="2415" y="4384"/>
                            </a:lnTo>
                            <a:lnTo>
                              <a:pt x="2425" y="4396"/>
                            </a:lnTo>
                            <a:lnTo>
                              <a:pt x="2435" y="4408"/>
                            </a:lnTo>
                            <a:lnTo>
                              <a:pt x="2443" y="4421"/>
                            </a:lnTo>
                            <a:lnTo>
                              <a:pt x="2451" y="4434"/>
                            </a:lnTo>
                            <a:lnTo>
                              <a:pt x="2457" y="4448"/>
                            </a:lnTo>
                            <a:lnTo>
                              <a:pt x="2464" y="4462"/>
                            </a:lnTo>
                            <a:lnTo>
                              <a:pt x="2468" y="4476"/>
                            </a:lnTo>
                            <a:lnTo>
                              <a:pt x="2558" y="4880"/>
                            </a:lnTo>
                            <a:lnTo>
                              <a:pt x="2558" y="4880"/>
                            </a:lnTo>
                            <a:lnTo>
                              <a:pt x="2562" y="4894"/>
                            </a:lnTo>
                            <a:lnTo>
                              <a:pt x="2567" y="4907"/>
                            </a:lnTo>
                            <a:lnTo>
                              <a:pt x="2574" y="4919"/>
                            </a:lnTo>
                            <a:lnTo>
                              <a:pt x="2581" y="4931"/>
                            </a:lnTo>
                            <a:lnTo>
                              <a:pt x="2590" y="4942"/>
                            </a:lnTo>
                            <a:lnTo>
                              <a:pt x="2600" y="4952"/>
                            </a:lnTo>
                            <a:lnTo>
                              <a:pt x="2610" y="4960"/>
                            </a:lnTo>
                            <a:lnTo>
                              <a:pt x="2621" y="4968"/>
                            </a:lnTo>
                            <a:lnTo>
                              <a:pt x="2633" y="4975"/>
                            </a:lnTo>
                            <a:lnTo>
                              <a:pt x="2645" y="4981"/>
                            </a:lnTo>
                            <a:lnTo>
                              <a:pt x="2658" y="4985"/>
                            </a:lnTo>
                            <a:lnTo>
                              <a:pt x="2672" y="4988"/>
                            </a:lnTo>
                            <a:lnTo>
                              <a:pt x="2685" y="4990"/>
                            </a:lnTo>
                            <a:lnTo>
                              <a:pt x="2699" y="4990"/>
                            </a:lnTo>
                            <a:lnTo>
                              <a:pt x="2714" y="4989"/>
                            </a:lnTo>
                            <a:lnTo>
                              <a:pt x="2728" y="4987"/>
                            </a:lnTo>
                            <a:lnTo>
                              <a:pt x="3336" y="4850"/>
                            </a:lnTo>
                            <a:lnTo>
                              <a:pt x="3336" y="4850"/>
                            </a:lnTo>
                            <a:lnTo>
                              <a:pt x="3350" y="4846"/>
                            </a:lnTo>
                            <a:lnTo>
                              <a:pt x="3363" y="4841"/>
                            </a:lnTo>
                            <a:lnTo>
                              <a:pt x="3376" y="4835"/>
                            </a:lnTo>
                            <a:lnTo>
                              <a:pt x="3387" y="4827"/>
                            </a:lnTo>
                            <a:lnTo>
                              <a:pt x="3398" y="4819"/>
                            </a:lnTo>
                            <a:lnTo>
                              <a:pt x="3408" y="4809"/>
                            </a:lnTo>
                            <a:lnTo>
                              <a:pt x="3417" y="4799"/>
                            </a:lnTo>
                            <a:lnTo>
                              <a:pt x="3425" y="4787"/>
                            </a:lnTo>
                            <a:lnTo>
                              <a:pt x="3431" y="4776"/>
                            </a:lnTo>
                            <a:lnTo>
                              <a:pt x="3437" y="4763"/>
                            </a:lnTo>
                            <a:lnTo>
                              <a:pt x="3441" y="4750"/>
                            </a:lnTo>
                            <a:lnTo>
                              <a:pt x="3444" y="4737"/>
                            </a:lnTo>
                            <a:lnTo>
                              <a:pt x="3446" y="4723"/>
                            </a:lnTo>
                            <a:lnTo>
                              <a:pt x="3447" y="4709"/>
                            </a:lnTo>
                            <a:lnTo>
                              <a:pt x="3446" y="4695"/>
                            </a:lnTo>
                            <a:lnTo>
                              <a:pt x="3443" y="4681"/>
                            </a:lnTo>
                            <a:lnTo>
                              <a:pt x="3352" y="4278"/>
                            </a:lnTo>
                            <a:lnTo>
                              <a:pt x="3352" y="4278"/>
                            </a:lnTo>
                            <a:lnTo>
                              <a:pt x="3350" y="4263"/>
                            </a:lnTo>
                            <a:lnTo>
                              <a:pt x="3349" y="4248"/>
                            </a:lnTo>
                            <a:lnTo>
                              <a:pt x="3349" y="4233"/>
                            </a:lnTo>
                            <a:lnTo>
                              <a:pt x="3350" y="4218"/>
                            </a:lnTo>
                            <a:lnTo>
                              <a:pt x="3352" y="4203"/>
                            </a:lnTo>
                            <a:lnTo>
                              <a:pt x="3356" y="4187"/>
                            </a:lnTo>
                            <a:lnTo>
                              <a:pt x="3360" y="4172"/>
                            </a:lnTo>
                            <a:lnTo>
                              <a:pt x="3366" y="4158"/>
                            </a:lnTo>
                            <a:lnTo>
                              <a:pt x="3372" y="4143"/>
                            </a:lnTo>
                            <a:lnTo>
                              <a:pt x="3379" y="4129"/>
                            </a:lnTo>
                            <a:lnTo>
                              <a:pt x="3388" y="4116"/>
                            </a:lnTo>
                            <a:lnTo>
                              <a:pt x="3397" y="4103"/>
                            </a:lnTo>
                            <a:lnTo>
                              <a:pt x="3407" y="4092"/>
                            </a:lnTo>
                            <a:lnTo>
                              <a:pt x="3417" y="4081"/>
                            </a:lnTo>
                            <a:lnTo>
                              <a:pt x="3429" y="4071"/>
                            </a:lnTo>
                            <a:lnTo>
                              <a:pt x="3441" y="4063"/>
                            </a:lnTo>
                            <a:lnTo>
                              <a:pt x="3795" y="3783"/>
                            </a:lnTo>
                            <a:lnTo>
                              <a:pt x="3795" y="3783"/>
                            </a:lnTo>
                            <a:lnTo>
                              <a:pt x="3806" y="3773"/>
                            </a:lnTo>
                            <a:lnTo>
                              <a:pt x="3818" y="3764"/>
                            </a:lnTo>
                            <a:lnTo>
                              <a:pt x="3831" y="3756"/>
                            </a:lnTo>
                            <a:lnTo>
                              <a:pt x="3845" y="3749"/>
                            </a:lnTo>
                            <a:lnTo>
                              <a:pt x="3859" y="3743"/>
                            </a:lnTo>
                            <a:lnTo>
                              <a:pt x="3874" y="3738"/>
                            </a:lnTo>
                            <a:lnTo>
                              <a:pt x="3889" y="3734"/>
                            </a:lnTo>
                            <a:lnTo>
                              <a:pt x="3905" y="3731"/>
                            </a:lnTo>
                            <a:lnTo>
                              <a:pt x="3920" y="3729"/>
                            </a:lnTo>
                            <a:lnTo>
                              <a:pt x="3936" y="3728"/>
                            </a:lnTo>
                            <a:lnTo>
                              <a:pt x="3952" y="3728"/>
                            </a:lnTo>
                            <a:lnTo>
                              <a:pt x="3967" y="3730"/>
                            </a:lnTo>
                            <a:lnTo>
                              <a:pt x="3982" y="3732"/>
                            </a:lnTo>
                            <a:lnTo>
                              <a:pt x="3997" y="3735"/>
                            </a:lnTo>
                            <a:lnTo>
                              <a:pt x="4011" y="3740"/>
                            </a:lnTo>
                            <a:lnTo>
                              <a:pt x="4024" y="3746"/>
                            </a:lnTo>
                            <a:lnTo>
                              <a:pt x="4396" y="3926"/>
                            </a:lnTo>
                            <a:lnTo>
                              <a:pt x="4396" y="3926"/>
                            </a:lnTo>
                            <a:lnTo>
                              <a:pt x="4409" y="3932"/>
                            </a:lnTo>
                            <a:lnTo>
                              <a:pt x="4423" y="3936"/>
                            </a:lnTo>
                            <a:lnTo>
                              <a:pt x="4436" y="3939"/>
                            </a:lnTo>
                            <a:lnTo>
                              <a:pt x="4450" y="3940"/>
                            </a:lnTo>
                            <a:lnTo>
                              <a:pt x="4464" y="3940"/>
                            </a:lnTo>
                            <a:lnTo>
                              <a:pt x="4477" y="3939"/>
                            </a:lnTo>
                            <a:lnTo>
                              <a:pt x="4491" y="3936"/>
                            </a:lnTo>
                            <a:lnTo>
                              <a:pt x="4504" y="3932"/>
                            </a:lnTo>
                            <a:lnTo>
                              <a:pt x="4516" y="3927"/>
                            </a:lnTo>
                            <a:lnTo>
                              <a:pt x="4529" y="3921"/>
                            </a:lnTo>
                            <a:lnTo>
                              <a:pt x="4540" y="3914"/>
                            </a:lnTo>
                            <a:lnTo>
                              <a:pt x="4551" y="3905"/>
                            </a:lnTo>
                            <a:lnTo>
                              <a:pt x="4561" y="3896"/>
                            </a:lnTo>
                            <a:lnTo>
                              <a:pt x="4570" y="3885"/>
                            </a:lnTo>
                            <a:lnTo>
                              <a:pt x="4578" y="3873"/>
                            </a:lnTo>
                            <a:lnTo>
                              <a:pt x="4585" y="3860"/>
                            </a:lnTo>
                            <a:lnTo>
                              <a:pt x="4857" y="3300"/>
                            </a:lnTo>
                            <a:lnTo>
                              <a:pt x="4857" y="3300"/>
                            </a:lnTo>
                            <a:lnTo>
                              <a:pt x="4863" y="3286"/>
                            </a:lnTo>
                            <a:lnTo>
                              <a:pt x="4867" y="3273"/>
                            </a:lnTo>
                            <a:lnTo>
                              <a:pt x="4870" y="3259"/>
                            </a:lnTo>
                            <a:lnTo>
                              <a:pt x="4871" y="3245"/>
                            </a:lnTo>
                            <a:lnTo>
                              <a:pt x="4872" y="3231"/>
                            </a:lnTo>
                            <a:lnTo>
                              <a:pt x="4870" y="3218"/>
                            </a:lnTo>
                            <a:lnTo>
                              <a:pt x="4868" y="3204"/>
                            </a:lnTo>
                            <a:lnTo>
                              <a:pt x="4864" y="3191"/>
                            </a:lnTo>
                            <a:lnTo>
                              <a:pt x="4859" y="3179"/>
                            </a:lnTo>
                            <a:lnTo>
                              <a:pt x="4853" y="3167"/>
                            </a:lnTo>
                            <a:lnTo>
                              <a:pt x="4845" y="3155"/>
                            </a:lnTo>
                            <a:lnTo>
                              <a:pt x="4837" y="3144"/>
                            </a:lnTo>
                            <a:lnTo>
                              <a:pt x="4827" y="3134"/>
                            </a:lnTo>
                            <a:lnTo>
                              <a:pt x="4816" y="3125"/>
                            </a:lnTo>
                            <a:lnTo>
                              <a:pt x="4805" y="3117"/>
                            </a:lnTo>
                            <a:lnTo>
                              <a:pt x="4792" y="3110"/>
                            </a:lnTo>
                            <a:lnTo>
                              <a:pt x="4421" y="2930"/>
                            </a:lnTo>
                            <a:lnTo>
                              <a:pt x="4421" y="2930"/>
                            </a:lnTo>
                            <a:lnTo>
                              <a:pt x="4408" y="2923"/>
                            </a:lnTo>
                            <a:lnTo>
                              <a:pt x="4396" y="2915"/>
                            </a:lnTo>
                            <a:lnTo>
                              <a:pt x="4384" y="2905"/>
                            </a:lnTo>
                            <a:lnTo>
                              <a:pt x="4373" y="2895"/>
                            </a:lnTo>
                            <a:lnTo>
                              <a:pt x="4363" y="2884"/>
                            </a:lnTo>
                            <a:lnTo>
                              <a:pt x="4354" y="2872"/>
                            </a:lnTo>
                            <a:lnTo>
                              <a:pt x="4345" y="2859"/>
                            </a:lnTo>
                            <a:lnTo>
                              <a:pt x="4338" y="2845"/>
                            </a:lnTo>
                            <a:lnTo>
                              <a:pt x="4331" y="2831"/>
                            </a:lnTo>
                            <a:lnTo>
                              <a:pt x="4325" y="2817"/>
                            </a:lnTo>
                            <a:lnTo>
                              <a:pt x="4321" y="2802"/>
                            </a:lnTo>
                            <a:lnTo>
                              <a:pt x="4317" y="2787"/>
                            </a:lnTo>
                            <a:lnTo>
                              <a:pt x="4315" y="2772"/>
                            </a:lnTo>
                            <a:lnTo>
                              <a:pt x="4314" y="2758"/>
                            </a:lnTo>
                            <a:lnTo>
                              <a:pt x="4314" y="2743"/>
                            </a:lnTo>
                            <a:lnTo>
                              <a:pt x="4316" y="2728"/>
                            </a:lnTo>
                            <a:lnTo>
                              <a:pt x="4316" y="2728"/>
                            </a:lnTo>
                            <a:lnTo>
                              <a:pt x="4318" y="2710"/>
                            </a:lnTo>
                            <a:lnTo>
                              <a:pt x="4323" y="2662"/>
                            </a:lnTo>
                            <a:lnTo>
                              <a:pt x="4326" y="2629"/>
                            </a:lnTo>
                            <a:lnTo>
                              <a:pt x="4329" y="2590"/>
                            </a:lnTo>
                            <a:lnTo>
                              <a:pt x="4331" y="2548"/>
                            </a:lnTo>
                            <a:lnTo>
                              <a:pt x="4332" y="2502"/>
                            </a:lnTo>
                            <a:lnTo>
                              <a:pt x="4332" y="2502"/>
                            </a:lnTo>
                            <a:close/>
                            <a:moveTo>
                              <a:pt x="3788" y="2500"/>
                            </a:moveTo>
                            <a:lnTo>
                              <a:pt x="3788" y="2500"/>
                            </a:lnTo>
                            <a:lnTo>
                              <a:pt x="3787" y="2533"/>
                            </a:lnTo>
                            <a:lnTo>
                              <a:pt x="3786" y="2567"/>
                            </a:lnTo>
                            <a:lnTo>
                              <a:pt x="3784" y="2600"/>
                            </a:lnTo>
                            <a:lnTo>
                              <a:pt x="3780" y="2633"/>
                            </a:lnTo>
                            <a:lnTo>
                              <a:pt x="3777" y="2666"/>
                            </a:lnTo>
                            <a:lnTo>
                              <a:pt x="3772" y="2698"/>
                            </a:lnTo>
                            <a:lnTo>
                              <a:pt x="3767" y="2730"/>
                            </a:lnTo>
                            <a:lnTo>
                              <a:pt x="3760" y="2762"/>
                            </a:lnTo>
                            <a:lnTo>
                              <a:pt x="3753" y="2794"/>
                            </a:lnTo>
                            <a:lnTo>
                              <a:pt x="3746" y="2825"/>
                            </a:lnTo>
                            <a:lnTo>
                              <a:pt x="3737" y="2856"/>
                            </a:lnTo>
                            <a:lnTo>
                              <a:pt x="3728" y="2887"/>
                            </a:lnTo>
                            <a:lnTo>
                              <a:pt x="3718" y="2917"/>
                            </a:lnTo>
                            <a:lnTo>
                              <a:pt x="3707" y="2947"/>
                            </a:lnTo>
                            <a:lnTo>
                              <a:pt x="3696" y="2977"/>
                            </a:lnTo>
                            <a:lnTo>
                              <a:pt x="3684" y="3006"/>
                            </a:lnTo>
                            <a:lnTo>
                              <a:pt x="3671" y="3035"/>
                            </a:lnTo>
                            <a:lnTo>
                              <a:pt x="3657" y="3064"/>
                            </a:lnTo>
                            <a:lnTo>
                              <a:pt x="3643" y="3092"/>
                            </a:lnTo>
                            <a:lnTo>
                              <a:pt x="3628" y="3120"/>
                            </a:lnTo>
                            <a:lnTo>
                              <a:pt x="3613" y="3147"/>
                            </a:lnTo>
                            <a:lnTo>
                              <a:pt x="3597" y="3174"/>
                            </a:lnTo>
                            <a:lnTo>
                              <a:pt x="3580" y="3201"/>
                            </a:lnTo>
                            <a:lnTo>
                              <a:pt x="3563" y="3227"/>
                            </a:lnTo>
                            <a:lnTo>
                              <a:pt x="3545" y="3252"/>
                            </a:lnTo>
                            <a:lnTo>
                              <a:pt x="3526" y="3278"/>
                            </a:lnTo>
                            <a:lnTo>
                              <a:pt x="3507" y="3302"/>
                            </a:lnTo>
                            <a:lnTo>
                              <a:pt x="3487" y="3327"/>
                            </a:lnTo>
                            <a:lnTo>
                              <a:pt x="3467" y="3350"/>
                            </a:lnTo>
                            <a:lnTo>
                              <a:pt x="3446" y="3374"/>
                            </a:lnTo>
                            <a:lnTo>
                              <a:pt x="3425" y="3396"/>
                            </a:lnTo>
                            <a:lnTo>
                              <a:pt x="3403" y="3419"/>
                            </a:lnTo>
                            <a:lnTo>
                              <a:pt x="3381" y="3440"/>
                            </a:lnTo>
                            <a:lnTo>
                              <a:pt x="3358" y="3462"/>
                            </a:lnTo>
                            <a:lnTo>
                              <a:pt x="3334" y="3482"/>
                            </a:lnTo>
                            <a:lnTo>
                              <a:pt x="3310" y="3502"/>
                            </a:lnTo>
                            <a:lnTo>
                              <a:pt x="3286" y="3522"/>
                            </a:lnTo>
                            <a:lnTo>
                              <a:pt x="3261" y="3541"/>
                            </a:lnTo>
                            <a:lnTo>
                              <a:pt x="3236" y="3559"/>
                            </a:lnTo>
                            <a:lnTo>
                              <a:pt x="3210" y="3577"/>
                            </a:lnTo>
                            <a:lnTo>
                              <a:pt x="3184" y="3594"/>
                            </a:lnTo>
                            <a:lnTo>
                              <a:pt x="3157" y="3611"/>
                            </a:lnTo>
                            <a:lnTo>
                              <a:pt x="3130" y="3626"/>
                            </a:lnTo>
                            <a:lnTo>
                              <a:pt x="3102" y="3642"/>
                            </a:lnTo>
                            <a:lnTo>
                              <a:pt x="3074" y="3656"/>
                            </a:lnTo>
                            <a:lnTo>
                              <a:pt x="3046" y="3670"/>
                            </a:lnTo>
                            <a:lnTo>
                              <a:pt x="3017" y="3683"/>
                            </a:lnTo>
                            <a:lnTo>
                              <a:pt x="2988" y="3696"/>
                            </a:lnTo>
                            <a:lnTo>
                              <a:pt x="2959" y="3708"/>
                            </a:lnTo>
                            <a:lnTo>
                              <a:pt x="2929" y="3719"/>
                            </a:lnTo>
                            <a:lnTo>
                              <a:pt x="2899" y="3730"/>
                            </a:lnTo>
                            <a:lnTo>
                              <a:pt x="2868" y="3739"/>
                            </a:lnTo>
                            <a:lnTo>
                              <a:pt x="2838" y="3748"/>
                            </a:lnTo>
                            <a:lnTo>
                              <a:pt x="2807" y="3757"/>
                            </a:lnTo>
                            <a:lnTo>
                              <a:pt x="2775" y="3764"/>
                            </a:lnTo>
                            <a:lnTo>
                              <a:pt x="2744" y="3771"/>
                            </a:lnTo>
                            <a:lnTo>
                              <a:pt x="2712" y="3777"/>
                            </a:lnTo>
                            <a:lnTo>
                              <a:pt x="2679" y="3782"/>
                            </a:lnTo>
                            <a:lnTo>
                              <a:pt x="2647" y="3787"/>
                            </a:lnTo>
                            <a:lnTo>
                              <a:pt x="2614" y="3790"/>
                            </a:lnTo>
                            <a:lnTo>
                              <a:pt x="2581" y="3793"/>
                            </a:lnTo>
                            <a:lnTo>
                              <a:pt x="2548" y="3795"/>
                            </a:lnTo>
                            <a:lnTo>
                              <a:pt x="2515" y="3796"/>
                            </a:lnTo>
                            <a:lnTo>
                              <a:pt x="2481" y="3796"/>
                            </a:lnTo>
                            <a:lnTo>
                              <a:pt x="2481" y="3796"/>
                            </a:lnTo>
                            <a:lnTo>
                              <a:pt x="2446" y="3796"/>
                            </a:lnTo>
                            <a:lnTo>
                              <a:pt x="2413" y="3794"/>
                            </a:lnTo>
                            <a:lnTo>
                              <a:pt x="2380" y="3792"/>
                            </a:lnTo>
                            <a:lnTo>
                              <a:pt x="2347" y="3789"/>
                            </a:lnTo>
                            <a:lnTo>
                              <a:pt x="2314" y="3785"/>
                            </a:lnTo>
                            <a:lnTo>
                              <a:pt x="2282" y="3781"/>
                            </a:lnTo>
                            <a:lnTo>
                              <a:pt x="2250" y="3775"/>
                            </a:lnTo>
                            <a:lnTo>
                              <a:pt x="2218" y="3769"/>
                            </a:lnTo>
                            <a:lnTo>
                              <a:pt x="2186" y="3762"/>
                            </a:lnTo>
                            <a:lnTo>
                              <a:pt x="2155" y="3754"/>
                            </a:lnTo>
                            <a:lnTo>
                              <a:pt x="2124" y="3746"/>
                            </a:lnTo>
                            <a:lnTo>
                              <a:pt x="2093" y="3736"/>
                            </a:lnTo>
                            <a:lnTo>
                              <a:pt x="2063" y="3726"/>
                            </a:lnTo>
                            <a:lnTo>
                              <a:pt x="2033" y="3716"/>
                            </a:lnTo>
                            <a:lnTo>
                              <a:pt x="2003" y="3704"/>
                            </a:lnTo>
                            <a:lnTo>
                              <a:pt x="1974" y="3692"/>
                            </a:lnTo>
                            <a:lnTo>
                              <a:pt x="1945" y="3679"/>
                            </a:lnTo>
                            <a:lnTo>
                              <a:pt x="1916" y="3666"/>
                            </a:lnTo>
                            <a:lnTo>
                              <a:pt x="1888" y="3652"/>
                            </a:lnTo>
                            <a:lnTo>
                              <a:pt x="1860" y="3637"/>
                            </a:lnTo>
                            <a:lnTo>
                              <a:pt x="1833" y="3621"/>
                            </a:lnTo>
                            <a:lnTo>
                              <a:pt x="1806" y="3605"/>
                            </a:lnTo>
                            <a:lnTo>
                              <a:pt x="1779" y="3589"/>
                            </a:lnTo>
                            <a:lnTo>
                              <a:pt x="1753" y="3571"/>
                            </a:lnTo>
                            <a:lnTo>
                              <a:pt x="1728" y="3553"/>
                            </a:lnTo>
                            <a:lnTo>
                              <a:pt x="1702" y="3535"/>
                            </a:lnTo>
                            <a:lnTo>
                              <a:pt x="1678" y="3516"/>
                            </a:lnTo>
                            <a:lnTo>
                              <a:pt x="1653" y="3496"/>
                            </a:lnTo>
                            <a:lnTo>
                              <a:pt x="1630" y="3476"/>
                            </a:lnTo>
                            <a:lnTo>
                              <a:pt x="1606" y="3455"/>
                            </a:lnTo>
                            <a:lnTo>
                              <a:pt x="1584" y="3433"/>
                            </a:lnTo>
                            <a:lnTo>
                              <a:pt x="1561" y="3412"/>
                            </a:lnTo>
                            <a:lnTo>
                              <a:pt x="1540" y="3389"/>
                            </a:lnTo>
                            <a:lnTo>
                              <a:pt x="1518" y="3366"/>
                            </a:lnTo>
                            <a:lnTo>
                              <a:pt x="1498" y="3343"/>
                            </a:lnTo>
                            <a:lnTo>
                              <a:pt x="1478" y="3319"/>
                            </a:lnTo>
                            <a:lnTo>
                              <a:pt x="1458" y="3294"/>
                            </a:lnTo>
                            <a:lnTo>
                              <a:pt x="1439" y="3269"/>
                            </a:lnTo>
                            <a:lnTo>
                              <a:pt x="1421" y="3244"/>
                            </a:lnTo>
                            <a:lnTo>
                              <a:pt x="1403" y="3218"/>
                            </a:lnTo>
                            <a:lnTo>
                              <a:pt x="1386" y="3192"/>
                            </a:lnTo>
                            <a:lnTo>
                              <a:pt x="1370" y="3165"/>
                            </a:lnTo>
                            <a:lnTo>
                              <a:pt x="1354" y="3138"/>
                            </a:lnTo>
                            <a:lnTo>
                              <a:pt x="1338" y="3111"/>
                            </a:lnTo>
                            <a:lnTo>
                              <a:pt x="1324" y="3083"/>
                            </a:lnTo>
                            <a:lnTo>
                              <a:pt x="1310" y="3054"/>
                            </a:lnTo>
                            <a:lnTo>
                              <a:pt x="1297" y="3026"/>
                            </a:lnTo>
                            <a:lnTo>
                              <a:pt x="1284" y="2997"/>
                            </a:lnTo>
                            <a:lnTo>
                              <a:pt x="1272" y="2967"/>
                            </a:lnTo>
                            <a:lnTo>
                              <a:pt x="1261" y="2937"/>
                            </a:lnTo>
                            <a:lnTo>
                              <a:pt x="1250" y="2907"/>
                            </a:lnTo>
                            <a:lnTo>
                              <a:pt x="1241" y="2877"/>
                            </a:lnTo>
                            <a:lnTo>
                              <a:pt x="1232" y="2846"/>
                            </a:lnTo>
                            <a:lnTo>
                              <a:pt x="1223" y="2815"/>
                            </a:lnTo>
                            <a:lnTo>
                              <a:pt x="1216" y="2784"/>
                            </a:lnTo>
                            <a:lnTo>
                              <a:pt x="1209" y="2752"/>
                            </a:lnTo>
                            <a:lnTo>
                              <a:pt x="1203" y="2720"/>
                            </a:lnTo>
                            <a:lnTo>
                              <a:pt x="1198" y="2688"/>
                            </a:lnTo>
                            <a:lnTo>
                              <a:pt x="1194" y="2655"/>
                            </a:lnTo>
                            <a:lnTo>
                              <a:pt x="1190" y="2623"/>
                            </a:lnTo>
                            <a:lnTo>
                              <a:pt x="1187" y="2590"/>
                            </a:lnTo>
                            <a:lnTo>
                              <a:pt x="1185" y="2557"/>
                            </a:lnTo>
                            <a:lnTo>
                              <a:pt x="1184" y="2523"/>
                            </a:lnTo>
                            <a:lnTo>
                              <a:pt x="1184" y="2490"/>
                            </a:lnTo>
                            <a:lnTo>
                              <a:pt x="1184" y="2490"/>
                            </a:lnTo>
                            <a:lnTo>
                              <a:pt x="1184" y="2455"/>
                            </a:lnTo>
                            <a:lnTo>
                              <a:pt x="1186" y="2422"/>
                            </a:lnTo>
                            <a:lnTo>
                              <a:pt x="1188" y="2388"/>
                            </a:lnTo>
                            <a:lnTo>
                              <a:pt x="1191" y="2356"/>
                            </a:lnTo>
                            <a:lnTo>
                              <a:pt x="1195" y="2323"/>
                            </a:lnTo>
                            <a:lnTo>
                              <a:pt x="1199" y="2290"/>
                            </a:lnTo>
                            <a:lnTo>
                              <a:pt x="1205" y="2258"/>
                            </a:lnTo>
                            <a:lnTo>
                              <a:pt x="1211" y="2226"/>
                            </a:lnTo>
                            <a:lnTo>
                              <a:pt x="1218" y="2195"/>
                            </a:lnTo>
                            <a:lnTo>
                              <a:pt x="1226" y="2163"/>
                            </a:lnTo>
                            <a:lnTo>
                              <a:pt x="1234" y="2132"/>
                            </a:lnTo>
                            <a:lnTo>
                              <a:pt x="1244" y="2102"/>
                            </a:lnTo>
                            <a:lnTo>
                              <a:pt x="1254" y="2071"/>
                            </a:lnTo>
                            <a:lnTo>
                              <a:pt x="1264" y="2041"/>
                            </a:lnTo>
                            <a:lnTo>
                              <a:pt x="1276" y="2012"/>
                            </a:lnTo>
                            <a:lnTo>
                              <a:pt x="1288" y="1982"/>
                            </a:lnTo>
                            <a:lnTo>
                              <a:pt x="1301" y="1953"/>
                            </a:lnTo>
                            <a:lnTo>
                              <a:pt x="1314" y="1925"/>
                            </a:lnTo>
                            <a:lnTo>
                              <a:pt x="1328" y="1897"/>
                            </a:lnTo>
                            <a:lnTo>
                              <a:pt x="1343" y="1869"/>
                            </a:lnTo>
                            <a:lnTo>
                              <a:pt x="1359" y="1841"/>
                            </a:lnTo>
                            <a:lnTo>
                              <a:pt x="1375" y="1814"/>
                            </a:lnTo>
                            <a:lnTo>
                              <a:pt x="1391" y="1788"/>
                            </a:lnTo>
                            <a:lnTo>
                              <a:pt x="1409" y="1762"/>
                            </a:lnTo>
                            <a:lnTo>
                              <a:pt x="1427" y="1736"/>
                            </a:lnTo>
                            <a:lnTo>
                              <a:pt x="1445" y="1711"/>
                            </a:lnTo>
                            <a:lnTo>
                              <a:pt x="1464" y="1686"/>
                            </a:lnTo>
                            <a:lnTo>
                              <a:pt x="1484" y="1662"/>
                            </a:lnTo>
                            <a:lnTo>
                              <a:pt x="1504" y="1638"/>
                            </a:lnTo>
                            <a:lnTo>
                              <a:pt x="1525" y="1615"/>
                            </a:lnTo>
                            <a:lnTo>
                              <a:pt x="1547" y="1592"/>
                            </a:lnTo>
                            <a:lnTo>
                              <a:pt x="1569" y="1570"/>
                            </a:lnTo>
                            <a:lnTo>
                              <a:pt x="1591" y="1548"/>
                            </a:lnTo>
                            <a:lnTo>
                              <a:pt x="1614" y="1527"/>
                            </a:lnTo>
                            <a:lnTo>
                              <a:pt x="1637" y="1506"/>
                            </a:lnTo>
                            <a:lnTo>
                              <a:pt x="1661" y="1486"/>
                            </a:lnTo>
                            <a:lnTo>
                              <a:pt x="1686" y="1467"/>
                            </a:lnTo>
                            <a:lnTo>
                              <a:pt x="1711" y="1448"/>
                            </a:lnTo>
                            <a:lnTo>
                              <a:pt x="1736" y="1429"/>
                            </a:lnTo>
                            <a:lnTo>
                              <a:pt x="1762" y="1412"/>
                            </a:lnTo>
                            <a:lnTo>
                              <a:pt x="1788" y="1395"/>
                            </a:lnTo>
                            <a:lnTo>
                              <a:pt x="1815" y="1378"/>
                            </a:lnTo>
                            <a:lnTo>
                              <a:pt x="1842" y="1362"/>
                            </a:lnTo>
                            <a:lnTo>
                              <a:pt x="1869" y="1347"/>
                            </a:lnTo>
                            <a:lnTo>
                              <a:pt x="1897" y="1332"/>
                            </a:lnTo>
                            <a:lnTo>
                              <a:pt x="1926" y="1318"/>
                            </a:lnTo>
                            <a:lnTo>
                              <a:pt x="1954" y="1305"/>
                            </a:lnTo>
                            <a:lnTo>
                              <a:pt x="1983" y="1293"/>
                            </a:lnTo>
                            <a:lnTo>
                              <a:pt x="2013" y="1281"/>
                            </a:lnTo>
                            <a:lnTo>
                              <a:pt x="2043" y="1270"/>
                            </a:lnTo>
                            <a:lnTo>
                              <a:pt x="2073" y="1259"/>
                            </a:lnTo>
                            <a:lnTo>
                              <a:pt x="2103" y="1249"/>
                            </a:lnTo>
                            <a:lnTo>
                              <a:pt x="2134" y="1240"/>
                            </a:lnTo>
                            <a:lnTo>
                              <a:pt x="2165" y="1232"/>
                            </a:lnTo>
                            <a:lnTo>
                              <a:pt x="2196" y="1225"/>
                            </a:lnTo>
                            <a:lnTo>
                              <a:pt x="2228" y="1218"/>
                            </a:lnTo>
                            <a:lnTo>
                              <a:pt x="2260" y="1212"/>
                            </a:lnTo>
                            <a:lnTo>
                              <a:pt x="2292" y="1207"/>
                            </a:lnTo>
                            <a:lnTo>
                              <a:pt x="2325" y="1202"/>
                            </a:lnTo>
                            <a:lnTo>
                              <a:pt x="2357" y="1199"/>
                            </a:lnTo>
                            <a:lnTo>
                              <a:pt x="2390" y="1196"/>
                            </a:lnTo>
                            <a:lnTo>
                              <a:pt x="2424" y="1194"/>
                            </a:lnTo>
                            <a:lnTo>
                              <a:pt x="2457" y="1193"/>
                            </a:lnTo>
                            <a:lnTo>
                              <a:pt x="2492" y="1192"/>
                            </a:lnTo>
                            <a:lnTo>
                              <a:pt x="2492" y="1192"/>
                            </a:lnTo>
                            <a:lnTo>
                              <a:pt x="2525" y="1193"/>
                            </a:lnTo>
                            <a:lnTo>
                              <a:pt x="2558" y="1194"/>
                            </a:lnTo>
                            <a:lnTo>
                              <a:pt x="2592" y="1197"/>
                            </a:lnTo>
                            <a:lnTo>
                              <a:pt x="2625" y="1200"/>
                            </a:lnTo>
                            <a:lnTo>
                              <a:pt x="2657" y="1204"/>
                            </a:lnTo>
                            <a:lnTo>
                              <a:pt x="2690" y="1208"/>
                            </a:lnTo>
                            <a:lnTo>
                              <a:pt x="2722" y="1214"/>
                            </a:lnTo>
                            <a:lnTo>
                              <a:pt x="2754" y="1220"/>
                            </a:lnTo>
                            <a:lnTo>
                              <a:pt x="2785" y="1227"/>
                            </a:lnTo>
                            <a:lnTo>
                              <a:pt x="2817" y="1235"/>
                            </a:lnTo>
                            <a:lnTo>
                              <a:pt x="2848" y="1243"/>
                            </a:lnTo>
                            <a:lnTo>
                              <a:pt x="2878" y="1252"/>
                            </a:lnTo>
                            <a:lnTo>
                              <a:pt x="2909" y="1262"/>
                            </a:lnTo>
                            <a:lnTo>
                              <a:pt x="2939" y="1273"/>
                            </a:lnTo>
                            <a:lnTo>
                              <a:pt x="2968" y="1285"/>
                            </a:lnTo>
                            <a:lnTo>
                              <a:pt x="2998" y="1297"/>
                            </a:lnTo>
                            <a:lnTo>
                              <a:pt x="3027" y="1309"/>
                            </a:lnTo>
                            <a:lnTo>
                              <a:pt x="3055" y="1323"/>
                            </a:lnTo>
                            <a:lnTo>
                              <a:pt x="3083" y="1337"/>
                            </a:lnTo>
                            <a:lnTo>
                              <a:pt x="3111" y="1352"/>
                            </a:lnTo>
                            <a:lnTo>
                              <a:pt x="3139" y="1367"/>
                            </a:lnTo>
                            <a:lnTo>
                              <a:pt x="3166" y="1383"/>
                            </a:lnTo>
                            <a:lnTo>
                              <a:pt x="3192" y="1400"/>
                            </a:lnTo>
                            <a:lnTo>
                              <a:pt x="3218" y="1418"/>
                            </a:lnTo>
                            <a:lnTo>
                              <a:pt x="3244" y="1435"/>
                            </a:lnTo>
                            <a:lnTo>
                              <a:pt x="3269" y="1454"/>
                            </a:lnTo>
                            <a:lnTo>
                              <a:pt x="3294" y="1473"/>
                            </a:lnTo>
                            <a:lnTo>
                              <a:pt x="3318" y="1493"/>
                            </a:lnTo>
                            <a:lnTo>
                              <a:pt x="3342" y="1513"/>
                            </a:lnTo>
                            <a:lnTo>
                              <a:pt x="3365" y="1534"/>
                            </a:lnTo>
                            <a:lnTo>
                              <a:pt x="3388" y="1555"/>
                            </a:lnTo>
                            <a:lnTo>
                              <a:pt x="3410" y="1577"/>
                            </a:lnTo>
                            <a:lnTo>
                              <a:pt x="3432" y="1600"/>
                            </a:lnTo>
                            <a:lnTo>
                              <a:pt x="3453" y="1623"/>
                            </a:lnTo>
                            <a:lnTo>
                              <a:pt x="3474" y="1646"/>
                            </a:lnTo>
                            <a:lnTo>
                              <a:pt x="3494" y="1670"/>
                            </a:lnTo>
                            <a:lnTo>
                              <a:pt x="3513" y="1694"/>
                            </a:lnTo>
                            <a:lnTo>
                              <a:pt x="3532" y="1719"/>
                            </a:lnTo>
                            <a:lnTo>
                              <a:pt x="3551" y="1745"/>
                            </a:lnTo>
                            <a:lnTo>
                              <a:pt x="3568" y="1770"/>
                            </a:lnTo>
                            <a:lnTo>
                              <a:pt x="3585" y="1797"/>
                            </a:lnTo>
                            <a:lnTo>
                              <a:pt x="3602" y="1823"/>
                            </a:lnTo>
                            <a:lnTo>
                              <a:pt x="3618" y="1850"/>
                            </a:lnTo>
                            <a:lnTo>
                              <a:pt x="3633" y="1878"/>
                            </a:lnTo>
                            <a:lnTo>
                              <a:pt x="3648" y="1906"/>
                            </a:lnTo>
                            <a:lnTo>
                              <a:pt x="3662" y="1934"/>
                            </a:lnTo>
                            <a:lnTo>
                              <a:pt x="3675" y="1963"/>
                            </a:lnTo>
                            <a:lnTo>
                              <a:pt x="3687" y="1992"/>
                            </a:lnTo>
                            <a:lnTo>
                              <a:pt x="3699" y="2021"/>
                            </a:lnTo>
                            <a:lnTo>
                              <a:pt x="3711" y="2051"/>
                            </a:lnTo>
                            <a:lnTo>
                              <a:pt x="3721" y="2081"/>
                            </a:lnTo>
                            <a:lnTo>
                              <a:pt x="3731" y="2112"/>
                            </a:lnTo>
                            <a:lnTo>
                              <a:pt x="3740" y="2142"/>
                            </a:lnTo>
                            <a:lnTo>
                              <a:pt x="3748" y="2173"/>
                            </a:lnTo>
                            <a:lnTo>
                              <a:pt x="3756" y="2205"/>
                            </a:lnTo>
                            <a:lnTo>
                              <a:pt x="3762" y="2236"/>
                            </a:lnTo>
                            <a:lnTo>
                              <a:pt x="3768" y="2268"/>
                            </a:lnTo>
                            <a:lnTo>
                              <a:pt x="3773" y="2301"/>
                            </a:lnTo>
                            <a:lnTo>
                              <a:pt x="3778" y="2333"/>
                            </a:lnTo>
                            <a:lnTo>
                              <a:pt x="3781" y="2366"/>
                            </a:lnTo>
                            <a:lnTo>
                              <a:pt x="3784" y="2399"/>
                            </a:lnTo>
                            <a:lnTo>
                              <a:pt x="3786" y="2432"/>
                            </a:lnTo>
                            <a:lnTo>
                              <a:pt x="3787" y="2466"/>
                            </a:lnTo>
                            <a:lnTo>
                              <a:pt x="3788" y="2500"/>
                            </a:lnTo>
                            <a:lnTo>
                              <a:pt x="3788" y="2500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 vert="horz" wrap="square" lIns="91461" tIns="45731" rIns="91461" bIns="457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583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</a:endParaRPr>
                      </a:p>
                    </p:txBody>
                  </p:sp>
                </p:grpSp>
              </p:grpSp>
            </p:grpSp>
          </p:grpSp>
          <p:cxnSp>
            <p:nvCxnSpPr>
              <p:cNvPr id="573" name="Gerader Verbinder 572">
                <a:extLst>
                  <a:ext uri="{FF2B5EF4-FFF2-40B4-BE49-F238E27FC236}">
                    <a16:creationId xmlns:a16="http://schemas.microsoft.com/office/drawing/2014/main" id="{5941C885-C085-44B4-BD3F-58C0A58EE5E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990651" y="4983841"/>
                <a:ext cx="619199" cy="0"/>
              </a:xfrm>
              <a:prstGeom prst="line">
                <a:avLst/>
              </a:prstGeom>
              <a:noFill/>
              <a:ln w="25400" cap="rnd" cmpd="sng" algn="ctr">
                <a:solidFill>
                  <a:schemeClr val="accent4">
                    <a:lumMod val="100000"/>
                  </a:schemeClr>
                </a:solidFill>
                <a:prstDash val="sysDot"/>
                <a:round/>
                <a:headEnd type="none" w="med" len="med"/>
                <a:tailEnd type="triangl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</p:grpSp>
      <p:cxnSp>
        <p:nvCxnSpPr>
          <p:cNvPr id="575" name="Gerader Verbinder 574">
            <a:extLst>
              <a:ext uri="{FF2B5EF4-FFF2-40B4-BE49-F238E27FC236}">
                <a16:creationId xmlns:a16="http://schemas.microsoft.com/office/drawing/2014/main" id="{94AB1F3F-194C-40EE-9EFF-E643E64A2004}"/>
              </a:ext>
            </a:extLst>
          </p:cNvPr>
          <p:cNvCxnSpPr>
            <a:cxnSpLocks/>
          </p:cNvCxnSpPr>
          <p:nvPr/>
        </p:nvCxnSpPr>
        <p:spPr bwMode="gray">
          <a:xfrm>
            <a:off x="1275234" y="2828715"/>
            <a:ext cx="2591400" cy="0"/>
          </a:xfrm>
          <a:prstGeom prst="line">
            <a:avLst/>
          </a:prstGeom>
          <a:noFill/>
          <a:ln w="25400" cap="rnd" cmpd="sng" algn="ctr">
            <a:solidFill>
              <a:schemeClr val="accent4">
                <a:lumMod val="100000"/>
              </a:schemeClr>
            </a:solidFill>
            <a:prstDash val="sysDot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5" name="SAGD, Siemens, energy, energie, strom, blitz, lightning, power, electricity, elektrizität, spannung">
            <a:extLst>
              <a:ext uri="{FF2B5EF4-FFF2-40B4-BE49-F238E27FC236}">
                <a16:creationId xmlns:a16="http://schemas.microsoft.com/office/drawing/2014/main" id="{AB88E378-ACD8-4C83-BBF5-6E78D9CBF3FE}"/>
              </a:ext>
            </a:extLst>
          </p:cNvPr>
          <p:cNvSpPr>
            <a:spLocks/>
          </p:cNvSpPr>
          <p:nvPr/>
        </p:nvSpPr>
        <p:spPr bwMode="gray">
          <a:xfrm>
            <a:off x="2308901" y="2572866"/>
            <a:ext cx="296943" cy="591764"/>
          </a:xfrm>
          <a:custGeom>
            <a:avLst/>
            <a:gdLst>
              <a:gd name="T0" fmla="*/ 280 w 280"/>
              <a:gd name="T1" fmla="*/ 307 h 558"/>
              <a:gd name="T2" fmla="*/ 112 w 280"/>
              <a:gd name="T3" fmla="*/ 209 h 558"/>
              <a:gd name="T4" fmla="*/ 141 w 280"/>
              <a:gd name="T5" fmla="*/ 0 h 558"/>
              <a:gd name="T6" fmla="*/ 0 w 280"/>
              <a:gd name="T7" fmla="*/ 249 h 558"/>
              <a:gd name="T8" fmla="*/ 169 w 280"/>
              <a:gd name="T9" fmla="*/ 347 h 558"/>
              <a:gd name="T10" fmla="*/ 141 w 280"/>
              <a:gd name="T11" fmla="*/ 558 h 558"/>
              <a:gd name="T12" fmla="*/ 280 w 280"/>
              <a:gd name="T13" fmla="*/ 307 h 5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0" h="558">
                <a:moveTo>
                  <a:pt x="280" y="307"/>
                </a:moveTo>
                <a:lnTo>
                  <a:pt x="112" y="209"/>
                </a:lnTo>
                <a:lnTo>
                  <a:pt x="141" y="0"/>
                </a:lnTo>
                <a:lnTo>
                  <a:pt x="0" y="249"/>
                </a:lnTo>
                <a:lnTo>
                  <a:pt x="169" y="347"/>
                </a:lnTo>
                <a:lnTo>
                  <a:pt x="141" y="558"/>
                </a:lnTo>
                <a:lnTo>
                  <a:pt x="280" y="307"/>
                </a:lnTo>
                <a:close/>
              </a:path>
            </a:pathLst>
          </a:custGeom>
          <a:solidFill>
            <a:srgbClr val="FFD200"/>
          </a:solidFill>
          <a:ln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595" name="SAGD, Siemens, energy, energie, strom, blitz, lightning, power, electricity, elektrizität, spannung">
            <a:extLst>
              <a:ext uri="{FF2B5EF4-FFF2-40B4-BE49-F238E27FC236}">
                <a16:creationId xmlns:a16="http://schemas.microsoft.com/office/drawing/2014/main" id="{5CEF6EC4-7DFF-40ED-94B2-8D044458A077}"/>
              </a:ext>
            </a:extLst>
          </p:cNvPr>
          <p:cNvSpPr>
            <a:spLocks/>
          </p:cNvSpPr>
          <p:nvPr/>
        </p:nvSpPr>
        <p:spPr bwMode="gray">
          <a:xfrm>
            <a:off x="9231612" y="3226467"/>
            <a:ext cx="296943" cy="591764"/>
          </a:xfrm>
          <a:custGeom>
            <a:avLst/>
            <a:gdLst>
              <a:gd name="T0" fmla="*/ 280 w 280"/>
              <a:gd name="T1" fmla="*/ 307 h 558"/>
              <a:gd name="T2" fmla="*/ 112 w 280"/>
              <a:gd name="T3" fmla="*/ 209 h 558"/>
              <a:gd name="T4" fmla="*/ 141 w 280"/>
              <a:gd name="T5" fmla="*/ 0 h 558"/>
              <a:gd name="T6" fmla="*/ 0 w 280"/>
              <a:gd name="T7" fmla="*/ 249 h 558"/>
              <a:gd name="T8" fmla="*/ 169 w 280"/>
              <a:gd name="T9" fmla="*/ 347 h 558"/>
              <a:gd name="T10" fmla="*/ 141 w 280"/>
              <a:gd name="T11" fmla="*/ 558 h 558"/>
              <a:gd name="T12" fmla="*/ 280 w 280"/>
              <a:gd name="T13" fmla="*/ 307 h 5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0" h="558">
                <a:moveTo>
                  <a:pt x="280" y="307"/>
                </a:moveTo>
                <a:lnTo>
                  <a:pt x="112" y="209"/>
                </a:lnTo>
                <a:lnTo>
                  <a:pt x="141" y="0"/>
                </a:lnTo>
                <a:lnTo>
                  <a:pt x="0" y="249"/>
                </a:lnTo>
                <a:lnTo>
                  <a:pt x="169" y="347"/>
                </a:lnTo>
                <a:lnTo>
                  <a:pt x="141" y="558"/>
                </a:lnTo>
                <a:lnTo>
                  <a:pt x="280" y="307"/>
                </a:lnTo>
                <a:close/>
              </a:path>
            </a:pathLst>
          </a:custGeom>
          <a:solidFill>
            <a:srgbClr val="FFD200"/>
          </a:solidFill>
          <a:ln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599" name="SAGD, Siemens, energy, energie, strom, blitz, lightning, power, electricity, elektrizität, spannung">
            <a:extLst>
              <a:ext uri="{FF2B5EF4-FFF2-40B4-BE49-F238E27FC236}">
                <a16:creationId xmlns:a16="http://schemas.microsoft.com/office/drawing/2014/main" id="{8DAEA072-C3CB-4E49-830F-939B733A8B03}"/>
              </a:ext>
            </a:extLst>
          </p:cNvPr>
          <p:cNvSpPr>
            <a:spLocks/>
          </p:cNvSpPr>
          <p:nvPr/>
        </p:nvSpPr>
        <p:spPr bwMode="gray">
          <a:xfrm>
            <a:off x="2101612" y="4673512"/>
            <a:ext cx="296943" cy="591764"/>
          </a:xfrm>
          <a:custGeom>
            <a:avLst/>
            <a:gdLst>
              <a:gd name="T0" fmla="*/ 280 w 280"/>
              <a:gd name="T1" fmla="*/ 307 h 558"/>
              <a:gd name="T2" fmla="*/ 112 w 280"/>
              <a:gd name="T3" fmla="*/ 209 h 558"/>
              <a:gd name="T4" fmla="*/ 141 w 280"/>
              <a:gd name="T5" fmla="*/ 0 h 558"/>
              <a:gd name="T6" fmla="*/ 0 w 280"/>
              <a:gd name="T7" fmla="*/ 249 h 558"/>
              <a:gd name="T8" fmla="*/ 169 w 280"/>
              <a:gd name="T9" fmla="*/ 347 h 558"/>
              <a:gd name="T10" fmla="*/ 141 w 280"/>
              <a:gd name="T11" fmla="*/ 558 h 558"/>
              <a:gd name="T12" fmla="*/ 280 w 280"/>
              <a:gd name="T13" fmla="*/ 307 h 5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0" h="558">
                <a:moveTo>
                  <a:pt x="280" y="307"/>
                </a:moveTo>
                <a:lnTo>
                  <a:pt x="112" y="209"/>
                </a:lnTo>
                <a:lnTo>
                  <a:pt x="141" y="0"/>
                </a:lnTo>
                <a:lnTo>
                  <a:pt x="0" y="249"/>
                </a:lnTo>
                <a:lnTo>
                  <a:pt x="169" y="347"/>
                </a:lnTo>
                <a:lnTo>
                  <a:pt x="141" y="558"/>
                </a:lnTo>
                <a:lnTo>
                  <a:pt x="280" y="307"/>
                </a:lnTo>
                <a:close/>
              </a:path>
            </a:pathLst>
          </a:custGeom>
          <a:solidFill>
            <a:srgbClr val="FFD200"/>
          </a:solidFill>
          <a:ln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grpSp>
        <p:nvGrpSpPr>
          <p:cNvPr id="8207" name="Gruppieren 8206">
            <a:extLst>
              <a:ext uri="{FF2B5EF4-FFF2-40B4-BE49-F238E27FC236}">
                <a16:creationId xmlns:a16="http://schemas.microsoft.com/office/drawing/2014/main" id="{A4EE8557-4EB7-42A0-B502-2C3D9C335726}"/>
              </a:ext>
            </a:extLst>
          </p:cNvPr>
          <p:cNvGrpSpPr/>
          <p:nvPr/>
        </p:nvGrpSpPr>
        <p:grpSpPr bwMode="gray">
          <a:xfrm>
            <a:off x="555136" y="6351041"/>
            <a:ext cx="1153499" cy="153924"/>
            <a:chOff x="542131" y="6349571"/>
            <a:chExt cx="1153232" cy="153888"/>
          </a:xfrm>
        </p:grpSpPr>
        <p:sp>
          <p:nvSpPr>
            <p:cNvPr id="601" name="Rechteck 600">
              <a:extLst>
                <a:ext uri="{FF2B5EF4-FFF2-40B4-BE49-F238E27FC236}">
                  <a16:creationId xmlns:a16="http://schemas.microsoft.com/office/drawing/2014/main" id="{3B1BF2B2-2A3F-45D3-8621-2DAAC1CA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131" y="6349571"/>
              <a:ext cx="153888" cy="15388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604" name="TextBox 39">
              <a:extLst>
                <a:ext uri="{FF2B5EF4-FFF2-40B4-BE49-F238E27FC236}">
                  <a16:creationId xmlns:a16="http://schemas.microsoft.com/office/drawing/2014/main" id="{7B80A521-FED1-4AE4-9F16-0F8B56F6A9D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45409" y="6349571"/>
              <a:ext cx="94995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3</a:t>
              </a:r>
              <a:r>
                <a:rPr lang="en-US" sz="1000" baseline="30000" dirty="0">
                  <a:solidFill>
                    <a:srgbClr val="000000"/>
                  </a:solidFill>
                  <a:latin typeface="Calibri"/>
                  <a:ea typeface="+mn-ea"/>
                </a:rPr>
                <a:t>rd</a:t>
              </a: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 party Updater</a:t>
              </a:r>
            </a:p>
          </p:txBody>
        </p:sp>
      </p:grpSp>
      <p:grpSp>
        <p:nvGrpSpPr>
          <p:cNvPr id="8206" name="Gruppieren 8205">
            <a:extLst>
              <a:ext uri="{FF2B5EF4-FFF2-40B4-BE49-F238E27FC236}">
                <a16:creationId xmlns:a16="http://schemas.microsoft.com/office/drawing/2014/main" id="{9CB75A29-21D4-452C-AC11-98EE3A36D242}"/>
              </a:ext>
            </a:extLst>
          </p:cNvPr>
          <p:cNvGrpSpPr/>
          <p:nvPr/>
        </p:nvGrpSpPr>
        <p:grpSpPr bwMode="gray">
          <a:xfrm>
            <a:off x="1853475" y="6351041"/>
            <a:ext cx="1913123" cy="153924"/>
            <a:chOff x="1840170" y="6349571"/>
            <a:chExt cx="1912680" cy="153888"/>
          </a:xfrm>
        </p:grpSpPr>
        <p:sp>
          <p:nvSpPr>
            <p:cNvPr id="607" name="Rechteck 606">
              <a:extLst>
                <a:ext uri="{FF2B5EF4-FFF2-40B4-BE49-F238E27FC236}">
                  <a16:creationId xmlns:a16="http://schemas.microsoft.com/office/drawing/2014/main" id="{2F8951AE-7E03-4CD8-AC13-A910A557CC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0170" y="6349571"/>
              <a:ext cx="153888" cy="1538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608" name="TextBox 39">
              <a:extLst>
                <a:ext uri="{FF2B5EF4-FFF2-40B4-BE49-F238E27FC236}">
                  <a16:creationId xmlns:a16="http://schemas.microsoft.com/office/drawing/2014/main" id="{BA0865B1-CF87-4D16-9599-D8428195E88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043448" y="6349571"/>
              <a:ext cx="170940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SW Updater/Development Item</a:t>
              </a:r>
            </a:p>
          </p:txBody>
        </p:sp>
      </p:grpSp>
      <p:grpSp>
        <p:nvGrpSpPr>
          <p:cNvPr id="8208" name="Gruppieren 8207">
            <a:extLst>
              <a:ext uri="{FF2B5EF4-FFF2-40B4-BE49-F238E27FC236}">
                <a16:creationId xmlns:a16="http://schemas.microsoft.com/office/drawing/2014/main" id="{DCA76B22-3CD1-4AA8-B465-211F4889FAAF}"/>
              </a:ext>
            </a:extLst>
          </p:cNvPr>
          <p:cNvGrpSpPr/>
          <p:nvPr/>
        </p:nvGrpSpPr>
        <p:grpSpPr bwMode="gray">
          <a:xfrm>
            <a:off x="3881731" y="6351041"/>
            <a:ext cx="1153499" cy="153924"/>
            <a:chOff x="3867956" y="6349571"/>
            <a:chExt cx="1153232" cy="153888"/>
          </a:xfrm>
        </p:grpSpPr>
        <p:sp>
          <p:nvSpPr>
            <p:cNvPr id="609" name="Rechteck 608">
              <a:extLst>
                <a:ext uri="{FF2B5EF4-FFF2-40B4-BE49-F238E27FC236}">
                  <a16:creationId xmlns:a16="http://schemas.microsoft.com/office/drawing/2014/main" id="{012EB808-4032-42DA-920E-BCD1962FD1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7956" y="6349571"/>
              <a:ext cx="153888" cy="153888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583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610" name="TextBox 39">
              <a:extLst>
                <a:ext uri="{FF2B5EF4-FFF2-40B4-BE49-F238E27FC236}">
                  <a16:creationId xmlns:a16="http://schemas.microsoft.com/office/drawing/2014/main" id="{6920012B-4492-4C2C-9FC2-EDD57F1660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71234" y="6349571"/>
              <a:ext cx="94995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Calibri"/>
                  <a:ea typeface="+mn-ea"/>
                </a:rPr>
                <a:t>Embedded Device</a:t>
              </a:r>
            </a:p>
          </p:txBody>
        </p:sp>
      </p:grpSp>
      <p:sp>
        <p:nvSpPr>
          <p:cNvPr id="598" name="SAGD, Siemens, energy, energie, strom, blitz, lightning, power, electricity, elektrizität, spannung">
            <a:extLst>
              <a:ext uri="{FF2B5EF4-FFF2-40B4-BE49-F238E27FC236}">
                <a16:creationId xmlns:a16="http://schemas.microsoft.com/office/drawing/2014/main" id="{9829DDFE-A74B-4A98-90D5-537E3F1CA792}"/>
              </a:ext>
            </a:extLst>
          </p:cNvPr>
          <p:cNvSpPr>
            <a:spLocks/>
          </p:cNvSpPr>
          <p:nvPr/>
        </p:nvSpPr>
        <p:spPr bwMode="gray">
          <a:xfrm>
            <a:off x="5349333" y="4673512"/>
            <a:ext cx="296943" cy="591764"/>
          </a:xfrm>
          <a:custGeom>
            <a:avLst/>
            <a:gdLst>
              <a:gd name="T0" fmla="*/ 280 w 280"/>
              <a:gd name="T1" fmla="*/ 307 h 558"/>
              <a:gd name="T2" fmla="*/ 112 w 280"/>
              <a:gd name="T3" fmla="*/ 209 h 558"/>
              <a:gd name="T4" fmla="*/ 141 w 280"/>
              <a:gd name="T5" fmla="*/ 0 h 558"/>
              <a:gd name="T6" fmla="*/ 0 w 280"/>
              <a:gd name="T7" fmla="*/ 249 h 558"/>
              <a:gd name="T8" fmla="*/ 169 w 280"/>
              <a:gd name="T9" fmla="*/ 347 h 558"/>
              <a:gd name="T10" fmla="*/ 141 w 280"/>
              <a:gd name="T11" fmla="*/ 558 h 558"/>
              <a:gd name="T12" fmla="*/ 280 w 280"/>
              <a:gd name="T13" fmla="*/ 307 h 5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0" h="558">
                <a:moveTo>
                  <a:pt x="280" y="307"/>
                </a:moveTo>
                <a:lnTo>
                  <a:pt x="112" y="209"/>
                </a:lnTo>
                <a:lnTo>
                  <a:pt x="141" y="0"/>
                </a:lnTo>
                <a:lnTo>
                  <a:pt x="0" y="249"/>
                </a:lnTo>
                <a:lnTo>
                  <a:pt x="169" y="347"/>
                </a:lnTo>
                <a:lnTo>
                  <a:pt x="141" y="558"/>
                </a:lnTo>
                <a:lnTo>
                  <a:pt x="280" y="307"/>
                </a:lnTo>
                <a:close/>
              </a:path>
            </a:pathLst>
          </a:custGeom>
          <a:solidFill>
            <a:srgbClr val="FFD200"/>
          </a:solidFill>
          <a:ln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271" name="Footer Placeholder 5">
            <a:extLst>
              <a:ext uri="{FF2B5EF4-FFF2-40B4-BE49-F238E27FC236}">
                <a16:creationId xmlns:a16="http://schemas.microsoft.com/office/drawing/2014/main" id="{9534077E-2CEA-418D-8033-D0537189DFAF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</p:spTree>
    <p:extLst>
      <p:ext uri="{BB962C8B-B14F-4D97-AF65-F5344CB8AC3E}">
        <p14:creationId xmlns:p14="http://schemas.microsoft.com/office/powerpoint/2010/main" val="3680215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5" grpId="0" animBg="1"/>
      <p:bldP spid="599" grpId="0" animBg="1"/>
      <p:bldP spid="59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Gerade Verbindung 46">
            <a:extLst>
              <a:ext uri="{FF2B5EF4-FFF2-40B4-BE49-F238E27FC236}">
                <a16:creationId xmlns:a16="http://schemas.microsoft.com/office/drawing/2014/main" id="{BFE54774-0F6B-40BF-A931-175E92025BA3}"/>
              </a:ext>
            </a:extLst>
          </p:cNvPr>
          <p:cNvCxnSpPr/>
          <p:nvPr/>
        </p:nvCxnSpPr>
        <p:spPr bwMode="auto">
          <a:xfrm>
            <a:off x="632150" y="4835765"/>
            <a:ext cx="1273802" cy="401355"/>
          </a:xfrm>
          <a:prstGeom prst="line">
            <a:avLst/>
          </a:prstGeom>
          <a:solidFill>
            <a:schemeClr val="tx2"/>
          </a:solidFill>
          <a:ln w="444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062E031-06ED-4116-8F30-C04DCD1FDA67}"/>
              </a:ext>
            </a:extLst>
          </p:cNvPr>
          <p:cNvGrpSpPr/>
          <p:nvPr/>
        </p:nvGrpSpPr>
        <p:grpSpPr>
          <a:xfrm>
            <a:off x="674615" y="3608141"/>
            <a:ext cx="12288910" cy="2976952"/>
            <a:chOff x="2095214" y="3615219"/>
            <a:chExt cx="6912949" cy="3064854"/>
          </a:xfrm>
        </p:grpSpPr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1D5ABBCA-418B-4695-8ED5-E177CAB0051E}"/>
                </a:ext>
              </a:extLst>
            </p:cNvPr>
            <p:cNvCxnSpPr/>
            <p:nvPr/>
          </p:nvCxnSpPr>
          <p:spPr bwMode="auto">
            <a:xfrm>
              <a:off x="6263974" y="3615219"/>
              <a:ext cx="0" cy="3018708"/>
            </a:xfrm>
            <a:prstGeom prst="line">
              <a:avLst/>
            </a:prstGeom>
            <a:solidFill>
              <a:schemeClr val="tx2"/>
            </a:solidFill>
            <a:ln w="17780" cap="rnd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F0BC817E-5D8D-4BCE-B68E-7E3D07149996}"/>
                </a:ext>
              </a:extLst>
            </p:cNvPr>
            <p:cNvGrpSpPr/>
            <p:nvPr/>
          </p:nvGrpSpPr>
          <p:grpSpPr>
            <a:xfrm>
              <a:off x="2095214" y="3801042"/>
              <a:ext cx="6912949" cy="2879031"/>
              <a:chOff x="2095214" y="3780570"/>
              <a:chExt cx="6912949" cy="2879031"/>
            </a:xfrm>
          </p:grpSpPr>
          <p:grpSp>
            <p:nvGrpSpPr>
              <p:cNvPr id="3" name="Gruppieren 2">
                <a:extLst>
                  <a:ext uri="{FF2B5EF4-FFF2-40B4-BE49-F238E27FC236}">
                    <a16:creationId xmlns:a16="http://schemas.microsoft.com/office/drawing/2014/main" id="{EA6DD5EF-13AF-4A11-B6C1-93700B4DC171}"/>
                  </a:ext>
                </a:extLst>
              </p:cNvPr>
              <p:cNvGrpSpPr/>
              <p:nvPr/>
            </p:nvGrpSpPr>
            <p:grpSpPr>
              <a:xfrm>
                <a:off x="2095214" y="3780570"/>
                <a:ext cx="6201905" cy="2879031"/>
                <a:chOff x="2095214" y="3780570"/>
                <a:chExt cx="6201905" cy="2879031"/>
              </a:xfrm>
            </p:grpSpPr>
            <p:sp>
              <p:nvSpPr>
                <p:cNvPr id="14" name="Bogen 13">
                  <a:extLst>
                    <a:ext uri="{FF2B5EF4-FFF2-40B4-BE49-F238E27FC236}">
                      <a16:creationId xmlns:a16="http://schemas.microsoft.com/office/drawing/2014/main" id="{7F5BD1E5-7C8D-4A2C-BCAC-832C5E887120}"/>
                    </a:ext>
                  </a:extLst>
                </p:cNvPr>
                <p:cNvSpPr/>
                <p:nvPr/>
              </p:nvSpPr>
              <p:spPr bwMode="auto">
                <a:xfrm>
                  <a:off x="2097292" y="3780570"/>
                  <a:ext cx="5894944" cy="389027"/>
                </a:xfrm>
                <a:prstGeom prst="arc">
                  <a:avLst>
                    <a:gd name="adj1" fmla="val 10891758"/>
                    <a:gd name="adj2" fmla="val 10860870"/>
                  </a:avLst>
                </a:prstGeom>
                <a:solidFill>
                  <a:schemeClr val="bg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triangle" w="med" len="med"/>
                  <a:tailEnd type="none" w="med" len="med"/>
                </a:ln>
                <a:effectLst/>
              </p:spPr>
              <p:txBody>
                <a:bodyPr lIns="63873" tIns="31936" rIns="63873" bIns="31936" rtlCol="0" anchor="ctr"/>
                <a:lstStyle/>
                <a:p>
                  <a:pPr algn="ctr" defTabSz="912479"/>
                  <a:endParaRPr lang="en-GB" sz="1100" b="1">
                    <a:solidFill>
                      <a:srgbClr val="FEFFFF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15" name="Bogen 14">
                  <a:extLst>
                    <a:ext uri="{FF2B5EF4-FFF2-40B4-BE49-F238E27FC236}">
                      <a16:creationId xmlns:a16="http://schemas.microsoft.com/office/drawing/2014/main" id="{1E1DEDAA-D020-4DF4-B11E-B4EDDD45F6A3}"/>
                    </a:ext>
                  </a:extLst>
                </p:cNvPr>
                <p:cNvSpPr/>
                <p:nvPr/>
              </p:nvSpPr>
              <p:spPr bwMode="auto">
                <a:xfrm>
                  <a:off x="2097292" y="4311253"/>
                  <a:ext cx="5003309" cy="389027"/>
                </a:xfrm>
                <a:prstGeom prst="arc">
                  <a:avLst>
                    <a:gd name="adj1" fmla="val 10935460"/>
                    <a:gd name="adj2" fmla="val 10891115"/>
                  </a:avLst>
                </a:prstGeom>
                <a:solidFill>
                  <a:schemeClr val="bg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triangle" w="med" len="med"/>
                  <a:tailEnd type="none" w="med" len="med"/>
                </a:ln>
                <a:effectLst/>
              </p:spPr>
              <p:txBody>
                <a:bodyPr lIns="63873" tIns="31936" rIns="63873" bIns="31936" rtlCol="0" anchor="ctr"/>
                <a:lstStyle/>
                <a:p>
                  <a:pPr algn="ctr" defTabSz="912479"/>
                  <a:endParaRPr lang="en-GB" sz="1000" b="1" dirty="0">
                    <a:solidFill>
                      <a:srgbClr val="FEFFFF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16" name="Bogen 15">
                  <a:extLst>
                    <a:ext uri="{FF2B5EF4-FFF2-40B4-BE49-F238E27FC236}">
                      <a16:creationId xmlns:a16="http://schemas.microsoft.com/office/drawing/2014/main" id="{994F1E91-0156-4678-BC80-00D8B9F80FED}"/>
                    </a:ext>
                  </a:extLst>
                </p:cNvPr>
                <p:cNvSpPr/>
                <p:nvPr/>
              </p:nvSpPr>
              <p:spPr bwMode="auto">
                <a:xfrm>
                  <a:off x="2097292" y="4841935"/>
                  <a:ext cx="4133665" cy="389027"/>
                </a:xfrm>
                <a:prstGeom prst="arc">
                  <a:avLst>
                    <a:gd name="adj1" fmla="val 10973335"/>
                    <a:gd name="adj2" fmla="val 10913663"/>
                  </a:avLst>
                </a:prstGeom>
                <a:solidFill>
                  <a:schemeClr val="bg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triangle" w="med" len="med"/>
                  <a:tailEnd type="none" w="med" len="med"/>
                </a:ln>
                <a:effectLst/>
              </p:spPr>
              <p:txBody>
                <a:bodyPr lIns="63873" tIns="31936" rIns="63873" bIns="31936" rtlCol="0" anchor="ctr"/>
                <a:lstStyle/>
                <a:p>
                  <a:pPr algn="ctr" defTabSz="912479"/>
                  <a:endParaRPr lang="en-GB" sz="1000" b="1">
                    <a:solidFill>
                      <a:srgbClr val="FEFFFF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17" name="Bogen 16">
                  <a:extLst>
                    <a:ext uri="{FF2B5EF4-FFF2-40B4-BE49-F238E27FC236}">
                      <a16:creationId xmlns:a16="http://schemas.microsoft.com/office/drawing/2014/main" id="{E166979E-F946-4316-860A-27EC989B99AC}"/>
                    </a:ext>
                  </a:extLst>
                </p:cNvPr>
                <p:cNvSpPr/>
                <p:nvPr/>
              </p:nvSpPr>
              <p:spPr bwMode="auto">
                <a:xfrm>
                  <a:off x="2097291" y="5372618"/>
                  <a:ext cx="3290159" cy="389027"/>
                </a:xfrm>
                <a:prstGeom prst="arc">
                  <a:avLst>
                    <a:gd name="adj1" fmla="val 11020482"/>
                    <a:gd name="adj2" fmla="val 10940427"/>
                  </a:avLst>
                </a:prstGeom>
                <a:solidFill>
                  <a:schemeClr val="bg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triangle" w="med" len="med"/>
                  <a:tailEnd type="none" w="med" len="med"/>
                </a:ln>
                <a:effectLst/>
              </p:spPr>
              <p:txBody>
                <a:bodyPr lIns="63873" tIns="31936" rIns="63873" bIns="31936" rtlCol="0" anchor="ctr"/>
                <a:lstStyle/>
                <a:p>
                  <a:pPr algn="ctr" defTabSz="912479"/>
                  <a:endParaRPr lang="en-GB" sz="1000" b="1">
                    <a:solidFill>
                      <a:srgbClr val="FEFFFF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18" name="Bogen 17">
                  <a:extLst>
                    <a:ext uri="{FF2B5EF4-FFF2-40B4-BE49-F238E27FC236}">
                      <a16:creationId xmlns:a16="http://schemas.microsoft.com/office/drawing/2014/main" id="{9B9F7418-37D0-4DC2-BFD7-92986ABFC1B4}"/>
                    </a:ext>
                  </a:extLst>
                </p:cNvPr>
                <p:cNvSpPr/>
                <p:nvPr/>
              </p:nvSpPr>
              <p:spPr bwMode="auto">
                <a:xfrm>
                  <a:off x="2097292" y="5903300"/>
                  <a:ext cx="2423783" cy="389027"/>
                </a:xfrm>
                <a:prstGeom prst="arc">
                  <a:avLst>
                    <a:gd name="adj1" fmla="val 11107649"/>
                    <a:gd name="adj2" fmla="val 10988183"/>
                  </a:avLst>
                </a:prstGeom>
                <a:solidFill>
                  <a:schemeClr val="bg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triangle" w="med" len="med"/>
                  <a:tailEnd type="none" w="med" len="med"/>
                </a:ln>
                <a:effectLst/>
              </p:spPr>
              <p:txBody>
                <a:bodyPr lIns="63873" tIns="31936" rIns="63873" bIns="31936" rtlCol="0" anchor="ctr"/>
                <a:lstStyle/>
                <a:p>
                  <a:pPr algn="ctr" defTabSz="912479"/>
                  <a:endParaRPr lang="en-GB" sz="1000" b="1">
                    <a:solidFill>
                      <a:srgbClr val="FEFFFF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19" name="Text Box 5">
                  <a:extLst>
                    <a:ext uri="{FF2B5EF4-FFF2-40B4-BE49-F238E27FC236}">
                      <a16:creationId xmlns:a16="http://schemas.microsoft.com/office/drawing/2014/main" id="{ED0CEFB5-9472-4AA2-94F7-D82B88E2F4F9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3349485" y="3867363"/>
                  <a:ext cx="3390863" cy="2154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marL="342900" indent="-3429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152400" indent="-1524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marL="0" lvl="1" indent="0" algn="ctr" defTabSz="760399">
                    <a:spcBef>
                      <a:spcPts val="599"/>
                    </a:spcBef>
                    <a:buClr>
                      <a:srgbClr val="879BAA"/>
                    </a:buClr>
                  </a:pPr>
                  <a:r>
                    <a:rPr lang="en-US" sz="1400" b="1" dirty="0">
                      <a:solidFill>
                        <a:srgbClr val="000000"/>
                      </a:solidFill>
                      <a:latin typeface="Siemens Sans" pitchFamily="2" charset="0"/>
                    </a:rPr>
                    <a:t>Continuous Operations</a:t>
                  </a:r>
                </a:p>
              </p:txBody>
            </p:sp>
            <p:sp>
              <p:nvSpPr>
                <p:cNvPr id="20" name="Text Box 5">
                  <a:extLst>
                    <a:ext uri="{FF2B5EF4-FFF2-40B4-BE49-F238E27FC236}">
                      <a16:creationId xmlns:a16="http://schemas.microsoft.com/office/drawing/2014/main" id="{82423ADF-DADD-49DF-A9C4-D4DFDE50106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3302462" y="4398046"/>
                  <a:ext cx="2593118" cy="2154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marL="342900" indent="-3429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152400" indent="-1524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marL="0" lvl="1" indent="0" algn="ctr" defTabSz="760399">
                    <a:spcBef>
                      <a:spcPts val="599"/>
                    </a:spcBef>
                    <a:buClr>
                      <a:srgbClr val="879BAA"/>
                    </a:buClr>
                  </a:pPr>
                  <a:r>
                    <a:rPr lang="en-US" sz="1400" b="1" dirty="0">
                      <a:solidFill>
                        <a:srgbClr val="000000"/>
                      </a:solidFill>
                      <a:latin typeface="Siemens Sans" pitchFamily="2" charset="0"/>
                    </a:rPr>
                    <a:t>Continuous Deployment</a:t>
                  </a:r>
                </a:p>
              </p:txBody>
            </p:sp>
            <p:sp>
              <p:nvSpPr>
                <p:cNvPr id="22" name="Text Box 5">
                  <a:extLst>
                    <a:ext uri="{FF2B5EF4-FFF2-40B4-BE49-F238E27FC236}">
                      <a16:creationId xmlns:a16="http://schemas.microsoft.com/office/drawing/2014/main" id="{45F02F63-2DFA-4535-8E20-E755B4844D1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3290750" y="4928726"/>
                  <a:ext cx="1746865" cy="2154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marL="342900" indent="-3429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152400" indent="-1524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marL="0" lvl="1" indent="0" algn="ctr" defTabSz="760399">
                    <a:spcBef>
                      <a:spcPts val="599"/>
                    </a:spcBef>
                    <a:buClr>
                      <a:srgbClr val="879BAA"/>
                    </a:buClr>
                  </a:pPr>
                  <a:r>
                    <a:rPr lang="en-US" sz="1400" b="1">
                      <a:solidFill>
                        <a:srgbClr val="000000"/>
                      </a:solidFill>
                      <a:latin typeface="Siemens Sans" pitchFamily="2" charset="0"/>
                    </a:rPr>
                    <a:t>Continuous Delivery</a:t>
                  </a:r>
                </a:p>
              </p:txBody>
            </p:sp>
            <p:sp>
              <p:nvSpPr>
                <p:cNvPr id="23" name="Text Box 5">
                  <a:extLst>
                    <a:ext uri="{FF2B5EF4-FFF2-40B4-BE49-F238E27FC236}">
                      <a16:creationId xmlns:a16="http://schemas.microsoft.com/office/drawing/2014/main" id="{6760C06F-100C-4965-94D3-B0C6897DD64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2406467" y="5459412"/>
                  <a:ext cx="2740565" cy="2154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marL="342900" indent="-3429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152400" indent="-1524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marL="0" lvl="1" indent="0" algn="ctr" defTabSz="760399">
                    <a:spcBef>
                      <a:spcPts val="599"/>
                    </a:spcBef>
                    <a:buClr>
                      <a:srgbClr val="879BAA"/>
                    </a:buClr>
                  </a:pPr>
                  <a:r>
                    <a:rPr lang="en-US" sz="1400" b="1" dirty="0">
                      <a:solidFill>
                        <a:srgbClr val="000000"/>
                      </a:solidFill>
                      <a:latin typeface="Siemens Sans" pitchFamily="2" charset="0"/>
                    </a:rPr>
                    <a:t>Continuous Integration &amp; Test</a:t>
                  </a:r>
                </a:p>
              </p:txBody>
            </p:sp>
            <p:sp>
              <p:nvSpPr>
                <p:cNvPr id="24" name="Text Box 5">
                  <a:extLst>
                    <a:ext uri="{FF2B5EF4-FFF2-40B4-BE49-F238E27FC236}">
                      <a16:creationId xmlns:a16="http://schemas.microsoft.com/office/drawing/2014/main" id="{3717F253-147E-4FB5-963B-9DEC37A0F37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2435783" y="5990094"/>
                  <a:ext cx="1746865" cy="2154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 marL="342900" indent="-3429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152400" indent="-1524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762000" eaLnBrk="0" hangingPunct="0"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algn="ctr" defTabSz="76200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2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marL="0" lvl="1" indent="0" algn="ctr" defTabSz="760399">
                    <a:spcBef>
                      <a:spcPts val="599"/>
                    </a:spcBef>
                    <a:buClr>
                      <a:srgbClr val="879BAA"/>
                    </a:buClr>
                  </a:pPr>
                  <a:r>
                    <a:rPr lang="en-US" sz="1400" b="1">
                      <a:solidFill>
                        <a:srgbClr val="000000"/>
                      </a:solidFill>
                      <a:latin typeface="Siemens Sans" pitchFamily="2" charset="0"/>
                    </a:rPr>
                    <a:t>Continuous Build</a:t>
                  </a:r>
                </a:p>
              </p:txBody>
            </p:sp>
            <p:sp>
              <p:nvSpPr>
                <p:cNvPr id="25" name="Freihandform 53">
                  <a:extLst>
                    <a:ext uri="{FF2B5EF4-FFF2-40B4-BE49-F238E27FC236}">
                      <a16:creationId xmlns:a16="http://schemas.microsoft.com/office/drawing/2014/main" id="{33B710C4-1D26-415C-91EB-D621448802D3}"/>
                    </a:ext>
                  </a:extLst>
                </p:cNvPr>
                <p:cNvSpPr/>
                <p:nvPr/>
              </p:nvSpPr>
              <p:spPr bwMode="auto">
                <a:xfrm>
                  <a:off x="2095214" y="4147756"/>
                  <a:ext cx="6004070" cy="2511845"/>
                </a:xfrm>
                <a:custGeom>
                  <a:avLst/>
                  <a:gdLst>
                    <a:gd name="connsiteX0" fmla="*/ 0 w 9380220"/>
                    <a:gd name="connsiteY0" fmla="*/ 3451860 h 3451860"/>
                    <a:gd name="connsiteX1" fmla="*/ 9380220 w 9380220"/>
                    <a:gd name="connsiteY1" fmla="*/ 0 h 3451860"/>
                    <a:gd name="connsiteX0" fmla="*/ 0 w 9380220"/>
                    <a:gd name="connsiteY0" fmla="*/ 3451860 h 3451860"/>
                    <a:gd name="connsiteX1" fmla="*/ 9380220 w 9380220"/>
                    <a:gd name="connsiteY1" fmla="*/ 0 h 3451860"/>
                    <a:gd name="connsiteX0" fmla="*/ 0 w 9380220"/>
                    <a:gd name="connsiteY0" fmla="*/ 3451860 h 3451860"/>
                    <a:gd name="connsiteX1" fmla="*/ 9380220 w 9380220"/>
                    <a:gd name="connsiteY1" fmla="*/ 0 h 3451860"/>
                    <a:gd name="connsiteX0" fmla="*/ 0 w 9478640"/>
                    <a:gd name="connsiteY0" fmla="*/ 3428989 h 3428989"/>
                    <a:gd name="connsiteX1" fmla="*/ 9478640 w 9478640"/>
                    <a:gd name="connsiteY1" fmla="*/ 0 h 3428989"/>
                    <a:gd name="connsiteX0" fmla="*/ 0 w 9478640"/>
                    <a:gd name="connsiteY0" fmla="*/ 3428989 h 3428989"/>
                    <a:gd name="connsiteX1" fmla="*/ 9478640 w 9478640"/>
                    <a:gd name="connsiteY1" fmla="*/ 0 h 3428989"/>
                    <a:gd name="connsiteX0" fmla="*/ 0 w 9478640"/>
                    <a:gd name="connsiteY0" fmla="*/ 3428989 h 3447648"/>
                    <a:gd name="connsiteX1" fmla="*/ 9478640 w 9478640"/>
                    <a:gd name="connsiteY1" fmla="*/ 0 h 3447648"/>
                    <a:gd name="connsiteX0" fmla="*/ 0 w 9478640"/>
                    <a:gd name="connsiteY0" fmla="*/ 3428989 h 3437080"/>
                    <a:gd name="connsiteX1" fmla="*/ 9478640 w 9478640"/>
                    <a:gd name="connsiteY1" fmla="*/ 0 h 3437080"/>
                    <a:gd name="connsiteX0" fmla="*/ 0 w 9327224"/>
                    <a:gd name="connsiteY0" fmla="*/ 3299388 h 3307801"/>
                    <a:gd name="connsiteX1" fmla="*/ 9327224 w 9327224"/>
                    <a:gd name="connsiteY1" fmla="*/ 0 h 3307801"/>
                    <a:gd name="connsiteX0" fmla="*/ 0 w 9327224"/>
                    <a:gd name="connsiteY0" fmla="*/ 3299388 h 3309563"/>
                    <a:gd name="connsiteX1" fmla="*/ 9327224 w 9327224"/>
                    <a:gd name="connsiteY1" fmla="*/ 0 h 3309563"/>
                    <a:gd name="connsiteX0" fmla="*/ 0 w 9327224"/>
                    <a:gd name="connsiteY0" fmla="*/ 3299388 h 3315487"/>
                    <a:gd name="connsiteX1" fmla="*/ 9327224 w 9327224"/>
                    <a:gd name="connsiteY1" fmla="*/ 0 h 3315487"/>
                    <a:gd name="connsiteX0" fmla="*/ 0 w 9327224"/>
                    <a:gd name="connsiteY0" fmla="*/ 3299388 h 3339260"/>
                    <a:gd name="connsiteX1" fmla="*/ 9327224 w 9327224"/>
                    <a:gd name="connsiteY1" fmla="*/ 0 h 3339260"/>
                    <a:gd name="connsiteX0" fmla="*/ 0 w 9327224"/>
                    <a:gd name="connsiteY0" fmla="*/ 3299388 h 3339260"/>
                    <a:gd name="connsiteX1" fmla="*/ 9327224 w 9327224"/>
                    <a:gd name="connsiteY1" fmla="*/ 0 h 3339260"/>
                    <a:gd name="connsiteX0" fmla="*/ 0 w 9327224"/>
                    <a:gd name="connsiteY0" fmla="*/ 3299388 h 3339260"/>
                    <a:gd name="connsiteX1" fmla="*/ 9327224 w 9327224"/>
                    <a:gd name="connsiteY1" fmla="*/ 0 h 3339260"/>
                    <a:gd name="connsiteX0" fmla="*/ 0 w 9327224"/>
                    <a:gd name="connsiteY0" fmla="*/ 3299388 h 3299388"/>
                    <a:gd name="connsiteX1" fmla="*/ 9327224 w 9327224"/>
                    <a:gd name="connsiteY1" fmla="*/ 0 h 3299388"/>
                    <a:gd name="connsiteX0" fmla="*/ 0 w 9327224"/>
                    <a:gd name="connsiteY0" fmla="*/ 3299388 h 3348971"/>
                    <a:gd name="connsiteX1" fmla="*/ 9327224 w 9327224"/>
                    <a:gd name="connsiteY1" fmla="*/ 0 h 3348971"/>
                    <a:gd name="connsiteX0" fmla="*/ 0 w 9327224"/>
                    <a:gd name="connsiteY0" fmla="*/ 3299388 h 3394394"/>
                    <a:gd name="connsiteX1" fmla="*/ 9327224 w 9327224"/>
                    <a:gd name="connsiteY1" fmla="*/ 0 h 3394394"/>
                    <a:gd name="connsiteX0" fmla="*/ 0 w 9327224"/>
                    <a:gd name="connsiteY0" fmla="*/ 3299388 h 3394394"/>
                    <a:gd name="connsiteX1" fmla="*/ 9327224 w 9327224"/>
                    <a:gd name="connsiteY1" fmla="*/ 0 h 3394394"/>
                    <a:gd name="connsiteX0" fmla="*/ 0 w 9327224"/>
                    <a:gd name="connsiteY0" fmla="*/ 3299388 h 3394394"/>
                    <a:gd name="connsiteX1" fmla="*/ 9327224 w 9327224"/>
                    <a:gd name="connsiteY1" fmla="*/ 0 h 3394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327224" h="3394394">
                      <a:moveTo>
                        <a:pt x="0" y="3299388"/>
                      </a:moveTo>
                      <a:cubicBezTo>
                        <a:pt x="6398577" y="3394394"/>
                        <a:pt x="6337261" y="665578"/>
                        <a:pt x="9327224" y="0"/>
                      </a:cubicBezTo>
                    </a:path>
                  </a:pathLst>
                </a:custGeom>
                <a:noFill/>
                <a:ln w="26670" cap="flat" cmpd="sng" algn="ctr">
                  <a:solidFill>
                    <a:schemeClr val="accent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63873" tIns="31936" rIns="63873" bIns="31936" rtlCol="0" anchor="ctr"/>
                <a:lstStyle/>
                <a:p>
                  <a:pPr algn="ctr" defTabSz="912479"/>
                  <a:endParaRPr lang="en-GB" sz="1000">
                    <a:solidFill>
                      <a:srgbClr val="78CDCD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26" name="Rectangle 11">
                  <a:extLst>
                    <a:ext uri="{FF2B5EF4-FFF2-40B4-BE49-F238E27FC236}">
                      <a16:creationId xmlns:a16="http://schemas.microsoft.com/office/drawing/2014/main" id="{DF24C3B5-18BA-4F19-86E7-9C4DD85191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4309559" y="6412049"/>
                  <a:ext cx="1771358" cy="246221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r" defTabSz="912479"/>
                  <a:r>
                    <a:rPr lang="en-US" sz="1600" b="1" dirty="0">
                      <a:solidFill>
                        <a:srgbClr val="000000"/>
                      </a:solidFill>
                      <a:latin typeface="Siemens Sans" pitchFamily="2" charset="0"/>
                    </a:rPr>
                    <a:t>Development</a:t>
                  </a:r>
                </a:p>
              </p:txBody>
            </p:sp>
            <p:sp>
              <p:nvSpPr>
                <p:cNvPr id="27" name="Rectangle 11">
                  <a:extLst>
                    <a:ext uri="{FF2B5EF4-FFF2-40B4-BE49-F238E27FC236}">
                      <a16:creationId xmlns:a16="http://schemas.microsoft.com/office/drawing/2014/main" id="{10A440D5-CEE9-4020-8475-E5AD3FD62E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447031" y="6412049"/>
                  <a:ext cx="1152495" cy="246221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>
                  <a:spAutoFit/>
                </a:bodyPr>
                <a:lstStyle/>
                <a:p>
                  <a:pPr defTabSz="912479"/>
                  <a:r>
                    <a:rPr lang="en-US" sz="1600" b="1">
                      <a:solidFill>
                        <a:srgbClr val="000000"/>
                      </a:solidFill>
                      <a:latin typeface="Siemens Sans" pitchFamily="2" charset="0"/>
                    </a:rPr>
                    <a:t>Operations</a:t>
                  </a:r>
                </a:p>
              </p:txBody>
            </p:sp>
            <p:cxnSp>
              <p:nvCxnSpPr>
                <p:cNvPr id="4" name="Straight Connector 3">
                  <a:extLst>
                    <a:ext uri="{FF2B5EF4-FFF2-40B4-BE49-F238E27FC236}">
                      <a16:creationId xmlns:a16="http://schemas.microsoft.com/office/drawing/2014/main" id="{318CEC4D-5C32-44A5-A12F-0E84C8F232EC}"/>
                    </a:ext>
                  </a:extLst>
                </p:cNvPr>
                <p:cNvCxnSpPr/>
                <p:nvPr/>
              </p:nvCxnSpPr>
              <p:spPr>
                <a:xfrm>
                  <a:off x="2101051" y="4770602"/>
                  <a:ext cx="6196068" cy="0"/>
                </a:xfrm>
                <a:prstGeom prst="line">
                  <a:avLst/>
                </a:prstGeom>
                <a:ln w="57150" cap="rnd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5781ECE1-C55F-48BA-A4B6-BEB74069A7F2}"/>
                  </a:ext>
                </a:extLst>
              </p:cNvPr>
              <p:cNvSpPr txBox="1"/>
              <p:nvPr/>
            </p:nvSpPr>
            <p:spPr>
              <a:xfrm>
                <a:off x="7869562" y="4373966"/>
                <a:ext cx="1138601" cy="113860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defTabSz="91458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b="1">
                    <a:solidFill>
                      <a:srgbClr val="000000"/>
                    </a:solidFill>
                    <a:latin typeface="Calibri"/>
                    <a:ea typeface="+mn-ea"/>
                  </a:rPr>
                  <a:t>V&amp;V</a:t>
                </a:r>
              </a:p>
            </p:txBody>
          </p:sp>
        </p:grpSp>
      </p:grp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3E9FEA4-FFC8-45A6-A4F5-C9CFF0561E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631" y="20305"/>
          <a:ext cx="1579" cy="15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3E9FEA4-FFC8-45A6-A4F5-C9CFF0561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6631" y="20305"/>
                        <a:ext cx="1579" cy="15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C5F4C7-77AC-4F1C-B199-B3510A6B5C39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5049" y="18724"/>
            <a:ext cx="157921" cy="157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2937" fontAlgn="auto">
              <a:spcBef>
                <a:spcPts val="0"/>
              </a:spcBef>
              <a:spcAft>
                <a:spcPts val="0"/>
              </a:spcAft>
            </a:pPr>
            <a:endParaRPr lang="en-US" sz="2791" b="1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D0BEC2-09C9-47F5-BCAF-A97A3DB2522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3209" y="231347"/>
            <a:ext cx="9179000" cy="830071"/>
          </a:xfrm>
        </p:spPr>
        <p:txBody>
          <a:bodyPr/>
          <a:lstStyle/>
          <a:p>
            <a:r>
              <a:rPr lang="en-US" b="1" dirty="0">
                <a:solidFill>
                  <a:srgbClr val="EC6602"/>
                </a:solidFill>
                <a:latin typeface="Calibri"/>
                <a:ea typeface="+mn-ea"/>
              </a:rPr>
              <a:t>Challenge of “System-DevOps” in a regulated environment</a:t>
            </a:r>
            <a:br>
              <a:rPr lang="en-US" b="1" dirty="0">
                <a:solidFill>
                  <a:srgbClr val="000000"/>
                </a:solidFill>
                <a:latin typeface="Calibri"/>
                <a:ea typeface="+mn-ea"/>
              </a:rPr>
            </a:br>
            <a:r>
              <a:rPr lang="en-US" sz="2800" dirty="0"/>
              <a:t>Vision: “Release as a Non-Event”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C9CE503-3CE3-4568-8272-544521387DE0}"/>
              </a:ext>
            </a:extLst>
          </p:cNvPr>
          <p:cNvSpPr/>
          <p:nvPr/>
        </p:nvSpPr>
        <p:spPr>
          <a:xfrm>
            <a:off x="4385641" y="3296338"/>
            <a:ext cx="1076800" cy="914624"/>
          </a:xfrm>
          <a:custGeom>
            <a:avLst/>
            <a:gdLst>
              <a:gd name="connsiteX0" fmla="*/ 1076551 w 1076551"/>
              <a:gd name="connsiteY0" fmla="*/ 0 h 914412"/>
              <a:gd name="connsiteX1" fmla="*/ 724126 w 1076551"/>
              <a:gd name="connsiteY1" fmla="*/ 428625 h 914412"/>
              <a:gd name="connsiteX2" fmla="*/ 543151 w 1076551"/>
              <a:gd name="connsiteY2" fmla="*/ 685800 h 914412"/>
              <a:gd name="connsiteX3" fmla="*/ 9751 w 1076551"/>
              <a:gd name="connsiteY3" fmla="*/ 914400 h 914412"/>
              <a:gd name="connsiteX4" fmla="*/ 200251 w 1076551"/>
              <a:gd name="connsiteY4" fmla="*/ 676275 h 914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6551" h="914412">
                <a:moveTo>
                  <a:pt x="1076551" y="0"/>
                </a:moveTo>
                <a:cubicBezTo>
                  <a:pt x="944788" y="157162"/>
                  <a:pt x="813026" y="314325"/>
                  <a:pt x="724126" y="428625"/>
                </a:cubicBezTo>
                <a:cubicBezTo>
                  <a:pt x="635226" y="542925"/>
                  <a:pt x="662213" y="604838"/>
                  <a:pt x="543151" y="685800"/>
                </a:cubicBezTo>
                <a:cubicBezTo>
                  <a:pt x="424089" y="766762"/>
                  <a:pt x="66901" y="915988"/>
                  <a:pt x="9751" y="914400"/>
                </a:cubicBezTo>
                <a:cubicBezTo>
                  <a:pt x="-47399" y="912813"/>
                  <a:pt x="163738" y="703263"/>
                  <a:pt x="200251" y="676275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3" name="Footer Placeholder 5">
            <a:extLst>
              <a:ext uri="{FF2B5EF4-FFF2-40B4-BE49-F238E27FC236}">
                <a16:creationId xmlns:a16="http://schemas.microsoft.com/office/drawing/2014/main" id="{F58FCEC5-F186-4495-9EBE-115EDFABF57E}"/>
              </a:ext>
            </a:extLst>
          </p:cNvPr>
          <p:cNvSpPr txBox="1">
            <a:spLocks/>
          </p:cNvSpPr>
          <p:nvPr/>
        </p:nvSpPr>
        <p:spPr>
          <a:xfrm>
            <a:off x="-712627" y="6581873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  <p:sp>
        <p:nvSpPr>
          <p:cNvPr id="65" name="Rectangle 20">
            <a:extLst>
              <a:ext uri="{FF2B5EF4-FFF2-40B4-BE49-F238E27FC236}">
                <a16:creationId xmlns:a16="http://schemas.microsoft.com/office/drawing/2014/main" id="{42D9D759-830F-4C29-BA6C-9CD31E5AA15F}"/>
              </a:ext>
            </a:extLst>
          </p:cNvPr>
          <p:cNvSpPr/>
          <p:nvPr/>
        </p:nvSpPr>
        <p:spPr bwMode="gray">
          <a:xfrm>
            <a:off x="540784" y="2867648"/>
            <a:ext cx="11089242" cy="727225"/>
          </a:xfrm>
          <a:prstGeom prst="homePlate">
            <a:avLst>
              <a:gd name="adj" fmla="val 24517"/>
            </a:avLst>
          </a:prstGeom>
          <a:solidFill>
            <a:srgbClr val="ECECEC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4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7" name="Textplatzhalter 4">
            <a:extLst>
              <a:ext uri="{FF2B5EF4-FFF2-40B4-BE49-F238E27FC236}">
                <a16:creationId xmlns:a16="http://schemas.microsoft.com/office/drawing/2014/main" id="{FA0891B5-E2A8-4381-9665-AABD06F79306}"/>
              </a:ext>
            </a:extLst>
          </p:cNvPr>
          <p:cNvSpPr txBox="1">
            <a:spLocks/>
          </p:cNvSpPr>
          <p:nvPr/>
        </p:nvSpPr>
        <p:spPr bwMode="gray">
          <a:xfrm>
            <a:off x="9730918" y="3057220"/>
            <a:ext cx="1291503" cy="450000"/>
          </a:xfrm>
          <a:prstGeom prst="rect">
            <a:avLst/>
          </a:prstGeom>
        </p:spPr>
        <p:txBody>
          <a:bodyPr wrap="square" lIns="180000" tIns="180000" rIns="180000" bIns="180000" anchor="ctr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600" indent="-21960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60000"/>
              </a:lnSpc>
            </a:pPr>
            <a:r>
              <a:rPr lang="en-US" sz="2000" dirty="0">
                <a:latin typeface="Calibri"/>
              </a:rPr>
              <a:t>Operate &amp; Monitor </a:t>
            </a:r>
            <a:endParaRPr lang="en-US" sz="1400" dirty="0">
              <a:latin typeface="Calibri"/>
            </a:endParaRPr>
          </a:p>
        </p:txBody>
      </p:sp>
      <p:sp>
        <p:nvSpPr>
          <p:cNvPr id="68" name="Textplatzhalter 4">
            <a:extLst>
              <a:ext uri="{FF2B5EF4-FFF2-40B4-BE49-F238E27FC236}">
                <a16:creationId xmlns:a16="http://schemas.microsoft.com/office/drawing/2014/main" id="{93D98680-7CEB-4A1A-AD0E-945B7F302488}"/>
              </a:ext>
            </a:extLst>
          </p:cNvPr>
          <p:cNvSpPr txBox="1">
            <a:spLocks/>
          </p:cNvSpPr>
          <p:nvPr/>
        </p:nvSpPr>
        <p:spPr bwMode="gray">
          <a:xfrm>
            <a:off x="2407151" y="3029573"/>
            <a:ext cx="1080000" cy="450000"/>
          </a:xfrm>
          <a:prstGeom prst="rect">
            <a:avLst/>
          </a:prstGeom>
        </p:spPr>
        <p:txBody>
          <a:bodyPr wrap="square" lIns="180000" tIns="180000" rIns="180000" bIns="180000" anchor="ctr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600" indent="-21960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90"/>
              </a:lnSpc>
            </a:pPr>
            <a:r>
              <a:rPr lang="en-US" sz="2000" dirty="0">
                <a:latin typeface="Calibri"/>
              </a:rPr>
              <a:t>Code </a:t>
            </a:r>
            <a:endParaRPr lang="en-US" sz="1400" dirty="0">
              <a:latin typeface="Calibri"/>
            </a:endParaRPr>
          </a:p>
        </p:txBody>
      </p: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9DC57A6E-3C98-4DA5-A3D6-F3F47651FA54}"/>
              </a:ext>
            </a:extLst>
          </p:cNvPr>
          <p:cNvSpPr txBox="1">
            <a:spLocks/>
          </p:cNvSpPr>
          <p:nvPr/>
        </p:nvSpPr>
        <p:spPr bwMode="gray">
          <a:xfrm>
            <a:off x="3804079" y="3028378"/>
            <a:ext cx="1080000" cy="450000"/>
          </a:xfrm>
          <a:prstGeom prst="rect">
            <a:avLst/>
          </a:prstGeom>
        </p:spPr>
        <p:txBody>
          <a:bodyPr wrap="square" lIns="180000" tIns="180000" rIns="180000" bIns="180000" anchor="ctr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600" indent="-21960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90"/>
              </a:lnSpc>
            </a:pPr>
            <a:r>
              <a:rPr lang="en-US" sz="2000" dirty="0">
                <a:latin typeface="Calibri"/>
              </a:rPr>
              <a:t>Build</a:t>
            </a:r>
            <a:endParaRPr lang="en-US" sz="1400" dirty="0">
              <a:latin typeface="Calibri"/>
            </a:endParaRPr>
          </a:p>
        </p:txBody>
      </p:sp>
      <p:sp>
        <p:nvSpPr>
          <p:cNvPr id="70" name="Textplatzhalter 4">
            <a:extLst>
              <a:ext uri="{FF2B5EF4-FFF2-40B4-BE49-F238E27FC236}">
                <a16:creationId xmlns:a16="http://schemas.microsoft.com/office/drawing/2014/main" id="{3B4670DB-42A6-4867-97AD-BFFCDD76B067}"/>
              </a:ext>
            </a:extLst>
          </p:cNvPr>
          <p:cNvSpPr txBox="1">
            <a:spLocks/>
          </p:cNvSpPr>
          <p:nvPr/>
        </p:nvSpPr>
        <p:spPr bwMode="gray">
          <a:xfrm>
            <a:off x="5201007" y="3020698"/>
            <a:ext cx="1080000" cy="450000"/>
          </a:xfrm>
          <a:prstGeom prst="rect">
            <a:avLst/>
          </a:prstGeom>
        </p:spPr>
        <p:txBody>
          <a:bodyPr wrap="square" lIns="180000" tIns="180000" rIns="180000" bIns="180000" anchor="ctr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600" indent="-21960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90"/>
              </a:lnSpc>
            </a:pPr>
            <a:r>
              <a:rPr lang="en-US" sz="2000" dirty="0">
                <a:latin typeface="Calibri"/>
              </a:rPr>
              <a:t>Test </a:t>
            </a:r>
            <a:endParaRPr lang="en-US" sz="1400" dirty="0">
              <a:latin typeface="Calibri"/>
            </a:endParaRPr>
          </a:p>
        </p:txBody>
      </p:sp>
      <p:sp>
        <p:nvSpPr>
          <p:cNvPr id="71" name="Textplatzhalter 4">
            <a:extLst>
              <a:ext uri="{FF2B5EF4-FFF2-40B4-BE49-F238E27FC236}">
                <a16:creationId xmlns:a16="http://schemas.microsoft.com/office/drawing/2014/main" id="{1501B355-1032-4ACB-AEB6-0B8DF9DC34BE}"/>
              </a:ext>
            </a:extLst>
          </p:cNvPr>
          <p:cNvSpPr txBox="1">
            <a:spLocks/>
          </p:cNvSpPr>
          <p:nvPr/>
        </p:nvSpPr>
        <p:spPr bwMode="gray">
          <a:xfrm>
            <a:off x="6597936" y="3032473"/>
            <a:ext cx="1291503" cy="450000"/>
          </a:xfrm>
          <a:prstGeom prst="rect">
            <a:avLst/>
          </a:prstGeom>
        </p:spPr>
        <p:txBody>
          <a:bodyPr wrap="square" lIns="180000" tIns="180000" rIns="180000" bIns="180000" anchor="ctr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600" indent="-21960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90"/>
              </a:lnSpc>
            </a:pPr>
            <a:r>
              <a:rPr lang="en-US" sz="2000" dirty="0">
                <a:latin typeface="Calibri"/>
              </a:rPr>
              <a:t>Release </a:t>
            </a:r>
            <a:endParaRPr lang="en-US" sz="1400" dirty="0">
              <a:latin typeface="Calibri"/>
            </a:endParaRPr>
          </a:p>
        </p:txBody>
      </p:sp>
      <p:sp>
        <p:nvSpPr>
          <p:cNvPr id="72" name="Textplatzhalter 4">
            <a:extLst>
              <a:ext uri="{FF2B5EF4-FFF2-40B4-BE49-F238E27FC236}">
                <a16:creationId xmlns:a16="http://schemas.microsoft.com/office/drawing/2014/main" id="{EBFFC44E-70E8-4E3C-A168-D8C489D78E5E}"/>
              </a:ext>
            </a:extLst>
          </p:cNvPr>
          <p:cNvSpPr txBox="1">
            <a:spLocks/>
          </p:cNvSpPr>
          <p:nvPr/>
        </p:nvSpPr>
        <p:spPr bwMode="gray">
          <a:xfrm>
            <a:off x="8206368" y="3024283"/>
            <a:ext cx="1207621" cy="450000"/>
          </a:xfrm>
          <a:prstGeom prst="rect">
            <a:avLst/>
          </a:prstGeom>
        </p:spPr>
        <p:txBody>
          <a:bodyPr wrap="square" lIns="180000" tIns="180000" rIns="180000" bIns="180000" anchor="ctr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600" indent="-21960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90"/>
              </a:lnSpc>
            </a:pPr>
            <a:r>
              <a:rPr lang="en-US" sz="2000" dirty="0">
                <a:latin typeface="Calibri"/>
              </a:rPr>
              <a:t>Deploy </a:t>
            </a:r>
            <a:endParaRPr lang="en-US" sz="1400" dirty="0">
              <a:latin typeface="Calibri"/>
            </a:endParaRPr>
          </a:p>
        </p:txBody>
      </p:sp>
      <p:sp>
        <p:nvSpPr>
          <p:cNvPr id="73" name="Textplatzhalter 4">
            <a:extLst>
              <a:ext uri="{FF2B5EF4-FFF2-40B4-BE49-F238E27FC236}">
                <a16:creationId xmlns:a16="http://schemas.microsoft.com/office/drawing/2014/main" id="{C938D653-AA4D-4DD3-B92A-2F14ADCD08CF}"/>
              </a:ext>
            </a:extLst>
          </p:cNvPr>
          <p:cNvSpPr txBox="1">
            <a:spLocks/>
          </p:cNvSpPr>
          <p:nvPr/>
        </p:nvSpPr>
        <p:spPr bwMode="gray">
          <a:xfrm>
            <a:off x="1010223" y="3025478"/>
            <a:ext cx="1080000" cy="450000"/>
          </a:xfrm>
          <a:prstGeom prst="rect">
            <a:avLst/>
          </a:prstGeom>
        </p:spPr>
        <p:txBody>
          <a:bodyPr wrap="square" lIns="180000" tIns="180000" rIns="180000" bIns="180000" anchor="ctr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600" indent="-21960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90"/>
              </a:lnSpc>
            </a:pPr>
            <a:r>
              <a:rPr lang="en-US" sz="2000" dirty="0">
                <a:latin typeface="Calibri"/>
              </a:rPr>
              <a:t>Plan </a:t>
            </a:r>
            <a:endParaRPr lang="en-US" sz="1400" dirty="0">
              <a:latin typeface="Calibri"/>
            </a:endParaRPr>
          </a:p>
        </p:txBody>
      </p:sp>
      <p:sp>
        <p:nvSpPr>
          <p:cNvPr id="74" name="Gleichschenkliges Dreieck 27">
            <a:extLst>
              <a:ext uri="{FF2B5EF4-FFF2-40B4-BE49-F238E27FC236}">
                <a16:creationId xmlns:a16="http://schemas.microsoft.com/office/drawing/2014/main" id="{A061BB5B-C8E9-4DC3-B94D-17B488513D7C}"/>
              </a:ext>
            </a:extLst>
          </p:cNvPr>
          <p:cNvSpPr/>
          <p:nvPr/>
        </p:nvSpPr>
        <p:spPr bwMode="gray">
          <a:xfrm rot="5400000">
            <a:off x="2090878" y="3252864"/>
            <a:ext cx="277703" cy="112410"/>
          </a:xfrm>
          <a:custGeom>
            <a:avLst/>
            <a:gdLst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  <a:gd name="connsiteX3" fmla="*/ 0 w 497162"/>
              <a:gd name="connsiteY3" fmla="*/ 318062 h 318062"/>
              <a:gd name="connsiteX0" fmla="*/ 0 w 497162"/>
              <a:gd name="connsiteY0" fmla="*/ 318062 h 409502"/>
              <a:gd name="connsiteX1" fmla="*/ 248581 w 497162"/>
              <a:gd name="connsiteY1" fmla="*/ 0 h 409502"/>
              <a:gd name="connsiteX2" fmla="*/ 497162 w 497162"/>
              <a:gd name="connsiteY2" fmla="*/ 318062 h 409502"/>
              <a:gd name="connsiteX3" fmla="*/ 91440 w 497162"/>
              <a:gd name="connsiteY3" fmla="*/ 409502 h 409502"/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7162" h="318062">
                <a:moveTo>
                  <a:pt x="0" y="318062"/>
                </a:moveTo>
                <a:lnTo>
                  <a:pt x="248581" y="0"/>
                </a:lnTo>
                <a:lnTo>
                  <a:pt x="497162" y="318062"/>
                </a:lnTo>
              </a:path>
            </a:pathLst>
          </a:custGeom>
          <a:noFill/>
          <a:ln w="381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8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5" name="Gleichschenkliges Dreieck 27">
            <a:extLst>
              <a:ext uri="{FF2B5EF4-FFF2-40B4-BE49-F238E27FC236}">
                <a16:creationId xmlns:a16="http://schemas.microsoft.com/office/drawing/2014/main" id="{65CE0C94-1CE5-4BD5-AB94-DC69FA516BD2}"/>
              </a:ext>
            </a:extLst>
          </p:cNvPr>
          <p:cNvSpPr/>
          <p:nvPr/>
        </p:nvSpPr>
        <p:spPr bwMode="gray">
          <a:xfrm rot="5400000">
            <a:off x="3568433" y="3258693"/>
            <a:ext cx="277703" cy="112410"/>
          </a:xfrm>
          <a:custGeom>
            <a:avLst/>
            <a:gdLst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  <a:gd name="connsiteX3" fmla="*/ 0 w 497162"/>
              <a:gd name="connsiteY3" fmla="*/ 318062 h 318062"/>
              <a:gd name="connsiteX0" fmla="*/ 0 w 497162"/>
              <a:gd name="connsiteY0" fmla="*/ 318062 h 409502"/>
              <a:gd name="connsiteX1" fmla="*/ 248581 w 497162"/>
              <a:gd name="connsiteY1" fmla="*/ 0 h 409502"/>
              <a:gd name="connsiteX2" fmla="*/ 497162 w 497162"/>
              <a:gd name="connsiteY2" fmla="*/ 318062 h 409502"/>
              <a:gd name="connsiteX3" fmla="*/ 91440 w 497162"/>
              <a:gd name="connsiteY3" fmla="*/ 409502 h 409502"/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7162" h="318062">
                <a:moveTo>
                  <a:pt x="0" y="318062"/>
                </a:moveTo>
                <a:lnTo>
                  <a:pt x="248581" y="0"/>
                </a:lnTo>
                <a:lnTo>
                  <a:pt x="497162" y="318062"/>
                </a:lnTo>
              </a:path>
            </a:pathLst>
          </a:custGeom>
          <a:noFill/>
          <a:ln w="381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8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6" name="Gleichschenkliges Dreieck 27">
            <a:extLst>
              <a:ext uri="{FF2B5EF4-FFF2-40B4-BE49-F238E27FC236}">
                <a16:creationId xmlns:a16="http://schemas.microsoft.com/office/drawing/2014/main" id="{B38BE866-68AB-4B88-B2DB-A5B1F40E25E4}"/>
              </a:ext>
            </a:extLst>
          </p:cNvPr>
          <p:cNvSpPr/>
          <p:nvPr/>
        </p:nvSpPr>
        <p:spPr bwMode="gray">
          <a:xfrm rot="5400000">
            <a:off x="5097868" y="3247034"/>
            <a:ext cx="277703" cy="112410"/>
          </a:xfrm>
          <a:custGeom>
            <a:avLst/>
            <a:gdLst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  <a:gd name="connsiteX3" fmla="*/ 0 w 497162"/>
              <a:gd name="connsiteY3" fmla="*/ 318062 h 318062"/>
              <a:gd name="connsiteX0" fmla="*/ 0 w 497162"/>
              <a:gd name="connsiteY0" fmla="*/ 318062 h 409502"/>
              <a:gd name="connsiteX1" fmla="*/ 248581 w 497162"/>
              <a:gd name="connsiteY1" fmla="*/ 0 h 409502"/>
              <a:gd name="connsiteX2" fmla="*/ 497162 w 497162"/>
              <a:gd name="connsiteY2" fmla="*/ 318062 h 409502"/>
              <a:gd name="connsiteX3" fmla="*/ 91440 w 497162"/>
              <a:gd name="connsiteY3" fmla="*/ 409502 h 409502"/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7162" h="318062">
                <a:moveTo>
                  <a:pt x="0" y="318062"/>
                </a:moveTo>
                <a:lnTo>
                  <a:pt x="248581" y="0"/>
                </a:lnTo>
                <a:lnTo>
                  <a:pt x="497162" y="318062"/>
                </a:lnTo>
              </a:path>
            </a:pathLst>
          </a:custGeom>
          <a:noFill/>
          <a:ln w="381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8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7" name="Gleichschenkliges Dreieck 27">
            <a:extLst>
              <a:ext uri="{FF2B5EF4-FFF2-40B4-BE49-F238E27FC236}">
                <a16:creationId xmlns:a16="http://schemas.microsoft.com/office/drawing/2014/main" id="{982C48BE-DDFC-4B06-8B7C-F4DA5C49799D}"/>
              </a:ext>
            </a:extLst>
          </p:cNvPr>
          <p:cNvSpPr/>
          <p:nvPr/>
        </p:nvSpPr>
        <p:spPr bwMode="gray">
          <a:xfrm rot="5400000">
            <a:off x="6348448" y="3229544"/>
            <a:ext cx="277703" cy="112410"/>
          </a:xfrm>
          <a:custGeom>
            <a:avLst/>
            <a:gdLst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  <a:gd name="connsiteX3" fmla="*/ 0 w 497162"/>
              <a:gd name="connsiteY3" fmla="*/ 318062 h 318062"/>
              <a:gd name="connsiteX0" fmla="*/ 0 w 497162"/>
              <a:gd name="connsiteY0" fmla="*/ 318062 h 409502"/>
              <a:gd name="connsiteX1" fmla="*/ 248581 w 497162"/>
              <a:gd name="connsiteY1" fmla="*/ 0 h 409502"/>
              <a:gd name="connsiteX2" fmla="*/ 497162 w 497162"/>
              <a:gd name="connsiteY2" fmla="*/ 318062 h 409502"/>
              <a:gd name="connsiteX3" fmla="*/ 91440 w 497162"/>
              <a:gd name="connsiteY3" fmla="*/ 409502 h 409502"/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7162" h="318062">
                <a:moveTo>
                  <a:pt x="0" y="318062"/>
                </a:moveTo>
                <a:lnTo>
                  <a:pt x="248581" y="0"/>
                </a:lnTo>
                <a:lnTo>
                  <a:pt x="497162" y="318062"/>
                </a:lnTo>
              </a:path>
            </a:pathLst>
          </a:custGeom>
          <a:noFill/>
          <a:ln w="381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8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8" name="Gleichschenkliges Dreieck 27">
            <a:extLst>
              <a:ext uri="{FF2B5EF4-FFF2-40B4-BE49-F238E27FC236}">
                <a16:creationId xmlns:a16="http://schemas.microsoft.com/office/drawing/2014/main" id="{ACD26CA9-EDFE-4028-9EC8-ED169A59906C}"/>
              </a:ext>
            </a:extLst>
          </p:cNvPr>
          <p:cNvSpPr/>
          <p:nvPr/>
        </p:nvSpPr>
        <p:spPr bwMode="gray">
          <a:xfrm rot="5400000">
            <a:off x="9511077" y="3235374"/>
            <a:ext cx="277703" cy="112410"/>
          </a:xfrm>
          <a:custGeom>
            <a:avLst/>
            <a:gdLst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  <a:gd name="connsiteX3" fmla="*/ 0 w 497162"/>
              <a:gd name="connsiteY3" fmla="*/ 318062 h 318062"/>
              <a:gd name="connsiteX0" fmla="*/ 0 w 497162"/>
              <a:gd name="connsiteY0" fmla="*/ 318062 h 409502"/>
              <a:gd name="connsiteX1" fmla="*/ 248581 w 497162"/>
              <a:gd name="connsiteY1" fmla="*/ 0 h 409502"/>
              <a:gd name="connsiteX2" fmla="*/ 497162 w 497162"/>
              <a:gd name="connsiteY2" fmla="*/ 318062 h 409502"/>
              <a:gd name="connsiteX3" fmla="*/ 91440 w 497162"/>
              <a:gd name="connsiteY3" fmla="*/ 409502 h 409502"/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7162" h="318062">
                <a:moveTo>
                  <a:pt x="0" y="318062"/>
                </a:moveTo>
                <a:lnTo>
                  <a:pt x="248581" y="0"/>
                </a:lnTo>
                <a:lnTo>
                  <a:pt x="497162" y="318062"/>
                </a:lnTo>
              </a:path>
            </a:pathLst>
          </a:custGeom>
          <a:noFill/>
          <a:ln w="381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8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9" name="Gleichschenkliges Dreieck 27">
            <a:extLst>
              <a:ext uri="{FF2B5EF4-FFF2-40B4-BE49-F238E27FC236}">
                <a16:creationId xmlns:a16="http://schemas.microsoft.com/office/drawing/2014/main" id="{E41E7FD9-2EB0-43A4-B4ED-E6A947DFFB04}"/>
              </a:ext>
            </a:extLst>
          </p:cNvPr>
          <p:cNvSpPr/>
          <p:nvPr/>
        </p:nvSpPr>
        <p:spPr bwMode="gray">
          <a:xfrm rot="5400000">
            <a:off x="7916793" y="3241204"/>
            <a:ext cx="277703" cy="112410"/>
          </a:xfrm>
          <a:custGeom>
            <a:avLst/>
            <a:gdLst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  <a:gd name="connsiteX3" fmla="*/ 0 w 497162"/>
              <a:gd name="connsiteY3" fmla="*/ 318062 h 318062"/>
              <a:gd name="connsiteX0" fmla="*/ 0 w 497162"/>
              <a:gd name="connsiteY0" fmla="*/ 318062 h 409502"/>
              <a:gd name="connsiteX1" fmla="*/ 248581 w 497162"/>
              <a:gd name="connsiteY1" fmla="*/ 0 h 409502"/>
              <a:gd name="connsiteX2" fmla="*/ 497162 w 497162"/>
              <a:gd name="connsiteY2" fmla="*/ 318062 h 409502"/>
              <a:gd name="connsiteX3" fmla="*/ 91440 w 497162"/>
              <a:gd name="connsiteY3" fmla="*/ 409502 h 409502"/>
              <a:gd name="connsiteX0" fmla="*/ 0 w 497162"/>
              <a:gd name="connsiteY0" fmla="*/ 318062 h 318062"/>
              <a:gd name="connsiteX1" fmla="*/ 248581 w 497162"/>
              <a:gd name="connsiteY1" fmla="*/ 0 h 318062"/>
              <a:gd name="connsiteX2" fmla="*/ 497162 w 497162"/>
              <a:gd name="connsiteY2" fmla="*/ 318062 h 31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7162" h="318062">
                <a:moveTo>
                  <a:pt x="0" y="318062"/>
                </a:moveTo>
                <a:lnTo>
                  <a:pt x="248581" y="0"/>
                </a:lnTo>
                <a:lnTo>
                  <a:pt x="497162" y="318062"/>
                </a:lnTo>
              </a:path>
            </a:pathLst>
          </a:custGeom>
          <a:noFill/>
          <a:ln w="381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8" dirty="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AC8F0-39EB-4DDA-B3FA-B5788F31A79F}"/>
              </a:ext>
            </a:extLst>
          </p:cNvPr>
          <p:cNvGrpSpPr/>
          <p:nvPr/>
        </p:nvGrpSpPr>
        <p:grpSpPr>
          <a:xfrm>
            <a:off x="5249402" y="1175341"/>
            <a:ext cx="5773019" cy="2055436"/>
            <a:chOff x="5249402" y="1175341"/>
            <a:chExt cx="5773019" cy="2055436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2BE5BF8-942F-4673-984F-1A245365BCAF}"/>
                </a:ext>
              </a:extLst>
            </p:cNvPr>
            <p:cNvSpPr txBox="1"/>
            <p:nvPr/>
          </p:nvSpPr>
          <p:spPr>
            <a:xfrm>
              <a:off x="6917088" y="1175341"/>
              <a:ext cx="1170176" cy="4561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and here’s</a:t>
              </a:r>
              <a:br>
                <a:rPr lang="en-US" b="1" dirty="0">
                  <a:solidFill>
                    <a:schemeClr val="tx1"/>
                  </a:solidFill>
                </a:rPr>
              </a:br>
              <a:r>
                <a:rPr lang="en-US" b="1" dirty="0">
                  <a:solidFill>
                    <a:schemeClr val="tx1"/>
                  </a:solidFill>
                </a:rPr>
                <a:t>our “Ops”</a:t>
              </a:r>
            </a:p>
          </p:txBody>
        </p: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C2D63DE7-8489-4B30-A0AA-5F90DD05A78B}"/>
                </a:ext>
              </a:extLst>
            </p:cNvPr>
            <p:cNvGrpSpPr/>
            <p:nvPr/>
          </p:nvGrpSpPr>
          <p:grpSpPr>
            <a:xfrm>
              <a:off x="5249402" y="2024414"/>
              <a:ext cx="4988127" cy="1206363"/>
              <a:chOff x="5248071" y="2031186"/>
              <a:chExt cx="4988127" cy="1206363"/>
            </a:xfrm>
          </p:grpSpPr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71C73273-5494-4B95-82D9-1479D1CB6FD9}"/>
                  </a:ext>
                </a:extLst>
              </p:cNvPr>
              <p:cNvGrpSpPr/>
              <p:nvPr/>
            </p:nvGrpSpPr>
            <p:grpSpPr>
              <a:xfrm>
                <a:off x="5248071" y="2163632"/>
                <a:ext cx="4988127" cy="490965"/>
                <a:chOff x="650140" y="2131207"/>
                <a:chExt cx="4918017" cy="490965"/>
              </a:xfrm>
            </p:grpSpPr>
            <p:sp>
              <p:nvSpPr>
                <p:cNvPr id="80" name="Arrow: Chevron 81">
                  <a:extLst>
                    <a:ext uri="{FF2B5EF4-FFF2-40B4-BE49-F238E27FC236}">
                      <a16:creationId xmlns:a16="http://schemas.microsoft.com/office/drawing/2014/main" id="{85A799EE-88A3-43DC-A014-46D920D1B3A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50140" y="2131207"/>
                  <a:ext cx="1646955" cy="490965"/>
                </a:xfrm>
                <a:custGeom>
                  <a:avLst/>
                  <a:gdLst>
                    <a:gd name="connsiteX0" fmla="*/ 0 w 1781676"/>
                    <a:gd name="connsiteY0" fmla="*/ 0 h 449220"/>
                    <a:gd name="connsiteX1" fmla="*/ 1557066 w 1781676"/>
                    <a:gd name="connsiteY1" fmla="*/ 0 h 449220"/>
                    <a:gd name="connsiteX2" fmla="*/ 1781676 w 1781676"/>
                    <a:gd name="connsiteY2" fmla="*/ 224610 h 449220"/>
                    <a:gd name="connsiteX3" fmla="*/ 1557066 w 1781676"/>
                    <a:gd name="connsiteY3" fmla="*/ 449220 h 449220"/>
                    <a:gd name="connsiteX4" fmla="*/ 0 w 1781676"/>
                    <a:gd name="connsiteY4" fmla="*/ 449220 h 449220"/>
                    <a:gd name="connsiteX5" fmla="*/ 224610 w 1781676"/>
                    <a:gd name="connsiteY5" fmla="*/ 224610 h 449220"/>
                    <a:gd name="connsiteX6" fmla="*/ 0 w 1781676"/>
                    <a:gd name="connsiteY6" fmla="*/ 0 h 449220"/>
                    <a:gd name="connsiteX0" fmla="*/ 0 w 1781676"/>
                    <a:gd name="connsiteY0" fmla="*/ 0 h 449220"/>
                    <a:gd name="connsiteX1" fmla="*/ 1557066 w 1781676"/>
                    <a:gd name="connsiteY1" fmla="*/ 0 h 449220"/>
                    <a:gd name="connsiteX2" fmla="*/ 1781676 w 1781676"/>
                    <a:gd name="connsiteY2" fmla="*/ 224610 h 449220"/>
                    <a:gd name="connsiteX3" fmla="*/ 1557066 w 1781676"/>
                    <a:gd name="connsiteY3" fmla="*/ 449220 h 449220"/>
                    <a:gd name="connsiteX4" fmla="*/ 0 w 1781676"/>
                    <a:gd name="connsiteY4" fmla="*/ 449220 h 449220"/>
                    <a:gd name="connsiteX5" fmla="*/ 0 w 1781676"/>
                    <a:gd name="connsiteY5" fmla="*/ 0 h 449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81676" h="449220">
                      <a:moveTo>
                        <a:pt x="0" y="0"/>
                      </a:moveTo>
                      <a:lnTo>
                        <a:pt x="1557066" y="0"/>
                      </a:lnTo>
                      <a:lnTo>
                        <a:pt x="1781676" y="224610"/>
                      </a:lnTo>
                      <a:lnTo>
                        <a:pt x="1557066" y="449220"/>
                      </a:lnTo>
                      <a:lnTo>
                        <a:pt x="0" y="44922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CEC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0" bIns="72000" rtlCol="0" anchor="ctr"/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1200" b="1" dirty="0">
                      <a:solidFill>
                        <a:schemeClr val="tx1"/>
                      </a:solidFill>
                    </a:rPr>
                    <a:t>Integration Test</a:t>
                  </a:r>
                </a:p>
              </p:txBody>
            </p:sp>
            <p:sp>
              <p:nvSpPr>
                <p:cNvPr id="81" name="Arrow: Chevron 34">
                  <a:extLst>
                    <a:ext uri="{FF2B5EF4-FFF2-40B4-BE49-F238E27FC236}">
                      <a16:creationId xmlns:a16="http://schemas.microsoft.com/office/drawing/2014/main" id="{0B29DCD5-43D7-40A9-863A-B6A71855C9A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670773" y="2131207"/>
                  <a:ext cx="1897384" cy="490965"/>
                </a:xfrm>
                <a:prstGeom prst="chevron">
                  <a:avLst>
                    <a:gd name="adj" fmla="val 41722"/>
                  </a:avLst>
                </a:prstGeom>
                <a:solidFill>
                  <a:srgbClr val="ECEC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0" bIns="72000" rtlCol="0" anchor="ctr"/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1200" b="1" dirty="0">
                      <a:solidFill>
                        <a:schemeClr val="tx1"/>
                      </a:solidFill>
                    </a:rPr>
                    <a:t>Regulatory Testing….</a:t>
                  </a:r>
                </a:p>
              </p:txBody>
            </p:sp>
            <p:sp>
              <p:nvSpPr>
                <p:cNvPr id="82" name="Arrow: Chevron 79">
                  <a:extLst>
                    <a:ext uri="{FF2B5EF4-FFF2-40B4-BE49-F238E27FC236}">
                      <a16:creationId xmlns:a16="http://schemas.microsoft.com/office/drawing/2014/main" id="{4E4CD889-B777-4B90-BB0A-8B4AEF0C926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160457" y="2131209"/>
                  <a:ext cx="1646955" cy="490963"/>
                </a:xfrm>
                <a:prstGeom prst="chevron">
                  <a:avLst>
                    <a:gd name="adj" fmla="val 42757"/>
                  </a:avLst>
                </a:prstGeom>
                <a:solidFill>
                  <a:srgbClr val="ECEC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0" bIns="72000" rtlCol="0" anchor="ctr"/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1200" b="1" dirty="0">
                      <a:solidFill>
                        <a:schemeClr val="tx1"/>
                      </a:solidFill>
                    </a:rPr>
                    <a:t>Deploy &amp; Test in user equiv. Environment</a:t>
                  </a: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24A53434-6C1E-48D6-96E1-AF45F9A566C2}"/>
                  </a:ext>
                </a:extLst>
              </p:cNvPr>
              <p:cNvGrpSpPr/>
              <p:nvPr/>
            </p:nvGrpSpPr>
            <p:grpSpPr>
              <a:xfrm>
                <a:off x="5301536" y="2031186"/>
                <a:ext cx="4059302" cy="1206363"/>
                <a:chOff x="7121624" y="1462923"/>
                <a:chExt cx="4059302" cy="1206363"/>
              </a:xfrm>
            </p:grpSpPr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5A7C958D-2AC3-4B70-BDB8-DC619C18EDA5}"/>
                    </a:ext>
                  </a:extLst>
                </p:cNvPr>
                <p:cNvSpPr txBox="1"/>
                <p:nvPr/>
              </p:nvSpPr>
              <p:spPr>
                <a:xfrm>
                  <a:off x="9624544" y="2129838"/>
                  <a:ext cx="1055305" cy="12354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algn="l"/>
                  <a:r>
                    <a:rPr lang="en-US" sz="1050" dirty="0">
                      <a:solidFill>
                        <a:srgbClr val="EC6602"/>
                      </a:solidFill>
                    </a:rPr>
                    <a:t>“Regulatory Wall”</a:t>
                  </a:r>
                </a:p>
              </p:txBody>
            </p: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CE9C77B2-53C8-4C24-AC26-9A59270FCAB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21624" y="2035987"/>
                  <a:ext cx="1085907" cy="620980"/>
                </a:xfrm>
                <a:prstGeom prst="line">
                  <a:avLst/>
                </a:prstGeom>
                <a:ln w="12700" cap="rnd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988554AC-CC50-4690-A308-EE72F34D09A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817146" y="2035987"/>
                  <a:ext cx="1363780" cy="633299"/>
                </a:xfrm>
                <a:prstGeom prst="line">
                  <a:avLst/>
                </a:prstGeom>
                <a:ln w="12700" cap="rnd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D52E6F9B-8A3F-4CC9-86FE-AA30E313CD07}"/>
                    </a:ext>
                  </a:extLst>
                </p:cNvPr>
                <p:cNvSpPr/>
                <p:nvPr/>
              </p:nvSpPr>
              <p:spPr>
                <a:xfrm flipH="1">
                  <a:off x="10136212" y="1462923"/>
                  <a:ext cx="108034" cy="637750"/>
                </a:xfrm>
                <a:prstGeom prst="rect">
                  <a:avLst/>
                </a:prstGeom>
                <a:solidFill>
                  <a:srgbClr val="EC66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58" name="Arrow: Down 57">
              <a:extLst>
                <a:ext uri="{FF2B5EF4-FFF2-40B4-BE49-F238E27FC236}">
                  <a16:creationId xmlns:a16="http://schemas.microsoft.com/office/drawing/2014/main" id="{2EB3D70D-2931-41C6-9D8F-6629B0D69846}"/>
                </a:ext>
              </a:extLst>
            </p:cNvPr>
            <p:cNvSpPr/>
            <p:nvPr/>
          </p:nvSpPr>
          <p:spPr>
            <a:xfrm>
              <a:off x="7563483" y="1724641"/>
              <a:ext cx="91979" cy="398578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967A397-9225-4259-A6BF-18AD4A80A053}"/>
                </a:ext>
              </a:extLst>
            </p:cNvPr>
            <p:cNvSpPr txBox="1"/>
            <p:nvPr/>
          </p:nvSpPr>
          <p:spPr>
            <a:xfrm>
              <a:off x="5561673" y="1779546"/>
              <a:ext cx="2374457" cy="4561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000" b="1" dirty="0"/>
                <a:t>Development (informal) 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FF03E4D-E4CE-4AC3-A6B9-473F5F205889}"/>
                </a:ext>
              </a:extLst>
            </p:cNvPr>
            <p:cNvSpPr txBox="1"/>
            <p:nvPr/>
          </p:nvSpPr>
          <p:spPr>
            <a:xfrm>
              <a:off x="8688408" y="1746943"/>
              <a:ext cx="2334013" cy="1179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US" sz="1000" b="1" dirty="0"/>
                <a:t>Verification &amp; Validation (formal)</a:t>
              </a:r>
            </a:p>
          </p:txBody>
        </p:sp>
        <p:sp>
          <p:nvSpPr>
            <p:cNvPr id="61" name="Arrow: Left-Right 60">
              <a:extLst>
                <a:ext uri="{FF2B5EF4-FFF2-40B4-BE49-F238E27FC236}">
                  <a16:creationId xmlns:a16="http://schemas.microsoft.com/office/drawing/2014/main" id="{2E4C988A-DB68-4038-B84F-C6359D52C9D5}"/>
                </a:ext>
              </a:extLst>
            </p:cNvPr>
            <p:cNvSpPr/>
            <p:nvPr/>
          </p:nvSpPr>
          <p:spPr>
            <a:xfrm>
              <a:off x="8547672" y="1920031"/>
              <a:ext cx="1435860" cy="235533"/>
            </a:xfrm>
            <a:prstGeom prst="leftRightArrow">
              <a:avLst/>
            </a:prstGeom>
            <a:solidFill>
              <a:srgbClr val="EC66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62" name="Arrow: Right 61">
              <a:extLst>
                <a:ext uri="{FF2B5EF4-FFF2-40B4-BE49-F238E27FC236}">
                  <a16:creationId xmlns:a16="http://schemas.microsoft.com/office/drawing/2014/main" id="{D933CDEC-77A3-4521-99FB-E754772F49C7}"/>
                </a:ext>
              </a:extLst>
            </p:cNvPr>
            <p:cNvSpPr/>
            <p:nvPr/>
          </p:nvSpPr>
          <p:spPr>
            <a:xfrm>
              <a:off x="5302867" y="1916710"/>
              <a:ext cx="2957855" cy="219777"/>
            </a:xfrm>
            <a:prstGeom prst="rightArrow">
              <a:avLst/>
            </a:prstGeom>
            <a:solidFill>
              <a:srgbClr val="EC66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50"/>
            </a:p>
          </p:txBody>
        </p:sp>
      </p:grpSp>
    </p:spTree>
    <p:extLst>
      <p:ext uri="{BB962C8B-B14F-4D97-AF65-F5344CB8AC3E}">
        <p14:creationId xmlns:p14="http://schemas.microsoft.com/office/powerpoint/2010/main" val="230017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>
            <a:extLst>
              <a:ext uri="{FF2B5EF4-FFF2-40B4-BE49-F238E27FC236}">
                <a16:creationId xmlns:a16="http://schemas.microsoft.com/office/drawing/2014/main" id="{53230A90-850E-4F97-B9ED-887605A0D1A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82880" y="2157150"/>
            <a:ext cx="11873413" cy="22185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CA812-08BF-4C0A-8FCC-5C126501C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y Automated System Deployment</a:t>
            </a:r>
            <a:br>
              <a:rPr lang="en-US" dirty="0"/>
            </a:br>
            <a:r>
              <a:rPr lang="en-US" sz="2800" dirty="0"/>
              <a:t>Scope and Achievements</a:t>
            </a:r>
            <a:endParaRPr lang="en-US" dirty="0"/>
          </a:p>
        </p:txBody>
      </p:sp>
      <p:sp>
        <p:nvSpPr>
          <p:cNvPr id="64" name="TextBox 30">
            <a:extLst>
              <a:ext uri="{FF2B5EF4-FFF2-40B4-BE49-F238E27FC236}">
                <a16:creationId xmlns:a16="http://schemas.microsoft.com/office/drawing/2014/main" id="{AB880314-C931-4E4F-AC7E-9C143A8A6010}"/>
              </a:ext>
            </a:extLst>
          </p:cNvPr>
          <p:cNvSpPr txBox="1"/>
          <p:nvPr/>
        </p:nvSpPr>
        <p:spPr>
          <a:xfrm>
            <a:off x="8333557" y="4278133"/>
            <a:ext cx="15763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479">
              <a:spcBef>
                <a:spcPts val="0"/>
              </a:spcBef>
            </a:pPr>
            <a:r>
              <a:rPr lang="en-US" sz="1400" dirty="0">
                <a:solidFill>
                  <a:srgbClr val="000000"/>
                </a:solidFill>
                <a:latin typeface="Calibri"/>
              </a:rPr>
              <a:t>Deployment &amp; Test</a:t>
            </a:r>
          </a:p>
        </p:txBody>
      </p:sp>
      <p:sp>
        <p:nvSpPr>
          <p:cNvPr id="65" name="TextBox 5">
            <a:extLst>
              <a:ext uri="{FF2B5EF4-FFF2-40B4-BE49-F238E27FC236}">
                <a16:creationId xmlns:a16="http://schemas.microsoft.com/office/drawing/2014/main" id="{1A310FFA-3028-4CEB-91B5-3F0021D346B8}"/>
              </a:ext>
            </a:extLst>
          </p:cNvPr>
          <p:cNvSpPr txBox="1"/>
          <p:nvPr/>
        </p:nvSpPr>
        <p:spPr>
          <a:xfrm>
            <a:off x="142057" y="4245234"/>
            <a:ext cx="11449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479">
              <a:spcBef>
                <a:spcPts val="0"/>
              </a:spcBef>
            </a:pPr>
            <a:r>
              <a:rPr lang="en-US" sz="1400" dirty="0">
                <a:solidFill>
                  <a:srgbClr val="000000"/>
                </a:solidFill>
                <a:latin typeface="Calibri"/>
              </a:rPr>
              <a:t>Code Change</a:t>
            </a:r>
          </a:p>
        </p:txBody>
      </p:sp>
      <p:sp>
        <p:nvSpPr>
          <p:cNvPr id="67" name="Left-Right Arrow 54">
            <a:extLst>
              <a:ext uri="{FF2B5EF4-FFF2-40B4-BE49-F238E27FC236}">
                <a16:creationId xmlns:a16="http://schemas.microsoft.com/office/drawing/2014/main" id="{1CC1542E-B648-4E39-B4A6-CA5A17E1843E}"/>
              </a:ext>
            </a:extLst>
          </p:cNvPr>
          <p:cNvSpPr/>
          <p:nvPr/>
        </p:nvSpPr>
        <p:spPr bwMode="auto">
          <a:xfrm>
            <a:off x="330657" y="4508402"/>
            <a:ext cx="8791065" cy="522242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lIns="107772" tIns="53886" rIns="107772" bIns="53886" numCol="1" spcCol="7200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479">
              <a:lnSpc>
                <a:spcPct val="110000"/>
              </a:lnSpc>
              <a:spcBef>
                <a:spcPct val="0"/>
              </a:spcBef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 Weeks pre-planned </a:t>
            </a:r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nd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fixed Milestone Cadence</a:t>
            </a:r>
          </a:p>
        </p:txBody>
      </p:sp>
      <p:pic>
        <p:nvPicPr>
          <p:cNvPr id="19" name="Graphic 18" descr="User with solid fill">
            <a:extLst>
              <a:ext uri="{FF2B5EF4-FFF2-40B4-BE49-F238E27FC236}">
                <a16:creationId xmlns:a16="http://schemas.microsoft.com/office/drawing/2014/main" id="{670E794D-1BC4-443D-8D4F-9D2DB9EEFCB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78871" y="4538213"/>
            <a:ext cx="548664" cy="548664"/>
          </a:xfrm>
          <a:prstGeom prst="rect">
            <a:avLst/>
          </a:prstGeom>
        </p:spPr>
      </p:pic>
      <p:pic>
        <p:nvPicPr>
          <p:cNvPr id="20" name="Graphic 19" descr="Gears with solid fill">
            <a:extLst>
              <a:ext uri="{FF2B5EF4-FFF2-40B4-BE49-F238E27FC236}">
                <a16:creationId xmlns:a16="http://schemas.microsoft.com/office/drawing/2014/main" id="{1255AF50-E6E7-489A-91A4-99EB8D1885B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07388" y="4793922"/>
            <a:ext cx="325993" cy="32599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F8AD65E-7EFE-4DA4-AAAF-A856A7EBFE0C}"/>
              </a:ext>
            </a:extLst>
          </p:cNvPr>
          <p:cNvGrpSpPr/>
          <p:nvPr/>
        </p:nvGrpSpPr>
        <p:grpSpPr>
          <a:xfrm>
            <a:off x="330657" y="4593324"/>
            <a:ext cx="8802792" cy="1577894"/>
            <a:chOff x="330657" y="4250424"/>
            <a:chExt cx="8802792" cy="1577894"/>
          </a:xfrm>
        </p:grpSpPr>
        <p:sp>
          <p:nvSpPr>
            <p:cNvPr id="83" name="Left-Right Arrow 21">
              <a:extLst>
                <a:ext uri="{FF2B5EF4-FFF2-40B4-BE49-F238E27FC236}">
                  <a16:creationId xmlns:a16="http://schemas.microsoft.com/office/drawing/2014/main" id="{09779096-376D-485B-8CE2-F8C534051CCD}"/>
                </a:ext>
              </a:extLst>
            </p:cNvPr>
            <p:cNvSpPr/>
            <p:nvPr/>
          </p:nvSpPr>
          <p:spPr bwMode="auto">
            <a:xfrm>
              <a:off x="3560128" y="5307110"/>
              <a:ext cx="950909" cy="521208"/>
            </a:xfrm>
            <a:prstGeom prst="leftRight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lIns="107772" tIns="53886" rIns="107772" bIns="53886" numCol="1" spcCol="72000" rtlCol="0" anchor="ctr">
              <a:noAutofit/>
            </a:bodyPr>
            <a:lstStyle/>
            <a:p>
              <a:pPr algn="ctr" defTabSz="912479">
                <a:lnSpc>
                  <a:spcPct val="110000"/>
                </a:lnSpc>
                <a:spcBef>
                  <a:spcPct val="0"/>
                </a:spcBef>
              </a:pPr>
              <a:r>
                <a:rPr lang="en-US" dirty="0">
                  <a:solidFill>
                    <a:srgbClr val="000000"/>
                  </a:solidFill>
                  <a:latin typeface="Calibri" panose="020F0502020204030204" pitchFamily="34" charset="0"/>
                </a:rPr>
                <a:t>Daily</a:t>
              </a:r>
            </a:p>
          </p:txBody>
        </p: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7C15F21B-6122-43B8-938B-BC52ED9DBF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33855" y="4697904"/>
              <a:ext cx="4599594" cy="579108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B61C78DC-EACD-4920-AF95-3ABE7C4AE895}"/>
                </a:ext>
              </a:extLst>
            </p:cNvPr>
            <p:cNvCxnSpPr>
              <a:cxnSpLocks/>
            </p:cNvCxnSpPr>
            <p:nvPr/>
          </p:nvCxnSpPr>
          <p:spPr>
            <a:xfrm>
              <a:off x="4533855" y="5287504"/>
              <a:ext cx="0" cy="45793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F931EF8E-B65C-4343-A586-96C20A76C7FB}"/>
                </a:ext>
              </a:extLst>
            </p:cNvPr>
            <p:cNvCxnSpPr>
              <a:cxnSpLocks/>
            </p:cNvCxnSpPr>
            <p:nvPr/>
          </p:nvCxnSpPr>
          <p:spPr>
            <a:xfrm>
              <a:off x="3560128" y="5299324"/>
              <a:ext cx="0" cy="44611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CE6D3476-91EA-480A-A03F-9BA89C77277F}"/>
                </a:ext>
              </a:extLst>
            </p:cNvPr>
            <p:cNvCxnSpPr/>
            <p:nvPr/>
          </p:nvCxnSpPr>
          <p:spPr>
            <a:xfrm>
              <a:off x="330658" y="4250424"/>
              <a:ext cx="1" cy="401196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AEBD005B-0B5B-4AE6-82BF-07A7FA1A4E96}"/>
                </a:ext>
              </a:extLst>
            </p:cNvPr>
            <p:cNvCxnSpPr/>
            <p:nvPr/>
          </p:nvCxnSpPr>
          <p:spPr>
            <a:xfrm>
              <a:off x="9121725" y="4287423"/>
              <a:ext cx="0" cy="401196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DB170368-D86C-4EE2-9DFE-277C2FFBEA8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30657" y="4651620"/>
              <a:ext cx="3229471" cy="647703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Graphic 21" descr="Gears with solid fill">
              <a:extLst>
                <a:ext uri="{FF2B5EF4-FFF2-40B4-BE49-F238E27FC236}">
                  <a16:creationId xmlns:a16="http://schemas.microsoft.com/office/drawing/2014/main" id="{DE485EBC-22C5-4798-8C65-16038594D4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496654" y="5250505"/>
              <a:ext cx="548664" cy="548664"/>
            </a:xfrm>
            <a:prstGeom prst="rect">
              <a:avLst/>
            </a:prstGeom>
          </p:spPr>
        </p:pic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EB1B2530-FCEC-47E7-B2AE-7C275C16E362}"/>
              </a:ext>
            </a:extLst>
          </p:cNvPr>
          <p:cNvSpPr/>
          <p:nvPr/>
        </p:nvSpPr>
        <p:spPr>
          <a:xfrm>
            <a:off x="11887200" y="2476500"/>
            <a:ext cx="180975" cy="180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56D3E4F-911F-48F0-9302-41C4291F8FB5}"/>
              </a:ext>
            </a:extLst>
          </p:cNvPr>
          <p:cNvGrpSpPr/>
          <p:nvPr/>
        </p:nvGrpSpPr>
        <p:grpSpPr>
          <a:xfrm>
            <a:off x="7402730" y="5319551"/>
            <a:ext cx="2499371" cy="1325577"/>
            <a:chOff x="3240715" y="1093652"/>
            <a:chExt cx="2499371" cy="1325577"/>
          </a:xfrm>
        </p:grpSpPr>
        <p:pic>
          <p:nvPicPr>
            <p:cNvPr id="43" name="Picture 2">
              <a:extLst>
                <a:ext uri="{FF2B5EF4-FFF2-40B4-BE49-F238E27FC236}">
                  <a16:creationId xmlns:a16="http://schemas.microsoft.com/office/drawing/2014/main" id="{AFFDDC39-39F6-40E0-A395-1A8CF85839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37839">
              <a:off x="3240715" y="1679931"/>
              <a:ext cx="935180" cy="7392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6A52600-B375-49BF-920E-B5E6F4F51A94}"/>
                </a:ext>
              </a:extLst>
            </p:cNvPr>
            <p:cNvGrpSpPr/>
            <p:nvPr/>
          </p:nvGrpSpPr>
          <p:grpSpPr>
            <a:xfrm>
              <a:off x="3560128" y="1093652"/>
              <a:ext cx="2179958" cy="850392"/>
              <a:chOff x="3290884" y="1034729"/>
              <a:chExt cx="2179958" cy="850392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04B8F4FF-149E-401F-A86B-6901AF78EF8D}"/>
                  </a:ext>
                </a:extLst>
              </p:cNvPr>
              <p:cNvGrpSpPr/>
              <p:nvPr/>
            </p:nvGrpSpPr>
            <p:grpSpPr>
              <a:xfrm>
                <a:off x="3489574" y="1107458"/>
                <a:ext cx="1981268" cy="639220"/>
                <a:chOff x="9257289" y="1124945"/>
                <a:chExt cx="1981268" cy="639220"/>
              </a:xfrm>
            </p:grpSpPr>
            <p:sp>
              <p:nvSpPr>
                <p:cNvPr id="32" name="Double Wave 31">
                  <a:extLst>
                    <a:ext uri="{FF2B5EF4-FFF2-40B4-BE49-F238E27FC236}">
                      <a16:creationId xmlns:a16="http://schemas.microsoft.com/office/drawing/2014/main" id="{2211FDEE-A54A-44AC-AD04-2CF137B0FE04}"/>
                    </a:ext>
                  </a:extLst>
                </p:cNvPr>
                <p:cNvSpPr/>
                <p:nvPr/>
              </p:nvSpPr>
              <p:spPr>
                <a:xfrm>
                  <a:off x="9257289" y="1124945"/>
                  <a:ext cx="1946132" cy="639220"/>
                </a:xfrm>
                <a:prstGeom prst="doubleWave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7F4BF9DF-EF7E-489A-9662-412397B2E759}"/>
                    </a:ext>
                  </a:extLst>
                </p:cNvPr>
                <p:cNvSpPr txBox="1"/>
                <p:nvPr/>
              </p:nvSpPr>
              <p:spPr>
                <a:xfrm>
                  <a:off x="9418932" y="1152167"/>
                  <a:ext cx="1819625" cy="58477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600" dirty="0">
                      <a:solidFill>
                        <a:schemeClr val="tx1"/>
                      </a:solidFill>
                      <a:latin typeface="Calibri" panose="020F0502020204030204"/>
                      <a:ea typeface="+mn-ea"/>
                    </a:rPr>
                    <a:t>Continuous </a:t>
                  </a:r>
                  <a:br>
                    <a:rPr lang="en-US" sz="1600" dirty="0">
                      <a:solidFill>
                        <a:schemeClr val="tx1"/>
                      </a:solidFill>
                      <a:latin typeface="Calibri" panose="020F0502020204030204"/>
                      <a:ea typeface="+mn-ea"/>
                    </a:rPr>
                  </a:br>
                  <a:r>
                    <a:rPr lang="en-US" sz="1600" dirty="0">
                      <a:solidFill>
                        <a:schemeClr val="tx1"/>
                      </a:solidFill>
                      <a:latin typeface="Calibri" panose="020F0502020204030204"/>
                      <a:ea typeface="+mn-ea"/>
                    </a:rPr>
                    <a:t>SW integration</a:t>
                  </a:r>
                </a:p>
              </p:txBody>
            </p:sp>
          </p:grpSp>
          <p:pic>
            <p:nvPicPr>
              <p:cNvPr id="30" name="Picture 5" descr="A group of stools&#10;&#10;Description automatically generated with medium confidence">
                <a:extLst>
                  <a:ext uri="{FF2B5EF4-FFF2-40B4-BE49-F238E27FC236}">
                    <a16:creationId xmlns:a16="http://schemas.microsoft.com/office/drawing/2014/main" id="{75AB5B25-F5EA-4039-9BB1-D7F9190D5E4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ackgroundRemoval t="0" b="100000" l="0" r="100000"/>
                        </a14:imgEffect>
                        <a14:imgEffect>
                          <a14:brightnessContrast bright="-20000" contras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290884" y="1034729"/>
                <a:ext cx="395469" cy="850392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64FEAC7-5968-44D0-819F-A109295FAE40}"/>
              </a:ext>
            </a:extLst>
          </p:cNvPr>
          <p:cNvGrpSpPr/>
          <p:nvPr/>
        </p:nvGrpSpPr>
        <p:grpSpPr>
          <a:xfrm>
            <a:off x="8768182" y="1161417"/>
            <a:ext cx="2328945" cy="1369147"/>
            <a:chOff x="8874476" y="1446774"/>
            <a:chExt cx="2328945" cy="1369147"/>
          </a:xfrm>
        </p:grpSpPr>
        <p:pic>
          <p:nvPicPr>
            <p:cNvPr id="41" name="Picture 2">
              <a:extLst>
                <a:ext uri="{FF2B5EF4-FFF2-40B4-BE49-F238E27FC236}">
                  <a16:creationId xmlns:a16="http://schemas.microsoft.com/office/drawing/2014/main" id="{3889AB9B-5A59-4B8B-86B8-6C8AE563D5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duotone>
                <a:prstClr val="black"/>
                <a:srgbClr val="FFC000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8562681">
              <a:off x="8776535" y="1978682"/>
              <a:ext cx="935180" cy="7392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ED80F65-1C0F-4512-8875-EBF766A17A7A}"/>
                </a:ext>
              </a:extLst>
            </p:cNvPr>
            <p:cNvGrpSpPr/>
            <p:nvPr/>
          </p:nvGrpSpPr>
          <p:grpSpPr>
            <a:xfrm>
              <a:off x="8982418" y="1446774"/>
              <a:ext cx="2221003" cy="847227"/>
              <a:chOff x="8982418" y="1103874"/>
              <a:chExt cx="2221003" cy="847227"/>
            </a:xfrm>
          </p:grpSpPr>
          <p:sp>
            <p:nvSpPr>
              <p:cNvPr id="5" name="Double Wave 4">
                <a:extLst>
                  <a:ext uri="{FF2B5EF4-FFF2-40B4-BE49-F238E27FC236}">
                    <a16:creationId xmlns:a16="http://schemas.microsoft.com/office/drawing/2014/main" id="{86FFE6DD-CCD5-44FD-85FE-4C4419281ECA}"/>
                  </a:ext>
                </a:extLst>
              </p:cNvPr>
              <p:cNvSpPr/>
              <p:nvPr/>
            </p:nvSpPr>
            <p:spPr>
              <a:xfrm>
                <a:off x="9257289" y="1142947"/>
                <a:ext cx="1946132" cy="621217"/>
              </a:xfrm>
              <a:prstGeom prst="doubleWave">
                <a:avLst/>
              </a:prstGeom>
              <a:solidFill>
                <a:srgbClr val="FFE98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6EB1A67C-DBFC-4F68-8EB0-5E7810AE7BEA}"/>
                  </a:ext>
                </a:extLst>
              </p:cNvPr>
              <p:cNvSpPr txBox="1"/>
              <p:nvPr/>
            </p:nvSpPr>
            <p:spPr>
              <a:xfrm>
                <a:off x="9337459" y="1146093"/>
                <a:ext cx="1819625" cy="584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91458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dirty="0">
                    <a:solidFill>
                      <a:schemeClr val="tx1"/>
                    </a:solidFill>
                    <a:latin typeface="Calibri" panose="020F0502020204030204"/>
                    <a:ea typeface="+mn-ea"/>
                  </a:rPr>
                  <a:t>Automatic System installation</a:t>
                </a:r>
              </a:p>
            </p:txBody>
          </p:sp>
          <p:pic>
            <p:nvPicPr>
              <p:cNvPr id="25" name="Picture 4" descr="A group of stools&#10;&#10;Description automatically generated with medium confidence">
                <a:extLst>
                  <a:ext uri="{FF2B5EF4-FFF2-40B4-BE49-F238E27FC236}">
                    <a16:creationId xmlns:a16="http://schemas.microsoft.com/office/drawing/2014/main" id="{EDA6A66D-ACD3-42D4-A9A9-EAA7316C51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email"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backgroundRemoval t="0" b="100000" l="0" r="100000">
                            <a14:foregroundMark x1="45977" y1="93011" x2="47126" y2="11290"/>
                            <a14:foregroundMark x1="47126" y1="11290" x2="48276" y2="8602"/>
                            <a14:foregroundMark x1="72414" y1="11290" x2="28736" y2="10215"/>
                            <a14:foregroundMark x1="28736" y1="10215" x2="56322" y2="8602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982418" y="1103874"/>
                <a:ext cx="392906" cy="847227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DEB6B7A-36BE-4F1C-926F-F6089F4E4D6C}"/>
              </a:ext>
            </a:extLst>
          </p:cNvPr>
          <p:cNvGrpSpPr/>
          <p:nvPr/>
        </p:nvGrpSpPr>
        <p:grpSpPr>
          <a:xfrm>
            <a:off x="3344284" y="1246052"/>
            <a:ext cx="2548202" cy="1326217"/>
            <a:chOff x="3191884" y="1093652"/>
            <a:chExt cx="2548202" cy="1326217"/>
          </a:xfrm>
        </p:grpSpPr>
        <p:pic>
          <p:nvPicPr>
            <p:cNvPr id="46" name="Picture 2">
              <a:extLst>
                <a:ext uri="{FF2B5EF4-FFF2-40B4-BE49-F238E27FC236}">
                  <a16:creationId xmlns:a16="http://schemas.microsoft.com/office/drawing/2014/main" id="{33321BC4-0DCA-4816-8071-965B861B75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0434014">
              <a:off x="3191884" y="1680571"/>
              <a:ext cx="935180" cy="7392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E2F3843-EFCA-49A1-A70A-56060A366BD8}"/>
                </a:ext>
              </a:extLst>
            </p:cNvPr>
            <p:cNvGrpSpPr/>
            <p:nvPr/>
          </p:nvGrpSpPr>
          <p:grpSpPr>
            <a:xfrm>
              <a:off x="3560128" y="1093652"/>
              <a:ext cx="2179958" cy="850392"/>
              <a:chOff x="3290884" y="1034729"/>
              <a:chExt cx="2179958" cy="850392"/>
            </a:xfrm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A7CE434D-748C-4803-BE6E-90D57395F681}"/>
                  </a:ext>
                </a:extLst>
              </p:cNvPr>
              <p:cNvGrpSpPr/>
              <p:nvPr/>
            </p:nvGrpSpPr>
            <p:grpSpPr>
              <a:xfrm>
                <a:off x="3489574" y="1107458"/>
                <a:ext cx="1981268" cy="639220"/>
                <a:chOff x="9257289" y="1124945"/>
                <a:chExt cx="1981268" cy="639220"/>
              </a:xfrm>
            </p:grpSpPr>
            <p:sp>
              <p:nvSpPr>
                <p:cNvPr id="50" name="Double Wave 49">
                  <a:extLst>
                    <a:ext uri="{FF2B5EF4-FFF2-40B4-BE49-F238E27FC236}">
                      <a16:creationId xmlns:a16="http://schemas.microsoft.com/office/drawing/2014/main" id="{FC657D46-3436-489E-A0ED-259EB62A550E}"/>
                    </a:ext>
                  </a:extLst>
                </p:cNvPr>
                <p:cNvSpPr/>
                <p:nvPr/>
              </p:nvSpPr>
              <p:spPr>
                <a:xfrm>
                  <a:off x="9257289" y="1124945"/>
                  <a:ext cx="1946132" cy="639220"/>
                </a:xfrm>
                <a:prstGeom prst="doubleWave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518636B8-4468-4456-B316-E1374604C7D0}"/>
                    </a:ext>
                  </a:extLst>
                </p:cNvPr>
                <p:cNvSpPr txBox="1"/>
                <p:nvPr/>
              </p:nvSpPr>
              <p:spPr>
                <a:xfrm>
                  <a:off x="9418932" y="1152167"/>
                  <a:ext cx="1819625" cy="58477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914583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600" dirty="0">
                      <a:solidFill>
                        <a:schemeClr val="tx1"/>
                      </a:solidFill>
                      <a:latin typeface="Calibri" panose="020F0502020204030204"/>
                      <a:ea typeface="+mn-ea"/>
                    </a:rPr>
                    <a:t>Efficient </a:t>
                  </a:r>
                  <a:br>
                    <a:rPr lang="en-US" sz="1600" dirty="0">
                      <a:solidFill>
                        <a:schemeClr val="tx1"/>
                      </a:solidFill>
                      <a:latin typeface="Calibri" panose="020F0502020204030204"/>
                      <a:ea typeface="+mn-ea"/>
                    </a:rPr>
                  </a:br>
                  <a:r>
                    <a:rPr lang="en-US" sz="1600" dirty="0">
                      <a:solidFill>
                        <a:schemeClr val="tx1"/>
                      </a:solidFill>
                      <a:latin typeface="Calibri" panose="020F0502020204030204"/>
                      <a:ea typeface="+mn-ea"/>
                    </a:rPr>
                    <a:t>SW integration</a:t>
                  </a:r>
                </a:p>
              </p:txBody>
            </p:sp>
          </p:grpSp>
          <p:pic>
            <p:nvPicPr>
              <p:cNvPr id="49" name="Picture 5" descr="A group of stools&#10;&#10;Description automatically generated with medium confidence">
                <a:extLst>
                  <a:ext uri="{FF2B5EF4-FFF2-40B4-BE49-F238E27FC236}">
                    <a16:creationId xmlns:a16="http://schemas.microsoft.com/office/drawing/2014/main" id="{1C64F963-DB33-4FEE-A8CC-26E6233CCD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backgroundRemoval t="0" b="100000" l="0" r="100000"/>
                        </a14:imgEffect>
                        <a14:imgEffect>
                          <a14:brightnessContrast bright="-20000" contras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290884" y="1034729"/>
                <a:ext cx="395469" cy="850392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91DBC4C-5B6E-4035-BAE7-70C7224CE978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6A7C526E-80DC-4214-A70A-18B516EC49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9999" y="6297348"/>
            <a:ext cx="5352479" cy="360000"/>
          </a:xfrm>
        </p:spPr>
        <p:txBody>
          <a:bodyPr/>
          <a:lstStyle/>
          <a:p>
            <a:r>
              <a:rPr lang="en-US" dirty="0"/>
              <a:t>4 Sites (DE, SK, IN, CN),  &gt; 150 SW Developers, 300 build &amp; test systems, &gt;130 individual Build-Queues</a:t>
            </a:r>
          </a:p>
        </p:txBody>
      </p:sp>
    </p:spTree>
    <p:extLst>
      <p:ext uri="{BB962C8B-B14F-4D97-AF65-F5344CB8AC3E}">
        <p14:creationId xmlns:p14="http://schemas.microsoft.com/office/powerpoint/2010/main" val="385074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73AE56-3EA8-4DA9-887E-3AE684E08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005" y="219650"/>
            <a:ext cx="9212557" cy="833106"/>
          </a:xfrm>
        </p:spPr>
        <p:txBody>
          <a:bodyPr/>
          <a:lstStyle/>
          <a:p>
            <a:r>
              <a:rPr lang="en-US" dirty="0"/>
              <a:t>Example</a:t>
            </a:r>
            <a:br>
              <a:rPr lang="en-US" dirty="0"/>
            </a:br>
            <a:r>
              <a:rPr lang="en-US" sz="2800" dirty="0"/>
              <a:t>Plateaus for </a:t>
            </a:r>
            <a:r>
              <a:rPr lang="en-US" sz="2800" dirty="0">
                <a:cs typeface="Calibri"/>
              </a:rPr>
              <a:t>Continuous System Integration </a:t>
            </a:r>
            <a:endParaRPr lang="en-US" dirty="0">
              <a:cs typeface="Calibri"/>
            </a:endParaRP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F4B969F2-32FE-4F9D-880D-F65D3C9297B9}"/>
              </a:ext>
            </a:extLst>
          </p:cNvPr>
          <p:cNvSpPr/>
          <p:nvPr/>
        </p:nvSpPr>
        <p:spPr>
          <a:xfrm>
            <a:off x="4100686" y="1883048"/>
            <a:ext cx="3867138" cy="1006997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  <a:cs typeface="Calibri"/>
              </a:rPr>
              <a:t>System Integration as a "non-event" 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7E807AD5-E389-4CA4-8D8D-EDFAB9CF5242}"/>
              </a:ext>
            </a:extLst>
          </p:cNvPr>
          <p:cNvSpPr/>
          <p:nvPr/>
        </p:nvSpPr>
        <p:spPr>
          <a:xfrm>
            <a:off x="4100686" y="3003447"/>
            <a:ext cx="3867138" cy="1006997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On demand automated deployment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AB7A8A39-978D-42C4-B1F8-147B366F495D}"/>
              </a:ext>
            </a:extLst>
          </p:cNvPr>
          <p:cNvSpPr/>
          <p:nvPr/>
        </p:nvSpPr>
        <p:spPr>
          <a:xfrm>
            <a:off x="4108308" y="4139090"/>
            <a:ext cx="3867138" cy="1006997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Inter-Sprint milestone feedback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8637DA84-C05C-44EF-8C3C-408606E1BE42}"/>
              </a:ext>
            </a:extLst>
          </p:cNvPr>
          <p:cNvSpPr/>
          <p:nvPr/>
        </p:nvSpPr>
        <p:spPr>
          <a:xfrm>
            <a:off x="4115930" y="5213759"/>
            <a:ext cx="3867138" cy="1006997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aily feedback on </a:t>
            </a:r>
            <a:r>
              <a:rPr lang="en-US" dirty="0" err="1">
                <a:solidFill>
                  <a:schemeClr val="tx1"/>
                </a:solidFill>
              </a:rPr>
              <a:t>installability</a:t>
            </a:r>
            <a:endParaRPr lang="en-US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F19137-702F-4A4F-B9E1-C3872054B358}"/>
              </a:ext>
            </a:extLst>
          </p:cNvPr>
          <p:cNvSpPr/>
          <p:nvPr/>
        </p:nvSpPr>
        <p:spPr>
          <a:xfrm>
            <a:off x="8089110" y="1913665"/>
            <a:ext cx="3267105" cy="9146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cs typeface="Calibri"/>
              </a:rPr>
              <a:t>Sys-Integration each milestone</a:t>
            </a:r>
            <a:endParaRPr lang="en-US" dirty="0"/>
          </a:p>
          <a:p>
            <a:pPr algn="ctr"/>
            <a:r>
              <a:rPr lang="en-US" dirty="0"/>
              <a:t>Green to Gree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779FE78-4852-4E5F-885C-D7C9110A6E19}"/>
              </a:ext>
            </a:extLst>
          </p:cNvPr>
          <p:cNvSpPr/>
          <p:nvPr/>
        </p:nvSpPr>
        <p:spPr>
          <a:xfrm>
            <a:off x="8089109" y="3049639"/>
            <a:ext cx="3267105" cy="9146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arly feedback on system state ensure smooth mileston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36980A-51C7-4D61-BB70-F8E52A13AD95}"/>
              </a:ext>
            </a:extLst>
          </p:cNvPr>
          <p:cNvSpPr/>
          <p:nvPr/>
        </p:nvSpPr>
        <p:spPr>
          <a:xfrm>
            <a:off x="8089108" y="4231475"/>
            <a:ext cx="3267105" cy="9146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cs typeface="Calibri"/>
              </a:rPr>
              <a:t>Avoid changes that break system during development of featur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A7E651-4599-4DE3-82F7-DCA1992A2293}"/>
              </a:ext>
            </a:extLst>
          </p:cNvPr>
          <p:cNvSpPr/>
          <p:nvPr/>
        </p:nvSpPr>
        <p:spPr>
          <a:xfrm>
            <a:off x="8089107" y="5306144"/>
            <a:ext cx="3267105" cy="9146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/>
              <a:t>Secure the base</a:t>
            </a:r>
            <a:endParaRPr lang="en-US" dirty="0">
              <a:cs typeface="Calibri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72098D6-9346-444B-8746-FE12BF0F41DF}"/>
              </a:ext>
            </a:extLst>
          </p:cNvPr>
          <p:cNvSpPr/>
          <p:nvPr/>
        </p:nvSpPr>
        <p:spPr>
          <a:xfrm>
            <a:off x="1553977" y="1913665"/>
            <a:ext cx="2294566" cy="91461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ystem Engineer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483025-80A6-4A6B-9D93-B3045845A8B7}"/>
              </a:ext>
            </a:extLst>
          </p:cNvPr>
          <p:cNvSpPr/>
          <p:nvPr/>
        </p:nvSpPr>
        <p:spPr>
          <a:xfrm>
            <a:off x="1553978" y="3049639"/>
            <a:ext cx="2294566" cy="91461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ystem Engineer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382973-D8F5-46EC-AE0D-FE37953CA3A6}"/>
              </a:ext>
            </a:extLst>
          </p:cNvPr>
          <p:cNvSpPr/>
          <p:nvPr/>
        </p:nvSpPr>
        <p:spPr>
          <a:xfrm>
            <a:off x="1553976" y="4231475"/>
            <a:ext cx="2279323" cy="91461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ystem Engineering and SW Develop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95539E-7BE6-4098-8F58-1D0663B64F54}"/>
              </a:ext>
            </a:extLst>
          </p:cNvPr>
          <p:cNvSpPr/>
          <p:nvPr/>
        </p:nvSpPr>
        <p:spPr>
          <a:xfrm>
            <a:off x="1569221" y="5306144"/>
            <a:ext cx="2279323" cy="91461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stallation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and SW Develop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A7AE5F-A773-4C50-A3FD-5E8110ECA07A}"/>
              </a:ext>
            </a:extLst>
          </p:cNvPr>
          <p:cNvSpPr txBox="1"/>
          <p:nvPr/>
        </p:nvSpPr>
        <p:spPr>
          <a:xfrm>
            <a:off x="1203197" y="1402120"/>
            <a:ext cx="2897489" cy="3859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+mn-lt"/>
              </a:rPr>
              <a:t>Main Stakehold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8F37DF-8FCA-4462-8B55-46B7628452D1}"/>
              </a:ext>
            </a:extLst>
          </p:cNvPr>
          <p:cNvSpPr txBox="1"/>
          <p:nvPr/>
        </p:nvSpPr>
        <p:spPr>
          <a:xfrm>
            <a:off x="5182043" y="1409271"/>
            <a:ext cx="896976" cy="3859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  <a:latin typeface="+mn-lt"/>
              </a:rPr>
              <a:t>Wh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EFC60C-17E6-49AF-9F33-DC14F391B794}"/>
              </a:ext>
            </a:extLst>
          </p:cNvPr>
          <p:cNvSpPr txBox="1"/>
          <p:nvPr/>
        </p:nvSpPr>
        <p:spPr>
          <a:xfrm>
            <a:off x="9151901" y="1402096"/>
            <a:ext cx="896976" cy="3859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  <a:latin typeface="+mn-lt"/>
              </a:rPr>
              <a:t>Goal</a:t>
            </a: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D2BA3EBC-4D95-49FC-8A2C-A6593B0FB74F}"/>
              </a:ext>
            </a:extLst>
          </p:cNvPr>
          <p:cNvSpPr/>
          <p:nvPr/>
        </p:nvSpPr>
        <p:spPr>
          <a:xfrm rot="16200000">
            <a:off x="-1097238" y="3661194"/>
            <a:ext cx="3760912" cy="850094"/>
          </a:xfrm>
          <a:prstGeom prst="rightArrow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Plateaus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DE30D44-C143-4784-883A-12D0A124A695}"/>
              </a:ext>
            </a:extLst>
          </p:cNvPr>
          <p:cNvSpPr/>
          <p:nvPr/>
        </p:nvSpPr>
        <p:spPr>
          <a:xfrm>
            <a:off x="1463182" y="5204067"/>
            <a:ext cx="378910" cy="37891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6CCA85C9-1A6B-4854-B70D-27B083C31E56}"/>
              </a:ext>
            </a:extLst>
          </p:cNvPr>
          <p:cNvSpPr/>
          <p:nvPr/>
        </p:nvSpPr>
        <p:spPr>
          <a:xfrm>
            <a:off x="1463182" y="4080062"/>
            <a:ext cx="378910" cy="37891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AA03A390-FF32-4FA4-AC4E-47A67F2AC5D2}"/>
              </a:ext>
            </a:extLst>
          </p:cNvPr>
          <p:cNvSpPr/>
          <p:nvPr/>
        </p:nvSpPr>
        <p:spPr>
          <a:xfrm>
            <a:off x="1463182" y="2956058"/>
            <a:ext cx="378910" cy="37891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C864039-4A7A-42BC-A2D3-F4428F962ABB}"/>
              </a:ext>
            </a:extLst>
          </p:cNvPr>
          <p:cNvSpPr/>
          <p:nvPr/>
        </p:nvSpPr>
        <p:spPr>
          <a:xfrm>
            <a:off x="1463182" y="1832054"/>
            <a:ext cx="378910" cy="37891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AA20324-BB72-401C-BACF-256B4B4EA0D1}"/>
              </a:ext>
            </a:extLst>
          </p:cNvPr>
          <p:cNvSpPr txBox="1"/>
          <p:nvPr/>
        </p:nvSpPr>
        <p:spPr>
          <a:xfrm>
            <a:off x="10782101" y="1395488"/>
            <a:ext cx="896976" cy="3859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Test</a:t>
            </a:r>
          </a:p>
        </p:txBody>
      </p:sp>
      <p:pic>
        <p:nvPicPr>
          <p:cNvPr id="12" name="Graphic 11" descr="Gears with solid fill">
            <a:extLst>
              <a:ext uri="{FF2B5EF4-FFF2-40B4-BE49-F238E27FC236}">
                <a16:creationId xmlns:a16="http://schemas.microsoft.com/office/drawing/2014/main" id="{979FD83C-3774-4B7C-B0A2-504C74776B6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17378" y="3984084"/>
            <a:ext cx="515828" cy="515828"/>
          </a:xfrm>
          <a:prstGeom prst="rect">
            <a:avLst/>
          </a:prstGeom>
        </p:spPr>
      </p:pic>
      <p:pic>
        <p:nvPicPr>
          <p:cNvPr id="36" name="Graphic 35" descr="Gears with solid fill">
            <a:extLst>
              <a:ext uri="{FF2B5EF4-FFF2-40B4-BE49-F238E27FC236}">
                <a16:creationId xmlns:a16="http://schemas.microsoft.com/office/drawing/2014/main" id="{CD33575B-69C9-44C4-83FE-9A7FF636FBC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17378" y="5170488"/>
            <a:ext cx="515828" cy="515828"/>
          </a:xfrm>
          <a:prstGeom prst="rect">
            <a:avLst/>
          </a:prstGeom>
        </p:spPr>
      </p:pic>
      <p:pic>
        <p:nvPicPr>
          <p:cNvPr id="38" name="Graphic 37" descr="Gears with solid fill">
            <a:extLst>
              <a:ext uri="{FF2B5EF4-FFF2-40B4-BE49-F238E27FC236}">
                <a16:creationId xmlns:a16="http://schemas.microsoft.com/office/drawing/2014/main" id="{918D9048-3993-4BEC-BBC9-7F0A4B6FD09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11667" y="1781420"/>
            <a:ext cx="426423" cy="426423"/>
          </a:xfrm>
          <a:prstGeom prst="rect">
            <a:avLst/>
          </a:prstGeom>
        </p:spPr>
      </p:pic>
      <p:pic>
        <p:nvPicPr>
          <p:cNvPr id="8" name="Graphic 7" descr="User with solid fill">
            <a:extLst>
              <a:ext uri="{FF2B5EF4-FFF2-40B4-BE49-F238E27FC236}">
                <a16:creationId xmlns:a16="http://schemas.microsoft.com/office/drawing/2014/main" id="{CE67D5E1-4E78-45FE-B43A-17E040AFC42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17378" y="1595086"/>
            <a:ext cx="426423" cy="426423"/>
          </a:xfrm>
          <a:prstGeom prst="rect">
            <a:avLst/>
          </a:prstGeom>
        </p:spPr>
      </p:pic>
      <p:pic>
        <p:nvPicPr>
          <p:cNvPr id="39" name="Graphic 38" descr="Gears with solid fill">
            <a:extLst>
              <a:ext uri="{FF2B5EF4-FFF2-40B4-BE49-F238E27FC236}">
                <a16:creationId xmlns:a16="http://schemas.microsoft.com/office/drawing/2014/main" id="{D0B3EB88-537B-4D3E-B07A-61591B174F9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31734" y="2983409"/>
            <a:ext cx="426423" cy="426423"/>
          </a:xfrm>
          <a:prstGeom prst="rect">
            <a:avLst/>
          </a:prstGeom>
        </p:spPr>
      </p:pic>
      <p:pic>
        <p:nvPicPr>
          <p:cNvPr id="40" name="Graphic 39" descr="User with solid fill">
            <a:extLst>
              <a:ext uri="{FF2B5EF4-FFF2-40B4-BE49-F238E27FC236}">
                <a16:creationId xmlns:a16="http://schemas.microsoft.com/office/drawing/2014/main" id="{8CBFBE6F-AF2F-4111-8BBD-116A4F29E7E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37445" y="2797075"/>
            <a:ext cx="426423" cy="426423"/>
          </a:xfrm>
          <a:prstGeom prst="rect">
            <a:avLst/>
          </a:prstGeom>
        </p:spPr>
      </p:pic>
      <p:sp>
        <p:nvSpPr>
          <p:cNvPr id="31" name="Footer Placeholder 5">
            <a:extLst>
              <a:ext uri="{FF2B5EF4-FFF2-40B4-BE49-F238E27FC236}">
                <a16:creationId xmlns:a16="http://schemas.microsoft.com/office/drawing/2014/main" id="{A07E4E59-5B0D-466A-92B9-3E257831C959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</p:spTree>
    <p:extLst>
      <p:ext uri="{BB962C8B-B14F-4D97-AF65-F5344CB8AC3E}">
        <p14:creationId xmlns:p14="http://schemas.microsoft.com/office/powerpoint/2010/main" val="63350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FF4662-0AED-4380-A264-AF2ABD381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68" y="246811"/>
            <a:ext cx="9232051" cy="833106"/>
          </a:xfrm>
        </p:spPr>
        <p:txBody>
          <a:bodyPr/>
          <a:lstStyle/>
          <a:p>
            <a:r>
              <a:rPr lang="en-US" dirty="0"/>
              <a:t>Lessons learned</a:t>
            </a:r>
            <a:br>
              <a:rPr lang="en-US" dirty="0"/>
            </a:br>
            <a:r>
              <a:rPr lang="en-US" sz="2800" dirty="0"/>
              <a:t>Keep moving in the right directio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88D0A30-FED6-403A-8871-7346946BA8C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ln w="6350">
            <a:noFill/>
          </a:ln>
        </p:spPr>
        <p:txBody>
          <a:bodyPr/>
          <a:lstStyle/>
          <a:p>
            <a:pPr algn="ctr"/>
            <a:r>
              <a:rPr lang="en-US" sz="1800" dirty="0"/>
              <a:t>Balanced stimulus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Avoid that your endeavor stalls by getting lost in the details</a:t>
            </a:r>
          </a:p>
          <a:p>
            <a:r>
              <a:rPr lang="en-US" dirty="0"/>
              <a:t> 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on’t rush to the next topic …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…but understand when a plateau is reached and reasonably secured … 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…and then set a new stimulus/direction</a:t>
            </a:r>
          </a:p>
          <a:p>
            <a:pPr algn="ctr"/>
            <a:endParaRPr lang="de-DE" b="0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62033C-2D6C-4F93-B607-CCAD81BB291F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pPr algn="ctr"/>
            <a:r>
              <a:rPr lang="en-US" sz="1800" dirty="0"/>
              <a:t>Reachable beneficial plateaus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algn="ctr"/>
            <a:r>
              <a:rPr lang="en-US" dirty="0"/>
              <a:t>"Musts" for each plateau</a:t>
            </a:r>
            <a:endParaRPr lang="en-US" dirty="0">
              <a:cs typeface="Calibri"/>
            </a:endParaRPr>
          </a:p>
          <a:p>
            <a:pPr lvl="1">
              <a:spcAft>
                <a:spcPts val="600"/>
              </a:spcAft>
            </a:pPr>
            <a:endParaRPr lang="en-US" sz="2800" dirty="0"/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Goals must be reachable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People must understand what benefit it brings for them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elebrate small victories along the way</a:t>
            </a:r>
          </a:p>
          <a:p>
            <a:endParaRPr lang="de-DE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8D4BC99-3877-4B2D-9F5A-672DADBA362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072547" y="1623976"/>
            <a:ext cx="3748141" cy="4573059"/>
          </a:xfrm>
        </p:spPr>
        <p:txBody>
          <a:bodyPr/>
          <a:lstStyle/>
          <a:p>
            <a:pPr algn="ctr"/>
            <a:r>
              <a:rPr lang="en-US" sz="1800" dirty="0"/>
              <a:t>Conduct experiments, measure result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algn="ctr"/>
            <a:r>
              <a:rPr lang="en-US" dirty="0"/>
              <a:t>Complex environments require </a:t>
            </a:r>
          </a:p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be-Sense-Respond</a:t>
            </a:r>
          </a:p>
        </p:txBody>
      </p:sp>
      <p:pic>
        <p:nvPicPr>
          <p:cNvPr id="8" name="Graphic 48" descr="Scales of justice with solid fill">
            <a:extLst>
              <a:ext uri="{FF2B5EF4-FFF2-40B4-BE49-F238E27FC236}">
                <a16:creationId xmlns:a16="http://schemas.microsoft.com/office/drawing/2014/main" id="{8252BA7D-4F2B-430E-9971-94A1929976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24085"/>
          <a:stretch/>
        </p:blipFill>
        <p:spPr>
          <a:xfrm>
            <a:off x="1420818" y="2155973"/>
            <a:ext cx="1887530" cy="1432921"/>
          </a:xfrm>
          <a:prstGeom prst="rect">
            <a:avLst/>
          </a:prstGeom>
        </p:spPr>
      </p:pic>
      <p:sp>
        <p:nvSpPr>
          <p:cNvPr id="9" name="TextBox 2">
            <a:extLst>
              <a:ext uri="{FF2B5EF4-FFF2-40B4-BE49-F238E27FC236}">
                <a16:creationId xmlns:a16="http://schemas.microsoft.com/office/drawing/2014/main" id="{A89C44CC-C6F4-4064-AE99-CE2AFF5E0439}"/>
              </a:ext>
            </a:extLst>
          </p:cNvPr>
          <p:cNvSpPr txBox="1"/>
          <p:nvPr/>
        </p:nvSpPr>
        <p:spPr>
          <a:xfrm>
            <a:off x="178721" y="2824461"/>
            <a:ext cx="1595120" cy="4369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n-lt"/>
              </a:rPr>
              <a:t>    Next plateau</a:t>
            </a:r>
            <a:endParaRPr lang="de-DE" sz="1600" dirty="0">
              <a:latin typeface="+mn-lt"/>
            </a:endParaRPr>
          </a:p>
        </p:txBody>
      </p:sp>
      <p:sp>
        <p:nvSpPr>
          <p:cNvPr id="10" name="TextBox 43">
            <a:extLst>
              <a:ext uri="{FF2B5EF4-FFF2-40B4-BE49-F238E27FC236}">
                <a16:creationId xmlns:a16="http://schemas.microsoft.com/office/drawing/2014/main" id="{8CC39530-48AB-406A-BE03-D68C4841BE4C}"/>
              </a:ext>
            </a:extLst>
          </p:cNvPr>
          <p:cNvSpPr txBox="1"/>
          <p:nvPr/>
        </p:nvSpPr>
        <p:spPr>
          <a:xfrm>
            <a:off x="2831209" y="2824461"/>
            <a:ext cx="1595120" cy="4369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n-lt"/>
              </a:rPr>
              <a:t>Sustaining</a:t>
            </a:r>
            <a:endParaRPr lang="de-DE" sz="1600" dirty="0">
              <a:latin typeface="+mn-lt"/>
            </a:endParaRPr>
          </a:p>
        </p:txBody>
      </p:sp>
      <p:cxnSp>
        <p:nvCxnSpPr>
          <p:cNvPr id="13" name="Straight Connector 44">
            <a:extLst>
              <a:ext uri="{FF2B5EF4-FFF2-40B4-BE49-F238E27FC236}">
                <a16:creationId xmlns:a16="http://schemas.microsoft.com/office/drawing/2014/main" id="{7BBDC949-DE76-4367-8170-7DC1E3D1DF22}"/>
              </a:ext>
            </a:extLst>
          </p:cNvPr>
          <p:cNvCxnSpPr>
            <a:cxnSpLocks/>
          </p:cNvCxnSpPr>
          <p:nvPr/>
        </p:nvCxnSpPr>
        <p:spPr>
          <a:xfrm>
            <a:off x="4560322" y="3554435"/>
            <a:ext cx="1002278" cy="0"/>
          </a:xfrm>
          <a:prstGeom prst="line">
            <a:avLst/>
          </a:prstGeom>
          <a:ln w="5715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50" descr="Ruler with solid fill">
            <a:extLst>
              <a:ext uri="{FF2B5EF4-FFF2-40B4-BE49-F238E27FC236}">
                <a16:creationId xmlns:a16="http://schemas.microsoft.com/office/drawing/2014/main" id="{139BE289-C483-4043-B015-2935D440A5D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70254" y="2933092"/>
            <a:ext cx="670260" cy="670260"/>
          </a:xfrm>
          <a:prstGeom prst="rect">
            <a:avLst/>
          </a:prstGeom>
        </p:spPr>
      </p:pic>
      <p:cxnSp>
        <p:nvCxnSpPr>
          <p:cNvPr id="15" name="Straight Arrow Connector 53">
            <a:extLst>
              <a:ext uri="{FF2B5EF4-FFF2-40B4-BE49-F238E27FC236}">
                <a16:creationId xmlns:a16="http://schemas.microsoft.com/office/drawing/2014/main" id="{1E231AA6-F274-46F7-A780-D6F6A48A182F}"/>
              </a:ext>
            </a:extLst>
          </p:cNvPr>
          <p:cNvCxnSpPr/>
          <p:nvPr/>
        </p:nvCxnSpPr>
        <p:spPr>
          <a:xfrm>
            <a:off x="5562600" y="3244661"/>
            <a:ext cx="0" cy="309774"/>
          </a:xfrm>
          <a:prstGeom prst="straightConnector1">
            <a:avLst/>
          </a:prstGeom>
          <a:ln w="12700" cap="rnd">
            <a:solidFill>
              <a:schemeClr val="tx1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56">
            <a:extLst>
              <a:ext uri="{FF2B5EF4-FFF2-40B4-BE49-F238E27FC236}">
                <a16:creationId xmlns:a16="http://schemas.microsoft.com/office/drawing/2014/main" id="{E7985D2E-9D49-41BD-90FB-405866ED98F9}"/>
              </a:ext>
            </a:extLst>
          </p:cNvPr>
          <p:cNvCxnSpPr>
            <a:cxnSpLocks/>
          </p:cNvCxnSpPr>
          <p:nvPr/>
        </p:nvCxnSpPr>
        <p:spPr>
          <a:xfrm>
            <a:off x="5487422" y="3273312"/>
            <a:ext cx="1002278" cy="0"/>
          </a:xfrm>
          <a:prstGeom prst="line">
            <a:avLst/>
          </a:prstGeom>
          <a:ln w="5715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57">
            <a:extLst>
              <a:ext uri="{FF2B5EF4-FFF2-40B4-BE49-F238E27FC236}">
                <a16:creationId xmlns:a16="http://schemas.microsoft.com/office/drawing/2014/main" id="{CEACC8C1-8CEF-43D9-8F0E-870CEB0EAFBC}"/>
              </a:ext>
            </a:extLst>
          </p:cNvPr>
          <p:cNvCxnSpPr>
            <a:cxnSpLocks/>
          </p:cNvCxnSpPr>
          <p:nvPr/>
        </p:nvCxnSpPr>
        <p:spPr>
          <a:xfrm>
            <a:off x="6408172" y="2991552"/>
            <a:ext cx="1002278" cy="0"/>
          </a:xfrm>
          <a:prstGeom prst="line">
            <a:avLst/>
          </a:prstGeom>
          <a:ln w="5715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58">
            <a:extLst>
              <a:ext uri="{FF2B5EF4-FFF2-40B4-BE49-F238E27FC236}">
                <a16:creationId xmlns:a16="http://schemas.microsoft.com/office/drawing/2014/main" id="{1DE7DF84-66A8-41C9-BA2F-60A2B0DBCE7D}"/>
              </a:ext>
            </a:extLst>
          </p:cNvPr>
          <p:cNvCxnSpPr/>
          <p:nvPr/>
        </p:nvCxnSpPr>
        <p:spPr>
          <a:xfrm>
            <a:off x="6470650" y="2988684"/>
            <a:ext cx="0" cy="309774"/>
          </a:xfrm>
          <a:prstGeom prst="straightConnector1">
            <a:avLst/>
          </a:prstGeom>
          <a:ln w="12700" cap="rnd">
            <a:solidFill>
              <a:schemeClr val="tx1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60" descr="Cupcake with solid fill">
            <a:extLst>
              <a:ext uri="{FF2B5EF4-FFF2-40B4-BE49-F238E27FC236}">
                <a16:creationId xmlns:a16="http://schemas.microsoft.com/office/drawing/2014/main" id="{5176B7EA-6E09-49EE-8EB2-09B6DF6DB1E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01945" y="2956625"/>
            <a:ext cx="323600" cy="323600"/>
          </a:xfrm>
          <a:prstGeom prst="rect">
            <a:avLst/>
          </a:prstGeom>
        </p:spPr>
      </p:pic>
      <p:pic>
        <p:nvPicPr>
          <p:cNvPr id="20" name="Graphic 65" descr="Balloons with solid fill">
            <a:extLst>
              <a:ext uri="{FF2B5EF4-FFF2-40B4-BE49-F238E27FC236}">
                <a16:creationId xmlns:a16="http://schemas.microsoft.com/office/drawing/2014/main" id="{EBF76E33-D6BE-47CE-A1AC-3083F24A6E18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11558" y="2553222"/>
            <a:ext cx="457200" cy="457200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2AE38C1-41E0-4768-9462-1BA3502D0D35}"/>
              </a:ext>
            </a:extLst>
          </p:cNvPr>
          <p:cNvGrpSpPr/>
          <p:nvPr/>
        </p:nvGrpSpPr>
        <p:grpSpPr>
          <a:xfrm>
            <a:off x="8428543" y="4630527"/>
            <a:ext cx="3062600" cy="1409700"/>
            <a:chOff x="8620194" y="4630527"/>
            <a:chExt cx="3062600" cy="1409700"/>
          </a:xfrm>
        </p:grpSpPr>
        <p:sp>
          <p:nvSpPr>
            <p:cNvPr id="22" name="Rectangle 37">
              <a:extLst>
                <a:ext uri="{FF2B5EF4-FFF2-40B4-BE49-F238E27FC236}">
                  <a16:creationId xmlns:a16="http://schemas.microsoft.com/office/drawing/2014/main" id="{B18A6974-93FD-4704-ADD1-03F88F275599}"/>
                </a:ext>
              </a:extLst>
            </p:cNvPr>
            <p:cNvSpPr/>
            <p:nvPr/>
          </p:nvSpPr>
          <p:spPr>
            <a:xfrm>
              <a:off x="10147612" y="5335376"/>
              <a:ext cx="1535182" cy="695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tx1"/>
                  </a:solidFill>
                </a:rPr>
                <a:t>Simple</a:t>
              </a:r>
            </a:p>
          </p:txBody>
        </p:sp>
        <p:sp>
          <p:nvSpPr>
            <p:cNvPr id="23" name="Rectangle 35">
              <a:extLst>
                <a:ext uri="{FF2B5EF4-FFF2-40B4-BE49-F238E27FC236}">
                  <a16:creationId xmlns:a16="http://schemas.microsoft.com/office/drawing/2014/main" id="{192C19D1-7721-4B47-A3F6-0A1FF0FE51CA}"/>
                </a:ext>
              </a:extLst>
            </p:cNvPr>
            <p:cNvSpPr/>
            <p:nvPr/>
          </p:nvSpPr>
          <p:spPr>
            <a:xfrm>
              <a:off x="8729909" y="4630527"/>
              <a:ext cx="1427227" cy="695325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omplex</a:t>
              </a:r>
            </a:p>
          </p:txBody>
        </p:sp>
        <p:sp>
          <p:nvSpPr>
            <p:cNvPr id="24" name="Rectangle 36">
              <a:extLst>
                <a:ext uri="{FF2B5EF4-FFF2-40B4-BE49-F238E27FC236}">
                  <a16:creationId xmlns:a16="http://schemas.microsoft.com/office/drawing/2014/main" id="{F7FBCC1F-0E56-41B7-8EA1-5DCBB5E52DFA}"/>
                </a:ext>
              </a:extLst>
            </p:cNvPr>
            <p:cNvSpPr/>
            <p:nvPr/>
          </p:nvSpPr>
          <p:spPr>
            <a:xfrm>
              <a:off x="10147612" y="4630527"/>
              <a:ext cx="1535182" cy="695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omplicated</a:t>
              </a:r>
            </a:p>
          </p:txBody>
        </p:sp>
        <p:sp>
          <p:nvSpPr>
            <p:cNvPr id="25" name="Rectangle 38">
              <a:extLst>
                <a:ext uri="{FF2B5EF4-FFF2-40B4-BE49-F238E27FC236}">
                  <a16:creationId xmlns:a16="http://schemas.microsoft.com/office/drawing/2014/main" id="{DB787209-3F45-46FB-BB63-0550A80C6E1D}"/>
                </a:ext>
              </a:extLst>
            </p:cNvPr>
            <p:cNvSpPr/>
            <p:nvPr/>
          </p:nvSpPr>
          <p:spPr>
            <a:xfrm>
              <a:off x="8620194" y="5335376"/>
              <a:ext cx="1535182" cy="695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haotic</a:t>
              </a:r>
            </a:p>
          </p:txBody>
        </p:sp>
        <p:cxnSp>
          <p:nvCxnSpPr>
            <p:cNvPr id="26" name="Straight Connector 32">
              <a:extLst>
                <a:ext uri="{FF2B5EF4-FFF2-40B4-BE49-F238E27FC236}">
                  <a16:creationId xmlns:a16="http://schemas.microsoft.com/office/drawing/2014/main" id="{3FAAB9DA-57CF-450C-9FAF-4E9B216BF24C}"/>
                </a:ext>
              </a:extLst>
            </p:cNvPr>
            <p:cNvCxnSpPr/>
            <p:nvPr/>
          </p:nvCxnSpPr>
          <p:spPr>
            <a:xfrm>
              <a:off x="10157137" y="4630527"/>
              <a:ext cx="0" cy="1409700"/>
            </a:xfrm>
            <a:prstGeom prst="line">
              <a:avLst/>
            </a:prstGeom>
            <a:ln w="38100" cap="rnd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0E2A7B76-13DF-4CE2-9687-53AFD2260032}"/>
                </a:ext>
              </a:extLst>
            </p:cNvPr>
            <p:cNvCxnSpPr/>
            <p:nvPr/>
          </p:nvCxnSpPr>
          <p:spPr>
            <a:xfrm>
              <a:off x="8756962" y="5325852"/>
              <a:ext cx="2874376" cy="0"/>
            </a:xfrm>
            <a:prstGeom prst="line">
              <a:avLst/>
            </a:prstGeom>
            <a:ln w="38100" cap="rnd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E02A0EDC-4518-4C41-9871-868F2A309B2D}"/>
              </a:ext>
            </a:extLst>
          </p:cNvPr>
          <p:cNvGrpSpPr/>
          <p:nvPr/>
        </p:nvGrpSpPr>
        <p:grpSpPr>
          <a:xfrm>
            <a:off x="8592223" y="2469646"/>
            <a:ext cx="2816251" cy="1231208"/>
            <a:chOff x="8592223" y="2101150"/>
            <a:chExt cx="2816251" cy="1231208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DFC85022-E7E0-45F5-867B-BA1257285D80}"/>
                </a:ext>
              </a:extLst>
            </p:cNvPr>
            <p:cNvGrpSpPr/>
            <p:nvPr/>
          </p:nvGrpSpPr>
          <p:grpSpPr>
            <a:xfrm>
              <a:off x="8592223" y="2101150"/>
              <a:ext cx="2816251" cy="1035041"/>
              <a:chOff x="8592223" y="2101150"/>
              <a:chExt cx="2816251" cy="1035041"/>
            </a:xfrm>
          </p:grpSpPr>
          <p:sp>
            <p:nvSpPr>
              <p:cNvPr id="29" name="Oval 16">
                <a:extLst>
                  <a:ext uri="{FF2B5EF4-FFF2-40B4-BE49-F238E27FC236}">
                    <a16:creationId xmlns:a16="http://schemas.microsoft.com/office/drawing/2014/main" id="{F95273FA-1860-492B-9F73-0777B6D4E226}"/>
                  </a:ext>
                </a:extLst>
              </p:cNvPr>
              <p:cNvSpPr/>
              <p:nvPr/>
            </p:nvSpPr>
            <p:spPr bwMode="auto">
              <a:xfrm>
                <a:off x="8611075" y="2416101"/>
                <a:ext cx="288036" cy="288036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SzPct val="75000"/>
                  <a:buFont typeface="Wingdings" pitchFamily="2" charset="2"/>
                  <a:buChar char="n"/>
                  <a:tabLst/>
                </a:pPr>
                <a:endParaRPr kumimoji="0" lang="en-US" sz="2800" b="0" i="0" u="none" strike="noStrike" cap="none" normalizeH="0" baseline="0">
                  <a:ln>
                    <a:noFill/>
                  </a:ln>
                  <a:solidFill>
                    <a:srgbClr val="0066FF"/>
                  </a:solidFill>
                  <a:effectLst/>
                  <a:latin typeface="Gill Sans MT" pitchFamily="34" charset="0"/>
                </a:endParaRPr>
              </a:p>
            </p:txBody>
          </p:sp>
          <p:cxnSp>
            <p:nvCxnSpPr>
              <p:cNvPr id="30" name="Straight Arrow Connector 17">
                <a:extLst>
                  <a:ext uri="{FF2B5EF4-FFF2-40B4-BE49-F238E27FC236}">
                    <a16:creationId xmlns:a16="http://schemas.microsoft.com/office/drawing/2014/main" id="{C841FA22-627E-4288-8C78-202980FA5816}"/>
                  </a:ext>
                </a:extLst>
              </p:cNvPr>
              <p:cNvCxnSpPr/>
              <p:nvPr/>
            </p:nvCxnSpPr>
            <p:spPr bwMode="auto">
              <a:xfrm flipV="1">
                <a:off x="8867662" y="2416101"/>
                <a:ext cx="646433" cy="116148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31" name="Oval 18">
                <a:extLst>
                  <a:ext uri="{FF2B5EF4-FFF2-40B4-BE49-F238E27FC236}">
                    <a16:creationId xmlns:a16="http://schemas.microsoft.com/office/drawing/2014/main" id="{969A38A3-1135-4D2D-BC8F-C6855F6D1411}"/>
                  </a:ext>
                </a:extLst>
              </p:cNvPr>
              <p:cNvSpPr/>
              <p:nvPr/>
            </p:nvSpPr>
            <p:spPr bwMode="auto">
              <a:xfrm>
                <a:off x="11098293" y="2345290"/>
                <a:ext cx="288036" cy="288036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SzPct val="75000"/>
                  <a:buFont typeface="Wingdings" pitchFamily="2" charset="2"/>
                  <a:buChar char="n"/>
                  <a:tabLst/>
                </a:pPr>
                <a:endParaRPr kumimoji="0" lang="en-US" sz="2800" b="0" i="0" u="none" strike="noStrike" cap="none" normalizeH="0" baseline="0">
                  <a:ln>
                    <a:noFill/>
                  </a:ln>
                  <a:solidFill>
                    <a:srgbClr val="0066FF"/>
                  </a:solidFill>
                  <a:effectLst/>
                  <a:latin typeface="Gill Sans MT" pitchFamily="34" charset="0"/>
                </a:endParaRPr>
              </a:p>
            </p:txBody>
          </p:sp>
          <p:sp>
            <p:nvSpPr>
              <p:cNvPr id="32" name="Oval 19">
                <a:extLst>
                  <a:ext uri="{FF2B5EF4-FFF2-40B4-BE49-F238E27FC236}">
                    <a16:creationId xmlns:a16="http://schemas.microsoft.com/office/drawing/2014/main" id="{3B5F9DE7-64AC-4158-8AEA-BA62DE4AFE86}"/>
                  </a:ext>
                </a:extLst>
              </p:cNvPr>
              <p:cNvSpPr/>
              <p:nvPr/>
            </p:nvSpPr>
            <p:spPr bwMode="auto">
              <a:xfrm>
                <a:off x="9514095" y="2272083"/>
                <a:ext cx="288036" cy="288036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SzPct val="75000"/>
                  <a:buFont typeface="Wingdings" pitchFamily="2" charset="2"/>
                  <a:buChar char="n"/>
                  <a:tabLst/>
                </a:pPr>
                <a:endParaRPr kumimoji="0" lang="en-US" sz="2800" b="0" i="0" u="none" strike="noStrike" cap="none" normalizeH="0" baseline="0">
                  <a:ln>
                    <a:noFill/>
                  </a:ln>
                  <a:solidFill>
                    <a:srgbClr val="0066FF"/>
                  </a:solidFill>
                  <a:effectLst/>
                  <a:latin typeface="Gill Sans MT" pitchFamily="34" charset="0"/>
                </a:endParaRPr>
              </a:p>
            </p:txBody>
          </p:sp>
          <p:cxnSp>
            <p:nvCxnSpPr>
              <p:cNvPr id="33" name="Straight Arrow Connector 20">
                <a:extLst>
                  <a:ext uri="{FF2B5EF4-FFF2-40B4-BE49-F238E27FC236}">
                    <a16:creationId xmlns:a16="http://schemas.microsoft.com/office/drawing/2014/main" id="{351D93B2-4AED-4845-B165-C788F9F76702}"/>
                  </a:ext>
                </a:extLst>
              </p:cNvPr>
              <p:cNvCxnSpPr/>
              <p:nvPr/>
            </p:nvCxnSpPr>
            <p:spPr bwMode="auto">
              <a:xfrm flipH="1">
                <a:off x="9370077" y="2560119"/>
                <a:ext cx="288036" cy="288036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34" name="Oval 21">
                <a:extLst>
                  <a:ext uri="{FF2B5EF4-FFF2-40B4-BE49-F238E27FC236}">
                    <a16:creationId xmlns:a16="http://schemas.microsoft.com/office/drawing/2014/main" id="{0DA5DADB-4012-42DF-81D5-88D7347B3CC8}"/>
                  </a:ext>
                </a:extLst>
              </p:cNvPr>
              <p:cNvSpPr/>
              <p:nvPr/>
            </p:nvSpPr>
            <p:spPr bwMode="auto">
              <a:xfrm>
                <a:off x="9156472" y="2794990"/>
                <a:ext cx="288036" cy="288036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SzPct val="75000"/>
                  <a:buFont typeface="Wingdings" pitchFamily="2" charset="2"/>
                  <a:buChar char="n"/>
                  <a:tabLst/>
                </a:pPr>
                <a:endParaRPr kumimoji="0" lang="en-US" sz="2800" b="0" i="0" u="none" strike="noStrike" cap="none" normalizeH="0" baseline="0">
                  <a:ln>
                    <a:noFill/>
                  </a:ln>
                  <a:solidFill>
                    <a:srgbClr val="0066FF"/>
                  </a:solidFill>
                  <a:effectLst/>
                  <a:latin typeface="Gill Sans MT" pitchFamily="34" charset="0"/>
                </a:endParaRPr>
              </a:p>
            </p:txBody>
          </p:sp>
          <p:cxnSp>
            <p:nvCxnSpPr>
              <p:cNvPr id="35" name="Straight Arrow Connector 22">
                <a:extLst>
                  <a:ext uri="{FF2B5EF4-FFF2-40B4-BE49-F238E27FC236}">
                    <a16:creationId xmlns:a16="http://schemas.microsoft.com/office/drawing/2014/main" id="{4BDF0366-F31B-4370-B98F-D709E3BC80A7}"/>
                  </a:ext>
                </a:extLst>
              </p:cNvPr>
              <p:cNvCxnSpPr/>
              <p:nvPr/>
            </p:nvCxnSpPr>
            <p:spPr bwMode="auto">
              <a:xfrm>
                <a:off x="9482196" y="2901320"/>
                <a:ext cx="896007" cy="90853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36" name="Oval 23">
                <a:extLst>
                  <a:ext uri="{FF2B5EF4-FFF2-40B4-BE49-F238E27FC236}">
                    <a16:creationId xmlns:a16="http://schemas.microsoft.com/office/drawing/2014/main" id="{2B446DB0-ACAE-4CBD-B0FF-0806427BB114}"/>
                  </a:ext>
                </a:extLst>
              </p:cNvPr>
              <p:cNvSpPr/>
              <p:nvPr/>
            </p:nvSpPr>
            <p:spPr bwMode="auto">
              <a:xfrm>
                <a:off x="10378203" y="2848155"/>
                <a:ext cx="288036" cy="288036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SzPct val="75000"/>
                  <a:buFont typeface="Wingdings" pitchFamily="2" charset="2"/>
                  <a:buChar char="n"/>
                  <a:tabLst/>
                </a:pPr>
                <a:endParaRPr kumimoji="0" lang="en-US" sz="2800" b="0" i="0" u="none" strike="noStrike" cap="none" normalizeH="0" baseline="0">
                  <a:ln>
                    <a:noFill/>
                  </a:ln>
                  <a:solidFill>
                    <a:srgbClr val="0066FF"/>
                  </a:solidFill>
                  <a:effectLst/>
                  <a:latin typeface="Gill Sans MT" pitchFamily="34" charset="0"/>
                </a:endParaRPr>
              </a:p>
            </p:txBody>
          </p:sp>
          <p:cxnSp>
            <p:nvCxnSpPr>
              <p:cNvPr id="37" name="Straight Arrow Connector 24">
                <a:extLst>
                  <a:ext uri="{FF2B5EF4-FFF2-40B4-BE49-F238E27FC236}">
                    <a16:creationId xmlns:a16="http://schemas.microsoft.com/office/drawing/2014/main" id="{27CF14AE-35E4-45B7-B95F-7640CB77FD91}"/>
                  </a:ext>
                </a:extLst>
              </p:cNvPr>
              <p:cNvCxnSpPr>
                <a:stCxn id="36" idx="0"/>
              </p:cNvCxnSpPr>
              <p:nvPr/>
            </p:nvCxnSpPr>
            <p:spPr bwMode="auto">
              <a:xfrm flipH="1" flipV="1">
                <a:off x="10378203" y="2560119"/>
                <a:ext cx="144018" cy="288036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38" name="Oval 25">
                <a:extLst>
                  <a:ext uri="{FF2B5EF4-FFF2-40B4-BE49-F238E27FC236}">
                    <a16:creationId xmlns:a16="http://schemas.microsoft.com/office/drawing/2014/main" id="{6CEE1F6E-5290-428B-8BD7-9F4723416026}"/>
                  </a:ext>
                </a:extLst>
              </p:cNvPr>
              <p:cNvSpPr/>
              <p:nvPr/>
            </p:nvSpPr>
            <p:spPr bwMode="auto">
              <a:xfrm>
                <a:off x="10234185" y="2272083"/>
                <a:ext cx="288036" cy="288036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SzPct val="75000"/>
                  <a:buFont typeface="Wingdings" pitchFamily="2" charset="2"/>
                  <a:buChar char="n"/>
                  <a:tabLst/>
                </a:pPr>
                <a:endParaRPr kumimoji="0" lang="en-US" sz="2800" b="0" i="0" u="none" strike="noStrike" cap="none" normalizeH="0" baseline="0">
                  <a:ln>
                    <a:noFill/>
                  </a:ln>
                  <a:solidFill>
                    <a:srgbClr val="0066FF"/>
                  </a:solidFill>
                  <a:effectLst/>
                  <a:latin typeface="Gill Sans MT" pitchFamily="34" charset="0"/>
                </a:endParaRPr>
              </a:p>
            </p:txBody>
          </p:sp>
          <p:sp>
            <p:nvSpPr>
              <p:cNvPr id="39" name="Oval 27">
                <a:extLst>
                  <a:ext uri="{FF2B5EF4-FFF2-40B4-BE49-F238E27FC236}">
                    <a16:creationId xmlns:a16="http://schemas.microsoft.com/office/drawing/2014/main" id="{9726837B-DE98-4BA8-9EE6-E17F865F4EC9}"/>
                  </a:ext>
                </a:extLst>
              </p:cNvPr>
              <p:cNvSpPr/>
              <p:nvPr/>
            </p:nvSpPr>
            <p:spPr bwMode="auto">
              <a:xfrm>
                <a:off x="11129276" y="2372476"/>
                <a:ext cx="227742" cy="234869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SzPct val="75000"/>
                  <a:buFont typeface="Wingdings" pitchFamily="2" charset="2"/>
                  <a:buChar char="n"/>
                  <a:tabLst/>
                </a:pPr>
                <a:endParaRPr kumimoji="0" lang="en-US" sz="2800" b="0" i="0" u="none" strike="noStrike" cap="none" normalizeH="0" baseline="0">
                  <a:ln>
                    <a:noFill/>
                  </a:ln>
                  <a:solidFill>
                    <a:srgbClr val="0066FF"/>
                  </a:solidFill>
                  <a:effectLst/>
                  <a:latin typeface="Gill Sans MT" pitchFamily="34" charset="0"/>
                </a:endParaRPr>
              </a:p>
            </p:txBody>
          </p:sp>
          <p:sp>
            <p:nvSpPr>
              <p:cNvPr id="40" name="TextBox 28">
                <a:extLst>
                  <a:ext uri="{FF2B5EF4-FFF2-40B4-BE49-F238E27FC236}">
                    <a16:creationId xmlns:a16="http://schemas.microsoft.com/office/drawing/2014/main" id="{52718527-7D4D-4605-BB0B-8CD5B23B469D}"/>
                  </a:ext>
                </a:extLst>
              </p:cNvPr>
              <p:cNvSpPr txBox="1"/>
              <p:nvPr/>
            </p:nvSpPr>
            <p:spPr>
              <a:xfrm>
                <a:off x="8592223" y="2373684"/>
                <a:ext cx="28803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</a:rPr>
                  <a:t>S</a:t>
                </a:r>
              </a:p>
            </p:txBody>
          </p:sp>
          <p:cxnSp>
            <p:nvCxnSpPr>
              <p:cNvPr id="41" name="Straight Connector 29">
                <a:extLst>
                  <a:ext uri="{FF2B5EF4-FFF2-40B4-BE49-F238E27FC236}">
                    <a16:creationId xmlns:a16="http://schemas.microsoft.com/office/drawing/2014/main" id="{73DA077E-5C69-45C5-A4F0-A508DD5E96E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649987" y="2101150"/>
                <a:ext cx="2707031" cy="272535"/>
              </a:xfrm>
              <a:prstGeom prst="line">
                <a:avLst/>
              </a:prstGeom>
              <a:noFill/>
              <a:ln w="28575" cap="flat" cmpd="sng" algn="ctr">
                <a:solidFill>
                  <a:srgbClr val="FF00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2" name="Straight Connector 30">
                <a:extLst>
                  <a:ext uri="{FF2B5EF4-FFF2-40B4-BE49-F238E27FC236}">
                    <a16:creationId xmlns:a16="http://schemas.microsoft.com/office/drawing/2014/main" id="{DD50E94A-6CCF-4FC3-8C65-E7C212312E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640197" y="2749238"/>
                <a:ext cx="2768277" cy="98917"/>
              </a:xfrm>
              <a:prstGeom prst="line">
                <a:avLst/>
              </a:prstGeom>
              <a:noFill/>
              <a:ln w="28575" cap="flat" cmpd="sng" algn="ctr">
                <a:solidFill>
                  <a:srgbClr val="FF00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3" name="TextBox 63">
                <a:extLst>
                  <a:ext uri="{FF2B5EF4-FFF2-40B4-BE49-F238E27FC236}">
                    <a16:creationId xmlns:a16="http://schemas.microsoft.com/office/drawing/2014/main" id="{760AE52E-628A-4787-A0AF-891DC3AFA6D7}"/>
                  </a:ext>
                </a:extLst>
              </p:cNvPr>
              <p:cNvSpPr txBox="1"/>
              <p:nvPr/>
            </p:nvSpPr>
            <p:spPr>
              <a:xfrm>
                <a:off x="9168295" y="2226956"/>
                <a:ext cx="508582" cy="2834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en-US" sz="1200" dirty="0">
                    <a:solidFill>
                      <a:srgbClr val="009A38"/>
                    </a:solidFill>
                  </a:rPr>
                  <a:t>KPI</a:t>
                </a:r>
              </a:p>
            </p:txBody>
          </p:sp>
          <p:sp>
            <p:nvSpPr>
              <p:cNvPr id="44" name="TextBox 39">
                <a:extLst>
                  <a:ext uri="{FF2B5EF4-FFF2-40B4-BE49-F238E27FC236}">
                    <a16:creationId xmlns:a16="http://schemas.microsoft.com/office/drawing/2014/main" id="{2D10A16D-179F-4892-BEF7-202201AF16C5}"/>
                  </a:ext>
                </a:extLst>
              </p:cNvPr>
              <p:cNvSpPr txBox="1"/>
              <p:nvPr/>
            </p:nvSpPr>
            <p:spPr>
              <a:xfrm>
                <a:off x="9540827" y="2603496"/>
                <a:ext cx="508582" cy="2834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en-US" sz="1200" dirty="0">
                    <a:solidFill>
                      <a:srgbClr val="E7001D"/>
                    </a:solidFill>
                  </a:rPr>
                  <a:t>KPI</a:t>
                </a:r>
              </a:p>
            </p:txBody>
          </p:sp>
          <p:sp>
            <p:nvSpPr>
              <p:cNvPr id="45" name="TextBox 41">
                <a:extLst>
                  <a:ext uri="{FF2B5EF4-FFF2-40B4-BE49-F238E27FC236}">
                    <a16:creationId xmlns:a16="http://schemas.microsoft.com/office/drawing/2014/main" id="{87BD88C0-D1F5-4E25-A223-7777E3CA8A2B}"/>
                  </a:ext>
                </a:extLst>
              </p:cNvPr>
              <p:cNvSpPr txBox="1"/>
              <p:nvPr/>
            </p:nvSpPr>
            <p:spPr>
              <a:xfrm>
                <a:off x="10774386" y="2221552"/>
                <a:ext cx="508582" cy="2834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en-US" sz="1200" dirty="0">
                    <a:solidFill>
                      <a:srgbClr val="009A38"/>
                    </a:solidFill>
                  </a:rPr>
                  <a:t>KPI</a:t>
                </a:r>
              </a:p>
            </p:txBody>
          </p:sp>
        </p:grpSp>
        <p:sp>
          <p:nvSpPr>
            <p:cNvPr id="46" name="TextBox 40">
              <a:extLst>
                <a:ext uri="{FF2B5EF4-FFF2-40B4-BE49-F238E27FC236}">
                  <a16:creationId xmlns:a16="http://schemas.microsoft.com/office/drawing/2014/main" id="{1A8868B4-30A3-4F3B-880D-64DCCB712121}"/>
                </a:ext>
              </a:extLst>
            </p:cNvPr>
            <p:cNvSpPr txBox="1"/>
            <p:nvPr/>
          </p:nvSpPr>
          <p:spPr>
            <a:xfrm>
              <a:off x="10013639" y="3048920"/>
              <a:ext cx="508582" cy="2834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US" sz="1200" dirty="0">
                  <a:solidFill>
                    <a:srgbClr val="FFC000"/>
                  </a:solidFill>
                </a:rPr>
                <a:t>KPI</a:t>
              </a:r>
            </a:p>
          </p:txBody>
        </p:sp>
      </p:grpSp>
      <p:sp>
        <p:nvSpPr>
          <p:cNvPr id="48" name="Footer Placeholder 5">
            <a:extLst>
              <a:ext uri="{FF2B5EF4-FFF2-40B4-BE49-F238E27FC236}">
                <a16:creationId xmlns:a16="http://schemas.microsoft.com/office/drawing/2014/main" id="{EA325C6B-9C31-417A-AD49-E62B9F4BA5AD}"/>
              </a:ext>
            </a:extLst>
          </p:cNvPr>
          <p:cNvSpPr txBox="1">
            <a:spLocks/>
          </p:cNvSpPr>
          <p:nvPr/>
        </p:nvSpPr>
        <p:spPr>
          <a:xfrm>
            <a:off x="8056800" y="6339600"/>
            <a:ext cx="3258000" cy="144033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/>
                <a:ea typeface="+mn-ea"/>
              </a:rPr>
              <a:t>Thomas Jachmann | Computed Tomography</a:t>
            </a:r>
          </a:p>
        </p:txBody>
      </p:sp>
      <p:cxnSp>
        <p:nvCxnSpPr>
          <p:cNvPr id="49" name="Line buttom left">
            <a:extLst>
              <a:ext uri="{FF2B5EF4-FFF2-40B4-BE49-F238E27FC236}">
                <a16:creationId xmlns:a16="http://schemas.microsoft.com/office/drawing/2014/main" id="{28789A48-318A-4F33-9CE9-80610699B083}"/>
              </a:ext>
            </a:extLst>
          </p:cNvPr>
          <p:cNvCxnSpPr>
            <a:cxnSpLocks/>
          </p:cNvCxnSpPr>
          <p:nvPr/>
        </p:nvCxnSpPr>
        <p:spPr>
          <a:xfrm>
            <a:off x="4210334" y="1619250"/>
            <a:ext cx="0" cy="4583113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Line buttom left">
            <a:extLst>
              <a:ext uri="{FF2B5EF4-FFF2-40B4-BE49-F238E27FC236}">
                <a16:creationId xmlns:a16="http://schemas.microsoft.com/office/drawing/2014/main" id="{1F5DF172-6C8E-43A8-BC51-711443D641E7}"/>
              </a:ext>
            </a:extLst>
          </p:cNvPr>
          <p:cNvCxnSpPr>
            <a:cxnSpLocks/>
          </p:cNvCxnSpPr>
          <p:nvPr/>
        </p:nvCxnSpPr>
        <p:spPr>
          <a:xfrm>
            <a:off x="7972581" y="1614700"/>
            <a:ext cx="0" cy="4583113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78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MC Design 2013"/>
  <p:tag name="ISPRING_RESOURCE_PATHS_HASH_PRESENTER" val="42af85c528a171341b9e2a5dda80ca965af1a"/>
  <p:tag name="SECONDSLIDEISINFO" val="True"/>
  <p:tag name="LASTSLIDEISINFO" val="True"/>
  <p:tag name="THINKCELLUNDODONOTDELETE" val="0"/>
  <p:tag name="EE4P_STYLE_ID" val="4f60709d-e952-4b50-b384-abee816c8b7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QUHyk_SqaLB4B1EUPe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beinbsTBaGvQN6bAzP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z_lMbchUyFRpNR5IvWOA"/>
</p:tagLst>
</file>

<file path=ppt/theme/theme1.xml><?xml version="1.0" encoding="utf-8"?>
<a:theme xmlns:a="http://schemas.openxmlformats.org/drawingml/2006/main" name="SH-PPT-basic_template_16x9_V2018-09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363636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H-PPT-basic_template_16x9_V2018-09_Calibri.potx" id="{C97C1DFD-B5C7-42A8-90FB-FB399F56B375}" vid="{60DBD491-D2C6-4EE0-8BB7-B0B9B3415CD3}"/>
    </a:ext>
  </a:extLst>
</a:theme>
</file>

<file path=ppt/theme/theme2.xml><?xml version="1.0" encoding="utf-8"?>
<a:theme xmlns:a="http://schemas.openxmlformats.org/drawingml/2006/main" name="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äsentation2" id="{44D88582-474E-47BA-8580-59625F420B0D}" vid="{FAF3D4D5-5057-4F76-852B-A0A6966415A8}"/>
    </a:ext>
  </a:ext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p4ppTags>
  <Name>One object (large)</Name>
  <PpLayout>16</PpLayout>
  <Index>10</Index>
</p4ppTags>
</file>

<file path=customXml/item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.xml><?xml version="1.0" encoding="utf-8"?>
<p4ppTags>
  <Name>One object (small) + Navigation</Name>
  <PpLayout>32</PpLayout>
  <Index>17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p4ppTags>
  <Name>Two rows + Navigation</Name>
  <PpLayout>32</PpLayout>
  <Index>19</Index>
</p4ppTags>
</file>

<file path=customXml/item15.xml><?xml version="1.0" encoding="utf-8"?>
<p4ppTags>
  <Name>Free Content</Name>
  <PpLayout>11</PpLayout>
  <Index>9</Index>
</p4ppTags>
</file>

<file path=customXml/item16.xml><?xml version="1.0" encoding="utf-8"?>
<p4ppTags>
  <Name>Two rows</Name>
  <PpLayout>32</PpLayout>
  <Index>13</Index>
</p4ppTags>
</file>

<file path=customXml/item17.xml><?xml version="1.0" encoding="utf-8"?>
<p4ppTags>
  <Name>Free Content</Name>
  <PpLayout>11</PpLayout>
  <Index>9</Index>
</p4ppTags>
</file>

<file path=customXml/item18.xml><?xml version="1.0" encoding="utf-8"?>
<p4ppTags>
  <Name>Two columns + Navigation</Name>
  <PpLayout>32</PpLayout>
  <Index>18</Index>
</p4ppTags>
</file>

<file path=customXml/item1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411F7F99BB0144B18D99EFBC463A11" ma:contentTypeVersion="11" ma:contentTypeDescription="Create a new document." ma:contentTypeScope="" ma:versionID="ef8577f2b15b933a5d1a2d4f2d859965">
  <xsd:schema xmlns:xsd="http://www.w3.org/2001/XMLSchema" xmlns:xs="http://www.w3.org/2001/XMLSchema" xmlns:p="http://schemas.microsoft.com/office/2006/metadata/properties" xmlns:ns2="90bec1cc-5fab-4c7e-ab81-7dee8a51925f" xmlns:ns3="f02ac1b2-5f6d-48bd-9d63-4875d44dff86" targetNamespace="http://schemas.microsoft.com/office/2006/metadata/properties" ma:root="true" ma:fieldsID="3908ce73b1688543feef9af394ef2c87" ns2:_="" ns3:_="">
    <xsd:import namespace="90bec1cc-5fab-4c7e-ab81-7dee8a51925f"/>
    <xsd:import namespace="f02ac1b2-5f6d-48bd-9d63-4875d44dff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ec1cc-5fab-4c7e-ab81-7dee8a5192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2ac1b2-5f6d-48bd-9d63-4875d44dff8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4ppTags>
  <Name>One object (large)</Name>
  <PpLayout>16</PpLayout>
  <Index>10</Index>
</p4ppTags>
</file>

<file path=customXml/item20.xml><?xml version="1.0" encoding="utf-8"?>
<p4ppTags>
  <Name>Free Content</Name>
  <PpLayout>11</PpLayout>
  <Index>9</Index>
</p4ppTags>
</file>

<file path=customXml/item3.xml><?xml version="1.0" encoding="utf-8"?>
<p4ppTags>
  <Name>Four objects + Navigation</Name>
  <PpLayout>32</PpLayout>
  <Index>20</Index>
</p4ppTags>
</file>

<file path=customXml/item4.xml><?xml version="1.0" encoding="utf-8"?>
<p4ppTags>
  <Name>Free Content + Navigation</Name>
  <PpLayout>32</PpLayout>
  <Index>16</Index>
</p4ppTags>
</file>

<file path=customXml/item5.xml><?xml version="1.0" encoding="utf-8"?>
<p4ppTags>
  <Name>Three columns</Name>
  <PpLayout>32</PpLayout>
  <Index>14</Index>
</p4ppTags>
</file>

<file path=customXml/item6.xml><?xml version="1.0" encoding="utf-8"?>
<p4ppTags>
  <Name>Four objects</Name>
  <PpLayout>24</PpLayout>
  <Index>15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>
  <Name>Text + Index</Name>
  <PpLayout>32</PpLayout>
  <Index>8</Index>
</p4ppTags>
</file>

<file path=customXml/item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DA35EFD-5271-47EA-957E-4271949FAD7B}">
  <ds:schemaRefs/>
</ds:datastoreItem>
</file>

<file path=customXml/itemProps10.xml><?xml version="1.0" encoding="utf-8"?>
<ds:datastoreItem xmlns:ds="http://schemas.openxmlformats.org/officeDocument/2006/customXml" ds:itemID="{C9BA7EE3-8C2B-4461-980D-BA5A6E409406}">
  <ds:schemaRefs/>
</ds:datastoreItem>
</file>

<file path=customXml/itemProps11.xml><?xml version="1.0" encoding="utf-8"?>
<ds:datastoreItem xmlns:ds="http://schemas.openxmlformats.org/officeDocument/2006/customXml" ds:itemID="{59AE7AE3-B953-4E72-B29B-2AF52F61AE7B}">
  <ds:schemaRefs>
    <ds:schemaRef ds:uri="http://schemas.microsoft.com/sharepoint/v3/contenttype/forms"/>
  </ds:schemaRefs>
</ds:datastoreItem>
</file>

<file path=customXml/itemProps12.xml><?xml version="1.0" encoding="utf-8"?>
<ds:datastoreItem xmlns:ds="http://schemas.openxmlformats.org/officeDocument/2006/customXml" ds:itemID="{0C818C97-2D83-45DE-ACC5-B9EEAAA76AA2}">
  <ds:schemaRefs/>
</ds:datastoreItem>
</file>

<file path=customXml/itemProps13.xml><?xml version="1.0" encoding="utf-8"?>
<ds:datastoreItem xmlns:ds="http://schemas.openxmlformats.org/officeDocument/2006/customXml" ds:itemID="{516B09EC-1707-44DD-8238-75F512958A3F}">
  <ds:schemaRefs/>
</ds:datastoreItem>
</file>

<file path=customXml/itemProps14.xml><?xml version="1.0" encoding="utf-8"?>
<ds:datastoreItem xmlns:ds="http://schemas.openxmlformats.org/officeDocument/2006/customXml" ds:itemID="{4FA06D21-9759-4ACA-ACEC-D477632F35FB}">
  <ds:schemaRefs/>
</ds:datastoreItem>
</file>

<file path=customXml/itemProps15.xml><?xml version="1.0" encoding="utf-8"?>
<ds:datastoreItem xmlns:ds="http://schemas.openxmlformats.org/officeDocument/2006/customXml" ds:itemID="{69C45DD7-3011-42F3-A8B2-6B011B3CC8A7}">
  <ds:schemaRefs/>
</ds:datastoreItem>
</file>

<file path=customXml/itemProps16.xml><?xml version="1.0" encoding="utf-8"?>
<ds:datastoreItem xmlns:ds="http://schemas.openxmlformats.org/officeDocument/2006/customXml" ds:itemID="{C10426C4-1F5C-4F23-89E1-4A926F437FBE}">
  <ds:schemaRefs/>
</ds:datastoreItem>
</file>

<file path=customXml/itemProps17.xml><?xml version="1.0" encoding="utf-8"?>
<ds:datastoreItem xmlns:ds="http://schemas.openxmlformats.org/officeDocument/2006/customXml" ds:itemID="{839C5A8E-845D-44FD-B317-483B2679F215}">
  <ds:schemaRefs/>
</ds:datastoreItem>
</file>

<file path=customXml/itemProps18.xml><?xml version="1.0" encoding="utf-8"?>
<ds:datastoreItem xmlns:ds="http://schemas.openxmlformats.org/officeDocument/2006/customXml" ds:itemID="{26CB8645-C4CE-4D65-B0AD-27E613A0C7D7}">
  <ds:schemaRefs/>
</ds:datastoreItem>
</file>

<file path=customXml/itemProps19.xml><?xml version="1.0" encoding="utf-8"?>
<ds:datastoreItem xmlns:ds="http://schemas.openxmlformats.org/officeDocument/2006/customXml" ds:itemID="{F8559453-830D-4F8C-B0D4-37193ADDF0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bec1cc-5fab-4c7e-ab81-7dee8a51925f"/>
    <ds:schemaRef ds:uri="f02ac1b2-5f6d-48bd-9d63-4875d44dff8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DCA787E-FD27-4607-A496-D9D38AA62952}">
  <ds:schemaRefs/>
</ds:datastoreItem>
</file>

<file path=customXml/itemProps20.xml><?xml version="1.0" encoding="utf-8"?>
<ds:datastoreItem xmlns:ds="http://schemas.openxmlformats.org/officeDocument/2006/customXml" ds:itemID="{306AABBF-633D-4238-A617-C8ED2717D867}">
  <ds:schemaRefs/>
</ds:datastoreItem>
</file>

<file path=customXml/itemProps3.xml><?xml version="1.0" encoding="utf-8"?>
<ds:datastoreItem xmlns:ds="http://schemas.openxmlformats.org/officeDocument/2006/customXml" ds:itemID="{BCF96255-BBA2-4607-A41F-95146A207135}">
  <ds:schemaRefs/>
</ds:datastoreItem>
</file>

<file path=customXml/itemProps4.xml><?xml version="1.0" encoding="utf-8"?>
<ds:datastoreItem xmlns:ds="http://schemas.openxmlformats.org/officeDocument/2006/customXml" ds:itemID="{F71D20A7-90DC-4CFF-A212-5879B90A480D}">
  <ds:schemaRefs/>
</ds:datastoreItem>
</file>

<file path=customXml/itemProps5.xml><?xml version="1.0" encoding="utf-8"?>
<ds:datastoreItem xmlns:ds="http://schemas.openxmlformats.org/officeDocument/2006/customXml" ds:itemID="{2E5EA0C4-F5B3-41BF-8A47-4140B9774C63}">
  <ds:schemaRefs/>
</ds:datastoreItem>
</file>

<file path=customXml/itemProps6.xml><?xml version="1.0" encoding="utf-8"?>
<ds:datastoreItem xmlns:ds="http://schemas.openxmlformats.org/officeDocument/2006/customXml" ds:itemID="{1290F6C3-3F7D-46EF-B51A-889A582C6C59}">
  <ds:schemaRefs/>
</ds:datastoreItem>
</file>

<file path=customXml/itemProps7.xml><?xml version="1.0" encoding="utf-8"?>
<ds:datastoreItem xmlns:ds="http://schemas.openxmlformats.org/officeDocument/2006/customXml" ds:itemID="{C75DC7FC-60C5-4241-800F-BD3037492497}">
  <ds:schemaRefs/>
</ds:datastoreItem>
</file>

<file path=customXml/itemProps8.xml><?xml version="1.0" encoding="utf-8"?>
<ds:datastoreItem xmlns:ds="http://schemas.openxmlformats.org/officeDocument/2006/customXml" ds:itemID="{A7C8F7E6-AA15-4608-A8BA-A2603FEED219}">
  <ds:schemaRefs/>
</ds:datastoreItem>
</file>

<file path=customXml/itemProps9.xml><?xml version="1.0" encoding="utf-8"?>
<ds:datastoreItem xmlns:ds="http://schemas.openxmlformats.org/officeDocument/2006/customXml" ds:itemID="{5963A3E8-B634-4476-8FD8-69846EECC44E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f02ac1b2-5f6d-48bd-9d63-4875d44dff86"/>
    <ds:schemaRef ds:uri="http://schemas.microsoft.com/office/2006/documentManagement/types"/>
    <ds:schemaRef ds:uri="http://purl.org/dc/terms/"/>
    <ds:schemaRef ds:uri="90bec1cc-5fab-4c7e-ab81-7dee8a51925f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53</Words>
  <Application>Microsoft Macintosh PowerPoint</Application>
  <PresentationFormat>Custom</PresentationFormat>
  <Paragraphs>377</Paragraphs>
  <Slides>14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Brandon Grotesque Medium</vt:lpstr>
      <vt:lpstr>Brandon Grotesque Regular</vt:lpstr>
      <vt:lpstr>Calibri</vt:lpstr>
      <vt:lpstr>Gill Sans MT</vt:lpstr>
      <vt:lpstr>Segoe UI</vt:lpstr>
      <vt:lpstr>Siemens Sans</vt:lpstr>
      <vt:lpstr>Wingdings</vt:lpstr>
      <vt:lpstr>SH-PPT-basic_template_16x9_V2018-09_Calibri</vt:lpstr>
      <vt:lpstr>SH_PPT_template_16x9_V201808_Calibri</vt:lpstr>
      <vt:lpstr>think-cell Folie</vt:lpstr>
      <vt:lpstr>PowerPoint Presentation</vt:lpstr>
      <vt:lpstr>Siemens Healthineers (numbers prior to the Varian merger)</vt:lpstr>
      <vt:lpstr>Innovating CT throughout a strong portfolio</vt:lpstr>
      <vt:lpstr>The environment Cyber-physical system of systems: Computed Tomography scanners</vt:lpstr>
      <vt:lpstr>How to deploy regularly on the target system Difference to cloud-based SaaS </vt:lpstr>
      <vt:lpstr>Challenge of “System-DevOps” in a regulated environment Vision: “Release as a Non-Event” </vt:lpstr>
      <vt:lpstr>Fully Automated System Deployment Scope and Achievements</vt:lpstr>
      <vt:lpstr>Example Plateaus for Continuous System Integration </vt:lpstr>
      <vt:lpstr>Lessons learned Keep moving in the right direction</vt:lpstr>
      <vt:lpstr>Example Plateaus for Continuous Integration </vt:lpstr>
      <vt:lpstr>DevOps brings transparency …</vt:lpstr>
      <vt:lpstr>PowerPoint Presentation</vt:lpstr>
      <vt:lpstr>PowerPoint Presentation</vt:lpstr>
      <vt:lpstr>Credits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is not only for Unicorns</dc:title>
  <dc:subject>Delivery of Things World, April 2018, Berlin, Germany</dc:subject>
  <dc:creator/>
  <cp:keywords>C_Unrestricted</cp:keywords>
  <cp:lastModifiedBy/>
  <cp:revision>97</cp:revision>
  <dcterms:created xsi:type="dcterms:W3CDTF">4034-05-24T22:52:28Z</dcterms:created>
  <dcterms:modified xsi:type="dcterms:W3CDTF">2021-05-14T19:57:33Z</dcterms:modified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Document Confidentiality">
    <vt:lpwstr>Unrestricted</vt:lpwstr>
  </property>
  <property fmtid="{D5CDD505-2E9C-101B-9397-08002B2CF9AE}" pid="4" name="sodocoClasLang">
    <vt:lpwstr>Unrestricted</vt:lpwstr>
  </property>
  <property fmtid="{D5CDD505-2E9C-101B-9397-08002B2CF9AE}" pid="5" name="sodocoClasLangId">
    <vt:i4>0</vt:i4>
  </property>
  <property fmtid="{D5CDD505-2E9C-101B-9397-08002B2CF9AE}" pid="6" name="sodocoClasId">
    <vt:i4>0</vt:i4>
  </property>
  <property fmtid="{D5CDD505-2E9C-101B-9397-08002B2CF9AE}" pid="7" name="ContentTypeId">
    <vt:lpwstr>0x01010065411F7F99BB0144B18D99EFBC463A11</vt:lpwstr>
  </property>
  <property fmtid="{D5CDD505-2E9C-101B-9397-08002B2CF9AE}" pid="8" name="Document_Confidentiality">
    <vt:lpwstr>Unrestricted</vt:lpwstr>
  </property>
</Properties>
</file>